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theme/themeOverride2.xml" ContentType="application/vnd.openxmlformats-officedocument.themeOverride+xml"/>
  <Override PartName="/ppt/notesSlides/notesSlide13.xml" ContentType="application/vnd.openxmlformats-officedocument.presentationml.notesSlide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ink/ink32.xml" ContentType="application/inkml+xml"/>
  <Override PartName="/ppt/ink/ink33.xml" ContentType="application/inkml+xml"/>
  <Override PartName="/ppt/ink/ink34.xml" ContentType="application/inkml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1" r:id="rId5"/>
  </p:sldMasterIdLst>
  <p:notesMasterIdLst>
    <p:notesMasterId r:id="rId26"/>
  </p:notesMasterIdLst>
  <p:handoutMasterIdLst>
    <p:handoutMasterId r:id="rId27"/>
  </p:handoutMasterIdLst>
  <p:sldIdLst>
    <p:sldId id="298" r:id="rId6"/>
    <p:sldId id="327" r:id="rId7"/>
    <p:sldId id="323" r:id="rId8"/>
    <p:sldId id="355" r:id="rId9"/>
    <p:sldId id="263" r:id="rId10"/>
    <p:sldId id="264" r:id="rId11"/>
    <p:sldId id="268" r:id="rId12"/>
    <p:sldId id="357" r:id="rId13"/>
    <p:sldId id="270" r:id="rId14"/>
    <p:sldId id="280" r:id="rId15"/>
    <p:sldId id="259" r:id="rId16"/>
    <p:sldId id="302" r:id="rId17"/>
    <p:sldId id="257" r:id="rId18"/>
    <p:sldId id="309" r:id="rId19"/>
    <p:sldId id="307" r:id="rId20"/>
    <p:sldId id="256" r:id="rId21"/>
    <p:sldId id="300" r:id="rId22"/>
    <p:sldId id="321" r:id="rId23"/>
    <p:sldId id="317" r:id="rId24"/>
    <p:sldId id="295" r:id="rId25"/>
  </p:sldIdLst>
  <p:sldSz cx="12192000" cy="6858000"/>
  <p:notesSz cx="6858000" cy="9144000"/>
  <p:defaultTextStyle>
    <a:defPPr rtl="0"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0129" autoAdjust="0"/>
  </p:normalViewPr>
  <p:slideViewPr>
    <p:cSldViewPr snapToGrid="0">
      <p:cViewPr varScale="1">
        <p:scale>
          <a:sx n="69" d="100"/>
          <a:sy n="69" d="100"/>
        </p:scale>
        <p:origin x="52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2, тыс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Индивидуальные предприниматели</c:v>
                </c:pt>
                <c:pt idx="1">
                  <c:v>Юридические лица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06.10000000000002</c:v>
                </c:pt>
                <c:pt idx="1">
                  <c:v>3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51D-4421-9967-534ACB8BE0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90873232"/>
        <c:axId val="290867744"/>
      </c:barChart>
      <c:catAx>
        <c:axId val="2908732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90867744"/>
        <c:crosses val="autoZero"/>
        <c:auto val="1"/>
        <c:lblAlgn val="ctr"/>
        <c:lblOffset val="100"/>
        <c:noMultiLvlLbl val="0"/>
      </c:catAx>
      <c:valAx>
        <c:axId val="2908677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90873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22329272817942E-2"/>
          <c:y val="2.4859610961948532E-2"/>
          <c:w val="0.94396875948700654"/>
          <c:h val="0.8772947021198903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Столбец2</c:v>
                </c:pt>
              </c:strCache>
            </c:strRef>
          </c:tx>
          <c:spPr>
            <a:ln w="28575" cap="rnd">
              <a:solidFill>
                <a:schemeClr val="accent1">
                  <a:alpha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27FB-4DDF-B30F-C5848388053B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27FB-4DDF-B30F-C5848388053B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noFill/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27FB-4DDF-B30F-C5848388053B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27FB-4DDF-B30F-C5848388053B}"/>
              </c:ext>
            </c:extLst>
          </c:dPt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8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8486</c:v>
                </c:pt>
                <c:pt idx="1">
                  <c:v>10523</c:v>
                </c:pt>
                <c:pt idx="2">
                  <c:v>10700</c:v>
                </c:pt>
                <c:pt idx="3">
                  <c:v>15366.5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A-27FB-4DDF-B30F-C58483880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6739016"/>
        <c:axId val="306741368"/>
      </c:lineChart>
      <c:catAx>
        <c:axId val="306739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06741368"/>
        <c:crosses val="autoZero"/>
        <c:auto val="1"/>
        <c:lblAlgn val="ctr"/>
        <c:lblOffset val="100"/>
        <c:noMultiLvlLbl val="0"/>
      </c:catAx>
      <c:valAx>
        <c:axId val="306741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06739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coloredoutline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B2E815-0D19-41DC-B01B-4D608769620A}" type="doc">
      <dgm:prSet loTypeId="urn:microsoft.com/office/officeart/2016/7/layout/RoundedRectangleTimeline" loCatId="other" qsTypeId="urn:microsoft.com/office/officeart/2005/8/quickstyle/simple1" qsCatId="simple" csTypeId="urn:microsoft.com/office/officeart/2005/8/colors/accent2_1" csCatId="accent2" phldr="1"/>
      <dgm:spPr/>
      <dgm:t>
        <a:bodyPr rtlCol="0"/>
        <a:lstStyle/>
        <a:p>
          <a:pPr rtl="0"/>
          <a:endParaRPr lang="en-US"/>
        </a:p>
      </dgm:t>
    </dgm:pt>
    <dgm:pt modelId="{4259F840-24E7-476F-9F30-482E46395856}">
      <dgm:prSet phldrT="[Text]" phldr="0"/>
      <dgm:spPr>
        <a:ln w="19050">
          <a:solidFill>
            <a:schemeClr val="accent1"/>
          </a:solidFill>
        </a:ln>
      </dgm:spPr>
      <dgm:t>
        <a:bodyPr rtlCol="0"/>
        <a:lstStyle/>
        <a:p>
          <a:pPr rtl="0"/>
          <a:r>
            <a:rPr lang="ru-RU" noProof="0" dirty="0"/>
            <a:t>2021</a:t>
          </a:r>
        </a:p>
      </dgm:t>
    </dgm:pt>
    <dgm:pt modelId="{FCE8068D-7E50-4749-A8D0-ADEDAC5637B3}" type="parTrans" cxnId="{42EE41D1-3C16-4937-BB38-B076896C09A0}">
      <dgm:prSet/>
      <dgm:spPr/>
      <dgm:t>
        <a:bodyPr rtlCol="0"/>
        <a:lstStyle/>
        <a:p>
          <a:pPr rtl="0"/>
          <a:endParaRPr lang="ru-RU" noProof="0" dirty="0"/>
        </a:p>
      </dgm:t>
    </dgm:pt>
    <dgm:pt modelId="{DCC444A4-F20A-48F5-A61E-47BFFF185A57}" type="sibTrans" cxnId="{42EE41D1-3C16-4937-BB38-B076896C09A0}">
      <dgm:prSet/>
      <dgm:spPr/>
      <dgm:t>
        <a:bodyPr rtlCol="0"/>
        <a:lstStyle/>
        <a:p>
          <a:pPr rtl="0"/>
          <a:endParaRPr lang="ru-RU" noProof="0" dirty="0"/>
        </a:p>
      </dgm:t>
    </dgm:pt>
    <dgm:pt modelId="{B54C8F6C-BE1E-4EAB-B7A0-48DE01FFAA36}">
      <dgm:prSet phldrT="[Text]"/>
      <dgm:spPr/>
      <dgm:t>
        <a:bodyPr rtlCol="0"/>
        <a:lstStyle/>
        <a:p>
          <a:pPr rtl="0"/>
          <a:r>
            <a:rPr lang="ru-RU" b="0" i="0" u="none" noProof="0" dirty="0"/>
            <a:t>Проект мер по развитию налогового администрирования Республики Таджикистан </a:t>
          </a:r>
          <a:endParaRPr lang="ru-RU" noProof="0" dirty="0"/>
        </a:p>
      </dgm:t>
    </dgm:pt>
    <dgm:pt modelId="{8DE7CD45-B7C0-432E-B819-6A7D97E31315}" type="parTrans" cxnId="{770CA1CC-3DDD-451E-AE83-A71CA570260C}">
      <dgm:prSet/>
      <dgm:spPr/>
      <dgm:t>
        <a:bodyPr rtlCol="0"/>
        <a:lstStyle/>
        <a:p>
          <a:pPr rtl="0"/>
          <a:endParaRPr lang="ru-RU" noProof="0" dirty="0"/>
        </a:p>
      </dgm:t>
    </dgm:pt>
    <dgm:pt modelId="{C33B8BEF-A818-4A2F-A99A-E2B29895E184}" type="sibTrans" cxnId="{770CA1CC-3DDD-451E-AE83-A71CA570260C}">
      <dgm:prSet/>
      <dgm:spPr/>
      <dgm:t>
        <a:bodyPr rtlCol="0"/>
        <a:lstStyle/>
        <a:p>
          <a:pPr rtl="0"/>
          <a:endParaRPr lang="ru-RU" noProof="0" dirty="0"/>
        </a:p>
      </dgm:t>
    </dgm:pt>
    <dgm:pt modelId="{A4C0B4E4-70AD-4901-9E3F-7EA25DD6DAA1}">
      <dgm:prSet phldrT="[Text]"/>
      <dgm:spPr/>
      <dgm:t>
        <a:bodyPr rtlCol="0"/>
        <a:lstStyle/>
        <a:p>
          <a:pPr rtl="0"/>
          <a:r>
            <a:rPr lang="ru-RU" noProof="0" dirty="0"/>
            <a:t>Повышение эффективности за счет  принципов устойчивого развития,  клиентоориентированности </a:t>
          </a:r>
          <a:r>
            <a:rPr lang="ru-RU" noProof="0"/>
            <a:t>и цифровизации</a:t>
          </a:r>
          <a:endParaRPr lang="ru-RU" noProof="0" dirty="0"/>
        </a:p>
      </dgm:t>
    </dgm:pt>
    <dgm:pt modelId="{701D9033-BAD3-4299-933F-A47AFDC2ECD0}" type="parTrans" cxnId="{5E74CB62-E52E-4CEE-8AA1-9812BFC0D67E}">
      <dgm:prSet/>
      <dgm:spPr/>
      <dgm:t>
        <a:bodyPr rtlCol="0"/>
        <a:lstStyle/>
        <a:p>
          <a:pPr rtl="0"/>
          <a:endParaRPr lang="ru-RU" noProof="0" dirty="0"/>
        </a:p>
      </dgm:t>
    </dgm:pt>
    <dgm:pt modelId="{657DB10D-2517-48AA-B970-6D815DBD4123}" type="sibTrans" cxnId="{5E74CB62-E52E-4CEE-8AA1-9812BFC0D67E}">
      <dgm:prSet/>
      <dgm:spPr/>
      <dgm:t>
        <a:bodyPr rtlCol="0"/>
        <a:lstStyle/>
        <a:p>
          <a:pPr rtl="0"/>
          <a:endParaRPr lang="ru-RU" noProof="0" dirty="0"/>
        </a:p>
      </dgm:t>
    </dgm:pt>
    <dgm:pt modelId="{E4033A39-DCC4-4038-9562-AEDDBBB37A99}">
      <dgm:prSet phldrT="[Text]" phldr="0"/>
      <dgm:spPr>
        <a:ln w="19050">
          <a:solidFill>
            <a:schemeClr val="accent1"/>
          </a:solidFill>
        </a:ln>
      </dgm:spPr>
      <dgm:t>
        <a:bodyPr rtlCol="0"/>
        <a:lstStyle/>
        <a:p>
          <a:pPr rtl="0"/>
          <a:r>
            <a:rPr lang="ru-RU" noProof="0" dirty="0"/>
            <a:t>2026</a:t>
          </a:r>
        </a:p>
      </dgm:t>
    </dgm:pt>
    <dgm:pt modelId="{80AB0E5B-0C58-465D-A545-5B21133D2849}" type="sibTrans" cxnId="{32EF2862-2950-4DF8-BEA8-CD19460CCA31}">
      <dgm:prSet/>
      <dgm:spPr/>
      <dgm:t>
        <a:bodyPr rtlCol="0"/>
        <a:lstStyle/>
        <a:p>
          <a:pPr rtl="0"/>
          <a:endParaRPr lang="ru-RU" noProof="0" dirty="0"/>
        </a:p>
      </dgm:t>
    </dgm:pt>
    <dgm:pt modelId="{048EEAE6-78BA-4B00-B7BB-9C22DBB1E8F4}" type="parTrans" cxnId="{32EF2862-2950-4DF8-BEA8-CD19460CCA31}">
      <dgm:prSet/>
      <dgm:spPr/>
      <dgm:t>
        <a:bodyPr rtlCol="0"/>
        <a:lstStyle/>
        <a:p>
          <a:pPr rtl="0"/>
          <a:endParaRPr lang="ru-RU" noProof="0" dirty="0"/>
        </a:p>
      </dgm:t>
    </dgm:pt>
    <dgm:pt modelId="{196C9F68-3606-4282-A4C6-4485F1280B5F}" type="pres">
      <dgm:prSet presAssocID="{E5B2E815-0D19-41DC-B01B-4D608769620A}" presName="Name0" presStyleCnt="0">
        <dgm:presLayoutVars>
          <dgm:chMax/>
          <dgm:chPref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54D2789A-D07D-466A-941E-E830C78ADC86}" type="pres">
      <dgm:prSet presAssocID="{4259F840-24E7-476F-9F30-482E46395856}" presName="composite" presStyleCnt="0"/>
      <dgm:spPr/>
    </dgm:pt>
    <dgm:pt modelId="{3C250542-C5D2-45E6-85F1-AA87FBE334F8}" type="pres">
      <dgm:prSet presAssocID="{4259F840-24E7-476F-9F30-482E46395856}" presName="parent" presStyleLbl="alignNode1" presStyleIdx="0" presStyleCnt="2" custLinFactNeighborX="-879" custLinFactNeighborY="47057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45BD0D-EF9F-4024-9F20-333A616AA092}" type="pres">
      <dgm:prSet presAssocID="{4259F840-24E7-476F-9F30-482E46395856}" presName="Childtext" presStyleLbl="revTx" presStyleIdx="0" presStyleCnt="2" custScaleX="260774" custScaleY="46116" custLinFactNeighborX="879" custLinFactNeighborY="3548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021B1C-43B6-4D10-859E-575A8544DE23}" type="pres">
      <dgm:prSet presAssocID="{4259F840-24E7-476F-9F30-482E46395856}" presName="ConnectLine" presStyleLbl="sibTrans1D1" presStyleIdx="0" presStyleCnt="2" custLinFactNeighborY="58821"/>
      <dgm:spPr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F7CE7C81-B749-41B3-98D9-9F3CDA249BFA}" type="pres">
      <dgm:prSet presAssocID="{4259F840-24E7-476F-9F30-482E46395856}" presName="ConnectLineEnd" presStyleLbl="lnNode1" presStyleIdx="0" presStyleCnt="2" custLinFactY="43785" custLinFactNeighborX="13071" custLinFactNeighborY="100000"/>
      <dgm:spPr/>
    </dgm:pt>
    <dgm:pt modelId="{8B90F038-3078-4E13-A49A-BF90AFA80A81}" type="pres">
      <dgm:prSet presAssocID="{4259F840-24E7-476F-9F30-482E46395856}" presName="EmptyPane" presStyleCnt="0"/>
      <dgm:spPr/>
    </dgm:pt>
    <dgm:pt modelId="{9B59614A-A005-4CAF-BCEB-551B6FA692A8}" type="pres">
      <dgm:prSet presAssocID="{DCC444A4-F20A-48F5-A61E-47BFFF185A57}" presName="spaceBetweenRectangles" presStyleCnt="0"/>
      <dgm:spPr/>
    </dgm:pt>
    <dgm:pt modelId="{EC898611-F445-4484-94A6-D8C6A967C858}" type="pres">
      <dgm:prSet presAssocID="{E4033A39-DCC4-4038-9562-AEDDBBB37A99}" presName="composite" presStyleCnt="0"/>
      <dgm:spPr/>
    </dgm:pt>
    <dgm:pt modelId="{A61C314D-04D2-45EF-9100-03C0677430A8}" type="pres">
      <dgm:prSet presAssocID="{E4033A39-DCC4-4038-9562-AEDDBBB37A99}" presName="parent" presStyleLbl="alignNode1" presStyleIdx="1" presStyleCnt="2" custLinFactNeighborX="293" custLinFactNeighborY="-31371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FE4064-B99E-4932-9841-BF336EF84A2C}" type="pres">
      <dgm:prSet presAssocID="{E4033A39-DCC4-4038-9562-AEDDBBB37A99}" presName="Childtext" presStyleLbl="revTx" presStyleIdx="1" presStyleCnt="2" custScaleX="200813" custScaleY="68061" custLinFactNeighborX="2052" custLinFactNeighborY="-2562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2F6CE1-30DD-473E-814F-FDC4C33C59D4}" type="pres">
      <dgm:prSet presAssocID="{E4033A39-DCC4-4038-9562-AEDDBBB37A99}" presName="ConnectLine" presStyleLbl="sibTrans1D1" presStyleIdx="1" presStyleCnt="2"/>
      <dgm:spPr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D655207-CB9A-425D-A20B-50BC4F3C2F32}" type="pres">
      <dgm:prSet presAssocID="{E4033A39-DCC4-4038-9562-AEDDBBB37A99}" presName="ConnectLineEnd" presStyleLbl="lnNode1" presStyleIdx="1" presStyleCnt="2"/>
      <dgm:spPr/>
    </dgm:pt>
    <dgm:pt modelId="{EEFE3DEA-C161-4998-AEAF-79377A4B9D09}" type="pres">
      <dgm:prSet presAssocID="{E4033A39-DCC4-4038-9562-AEDDBBB37A99}" presName="EmptyPane" presStyleCnt="0"/>
      <dgm:spPr/>
    </dgm:pt>
  </dgm:ptLst>
  <dgm:cxnLst>
    <dgm:cxn modelId="{5E74CB62-E52E-4CEE-8AA1-9812BFC0D67E}" srcId="{E4033A39-DCC4-4038-9562-AEDDBBB37A99}" destId="{A4C0B4E4-70AD-4901-9E3F-7EA25DD6DAA1}" srcOrd="0" destOrd="0" parTransId="{701D9033-BAD3-4299-933F-A47AFDC2ECD0}" sibTransId="{657DB10D-2517-48AA-B970-6D815DBD4123}"/>
    <dgm:cxn modelId="{770CA1CC-3DDD-451E-AE83-A71CA570260C}" srcId="{4259F840-24E7-476F-9F30-482E46395856}" destId="{B54C8F6C-BE1E-4EAB-B7A0-48DE01FFAA36}" srcOrd="0" destOrd="0" parTransId="{8DE7CD45-B7C0-432E-B819-6A7D97E31315}" sibTransId="{C33B8BEF-A818-4A2F-A99A-E2B29895E184}"/>
    <dgm:cxn modelId="{32EF2862-2950-4DF8-BEA8-CD19460CCA31}" srcId="{E5B2E815-0D19-41DC-B01B-4D608769620A}" destId="{E4033A39-DCC4-4038-9562-AEDDBBB37A99}" srcOrd="1" destOrd="0" parTransId="{048EEAE6-78BA-4B00-B7BB-9C22DBB1E8F4}" sibTransId="{80AB0E5B-0C58-465D-A545-5B21133D2849}"/>
    <dgm:cxn modelId="{F8A4F1EF-4643-4C3E-8FDE-E70FE346F256}" type="presOf" srcId="{B54C8F6C-BE1E-4EAB-B7A0-48DE01FFAA36}" destId="{0345BD0D-EF9F-4024-9F20-333A616AA092}" srcOrd="0" destOrd="0" presId="urn:microsoft.com/office/officeart/2016/7/layout/RoundedRectangleTimeline"/>
    <dgm:cxn modelId="{F494A5D0-1423-4B1A-AF55-246CF0F93B28}" type="presOf" srcId="{E4033A39-DCC4-4038-9562-AEDDBBB37A99}" destId="{A61C314D-04D2-45EF-9100-03C0677430A8}" srcOrd="0" destOrd="0" presId="urn:microsoft.com/office/officeart/2016/7/layout/RoundedRectangleTimeline"/>
    <dgm:cxn modelId="{C8CAF48F-322D-43C3-A68B-40DA904320AC}" type="presOf" srcId="{E5B2E815-0D19-41DC-B01B-4D608769620A}" destId="{196C9F68-3606-4282-A4C6-4485F1280B5F}" srcOrd="0" destOrd="0" presId="urn:microsoft.com/office/officeart/2016/7/layout/RoundedRectangleTimeline"/>
    <dgm:cxn modelId="{095D57F6-8055-472B-A375-6B8D9433D142}" type="presOf" srcId="{4259F840-24E7-476F-9F30-482E46395856}" destId="{3C250542-C5D2-45E6-85F1-AA87FBE334F8}" srcOrd="0" destOrd="0" presId="urn:microsoft.com/office/officeart/2016/7/layout/RoundedRectangleTimeline"/>
    <dgm:cxn modelId="{42EE41D1-3C16-4937-BB38-B076896C09A0}" srcId="{E5B2E815-0D19-41DC-B01B-4D608769620A}" destId="{4259F840-24E7-476F-9F30-482E46395856}" srcOrd="0" destOrd="0" parTransId="{FCE8068D-7E50-4749-A8D0-ADEDAC5637B3}" sibTransId="{DCC444A4-F20A-48F5-A61E-47BFFF185A57}"/>
    <dgm:cxn modelId="{21894FFC-135E-43D2-8EDA-F253BF5710C4}" type="presOf" srcId="{A4C0B4E4-70AD-4901-9E3F-7EA25DD6DAA1}" destId="{0BFE4064-B99E-4932-9841-BF336EF84A2C}" srcOrd="0" destOrd="0" presId="urn:microsoft.com/office/officeart/2016/7/layout/RoundedRectangleTimeline"/>
    <dgm:cxn modelId="{2EDFE09A-9060-444C-B1D0-C4C4369B4D7B}" type="presParOf" srcId="{196C9F68-3606-4282-A4C6-4485F1280B5F}" destId="{54D2789A-D07D-466A-941E-E830C78ADC86}" srcOrd="0" destOrd="0" presId="urn:microsoft.com/office/officeart/2016/7/layout/RoundedRectangleTimeline"/>
    <dgm:cxn modelId="{712C1858-B1C5-4973-8026-DD881B2C2070}" type="presParOf" srcId="{54D2789A-D07D-466A-941E-E830C78ADC86}" destId="{3C250542-C5D2-45E6-85F1-AA87FBE334F8}" srcOrd="0" destOrd="0" presId="urn:microsoft.com/office/officeart/2016/7/layout/RoundedRectangleTimeline"/>
    <dgm:cxn modelId="{ED84AD9B-69A5-440A-8CDE-6C63ED69AAFC}" type="presParOf" srcId="{54D2789A-D07D-466A-941E-E830C78ADC86}" destId="{0345BD0D-EF9F-4024-9F20-333A616AA092}" srcOrd="1" destOrd="0" presId="urn:microsoft.com/office/officeart/2016/7/layout/RoundedRectangleTimeline"/>
    <dgm:cxn modelId="{54BA14C8-CC0B-41A4-A3A7-9F7704CC3336}" type="presParOf" srcId="{54D2789A-D07D-466A-941E-E830C78ADC86}" destId="{02021B1C-43B6-4D10-859E-575A8544DE23}" srcOrd="2" destOrd="0" presId="urn:microsoft.com/office/officeart/2016/7/layout/RoundedRectangleTimeline"/>
    <dgm:cxn modelId="{01AFD613-11D7-4244-B88F-020436BB755B}" type="presParOf" srcId="{54D2789A-D07D-466A-941E-E830C78ADC86}" destId="{F7CE7C81-B749-41B3-98D9-9F3CDA249BFA}" srcOrd="3" destOrd="0" presId="urn:microsoft.com/office/officeart/2016/7/layout/RoundedRectangleTimeline"/>
    <dgm:cxn modelId="{C552C321-7011-4778-B96B-71619D99D25B}" type="presParOf" srcId="{54D2789A-D07D-466A-941E-E830C78ADC86}" destId="{8B90F038-3078-4E13-A49A-BF90AFA80A81}" srcOrd="4" destOrd="0" presId="urn:microsoft.com/office/officeart/2016/7/layout/RoundedRectangleTimeline"/>
    <dgm:cxn modelId="{86712A51-B27D-4CF9-B28A-ECD0FF0688CA}" type="presParOf" srcId="{196C9F68-3606-4282-A4C6-4485F1280B5F}" destId="{9B59614A-A005-4CAF-BCEB-551B6FA692A8}" srcOrd="1" destOrd="0" presId="urn:microsoft.com/office/officeart/2016/7/layout/RoundedRectangleTimeline"/>
    <dgm:cxn modelId="{AD9FFC91-907C-4A92-9D8C-F602BA897D04}" type="presParOf" srcId="{196C9F68-3606-4282-A4C6-4485F1280B5F}" destId="{EC898611-F445-4484-94A6-D8C6A967C858}" srcOrd="2" destOrd="0" presId="urn:microsoft.com/office/officeart/2016/7/layout/RoundedRectangleTimeline"/>
    <dgm:cxn modelId="{91DCA723-F04D-4A96-A40A-78C3C15AE8C9}" type="presParOf" srcId="{EC898611-F445-4484-94A6-D8C6A967C858}" destId="{A61C314D-04D2-45EF-9100-03C0677430A8}" srcOrd="0" destOrd="0" presId="urn:microsoft.com/office/officeart/2016/7/layout/RoundedRectangleTimeline"/>
    <dgm:cxn modelId="{F96C201D-E397-4A73-929C-F45035FD97CA}" type="presParOf" srcId="{EC898611-F445-4484-94A6-D8C6A967C858}" destId="{0BFE4064-B99E-4932-9841-BF336EF84A2C}" srcOrd="1" destOrd="0" presId="urn:microsoft.com/office/officeart/2016/7/layout/RoundedRectangleTimeline"/>
    <dgm:cxn modelId="{A7B63E6A-A54D-468A-BA5F-5B89524EF25C}" type="presParOf" srcId="{EC898611-F445-4484-94A6-D8C6A967C858}" destId="{2C2F6CE1-30DD-473E-814F-FDC4C33C59D4}" srcOrd="2" destOrd="0" presId="urn:microsoft.com/office/officeart/2016/7/layout/RoundedRectangleTimeline"/>
    <dgm:cxn modelId="{C19EB9E0-A6EC-4ECF-97D4-FDD6BDD5A25C}" type="presParOf" srcId="{EC898611-F445-4484-94A6-D8C6A967C858}" destId="{9D655207-CB9A-425D-A20B-50BC4F3C2F32}" srcOrd="3" destOrd="0" presId="urn:microsoft.com/office/officeart/2016/7/layout/RoundedRectangleTimeline"/>
    <dgm:cxn modelId="{D20AAA73-2124-42F3-B7E7-62EF1B003021}" type="presParOf" srcId="{EC898611-F445-4484-94A6-D8C6A967C858}" destId="{EEFE3DEA-C161-4998-AEAF-79377A4B9D09}" srcOrd="4" destOrd="0" presId="urn:microsoft.com/office/officeart/2016/7/layout/RoundedRectangle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5C0B14E-AEA6-48D3-A387-ED4A3A3BF840}" type="doc">
      <dgm:prSet loTypeId="urn:microsoft.com/office/officeart/2016/7/layout/AccentHomeChevronProcess" loCatId="process" qsTypeId="urn:microsoft.com/office/officeart/2005/8/quickstyle/simple1" qsCatId="simple" csTypeId="urn:microsoft.com/office/officeart/2018/5/colors/Iconchunking_coloredoutline_colorful1" csCatId="colorful" phldr="1"/>
      <dgm:spPr/>
      <dgm:t>
        <a:bodyPr rtlCol="0"/>
        <a:lstStyle/>
        <a:p>
          <a:pPr rtl="0"/>
          <a:endParaRPr lang="en-US"/>
        </a:p>
      </dgm:t>
    </dgm:pt>
    <dgm:pt modelId="{AACEAFD5-63CF-4AFC-B46F-BE086C5D447C}">
      <dgm:prSet phldrT="[Text]"/>
      <dgm:spPr>
        <a:solidFill>
          <a:schemeClr val="accent1"/>
        </a:solidFill>
        <a:ln>
          <a:solidFill>
            <a:schemeClr val="accent1"/>
          </a:solidFill>
        </a:ln>
      </dgm:spPr>
      <dgm:t>
        <a:bodyPr rtlCol="0"/>
        <a:lstStyle/>
        <a:p>
          <a:pPr rtl="0"/>
          <a:r>
            <a:rPr lang="ru-RU" b="1" noProof="0" dirty="0">
              <a:effectLst>
                <a:outerShdw blurRad="50800" dist="38100" dir="2700000" algn="tl" rotWithShape="0">
                  <a:schemeClr val="tx1">
                    <a:alpha val="50000"/>
                  </a:schemeClr>
                </a:outerShdw>
              </a:effectLst>
              <a:latin typeface="+mj-lt"/>
            </a:rPr>
            <a:t>ЭТАП 01</a:t>
          </a:r>
        </a:p>
      </dgm:t>
    </dgm:pt>
    <dgm:pt modelId="{7A0BD8EC-BB4A-4912-A54E-6F39B681264E}" type="parTrans" cxnId="{AE101ABC-7EA3-4444-A576-8AB15A371C84}">
      <dgm:prSet/>
      <dgm:spPr/>
      <dgm:t>
        <a:bodyPr rtlCol="0"/>
        <a:lstStyle/>
        <a:p>
          <a:pPr rtl="0"/>
          <a:endParaRPr lang="ru-RU" noProof="0" dirty="0"/>
        </a:p>
      </dgm:t>
    </dgm:pt>
    <dgm:pt modelId="{7A8D4B4D-06E9-4958-810D-A6226B6AC588}" type="sibTrans" cxnId="{AE101ABC-7EA3-4444-A576-8AB15A371C84}">
      <dgm:prSet/>
      <dgm:spPr/>
      <dgm:t>
        <a:bodyPr rtlCol="0"/>
        <a:lstStyle/>
        <a:p>
          <a:pPr rtl="0"/>
          <a:endParaRPr lang="ru-RU" noProof="0" dirty="0"/>
        </a:p>
      </dgm:t>
    </dgm:pt>
    <dgm:pt modelId="{349299C9-846E-4827-813A-349CCCE20782}">
      <dgm:prSet phldrT="[Text]" custT="1"/>
      <dgm:spPr/>
      <dgm:t>
        <a:bodyPr lIns="108000" tIns="648000" rIns="288000" rtlCol="0" anchor="t" anchorCtr="0"/>
        <a:lstStyle/>
        <a:p>
          <a:pPr rtl="0">
            <a:lnSpc>
              <a:spcPts val="1500"/>
            </a:lnSpc>
            <a:spcAft>
              <a:spcPts val="0"/>
            </a:spcAft>
          </a:pPr>
          <a:r>
            <a:rPr lang="ru-RU" sz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изкий уровень </a:t>
          </a:r>
          <a:r>
            <a:rPr lang="en-US" sz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T</a:t>
          </a:r>
          <a:r>
            <a:rPr lang="ru-RU" sz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 технологий.</a:t>
          </a:r>
        </a:p>
        <a:p>
          <a:pPr rtl="0">
            <a:lnSpc>
              <a:spcPts val="1500"/>
            </a:lnSpc>
            <a:spcAft>
              <a:spcPts val="0"/>
            </a:spcAft>
          </a:pPr>
          <a:r>
            <a:rPr lang="ru-RU" sz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логовая проверка как базовый инструмент, административное принуждение как взаимодействие  и коммуникации</a:t>
          </a:r>
        </a:p>
      </dgm:t>
    </dgm:pt>
    <dgm:pt modelId="{AEA27547-B9ED-4994-BD27-04EC297EF367}" type="parTrans" cxnId="{0EFA3039-6828-403C-9445-4359BA6645E6}">
      <dgm:prSet/>
      <dgm:spPr/>
      <dgm:t>
        <a:bodyPr rtlCol="0"/>
        <a:lstStyle/>
        <a:p>
          <a:pPr rtl="0"/>
          <a:endParaRPr lang="ru-RU" noProof="0" dirty="0"/>
        </a:p>
      </dgm:t>
    </dgm:pt>
    <dgm:pt modelId="{9D819F52-ACA0-4B08-8256-DF6BD8FA3A0B}" type="sibTrans" cxnId="{0EFA3039-6828-403C-9445-4359BA6645E6}">
      <dgm:prSet/>
      <dgm:spPr/>
      <dgm:t>
        <a:bodyPr rtlCol="0"/>
        <a:lstStyle/>
        <a:p>
          <a:pPr rtl="0"/>
          <a:endParaRPr lang="ru-RU" noProof="0" dirty="0"/>
        </a:p>
      </dgm:t>
    </dgm:pt>
    <dgm:pt modelId="{5D70EFF5-8B31-4A1F-AE44-51E4CF0013EB}">
      <dgm:prSet phldrT="[Text]" custT="1"/>
      <dgm:spPr/>
      <dgm:t>
        <a:bodyPr lIns="108000" tIns="648000" rIns="288000" rtlCol="0" anchor="t" anchorCtr="0"/>
        <a:lstStyle/>
        <a:p>
          <a:pPr rtl="0">
            <a:lnSpc>
              <a:spcPts val="1500"/>
            </a:lnSpc>
          </a:pPr>
          <a:r>
            <a:rPr lang="ru-RU" sz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ост уровня  использования </a:t>
          </a:r>
          <a:r>
            <a:rPr lang="en-US" sz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T-</a:t>
          </a:r>
          <a:r>
            <a:rPr lang="ru-RU" sz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ехнологий</a:t>
          </a:r>
        </a:p>
        <a:p>
          <a:pPr rtl="0">
            <a:lnSpc>
              <a:spcPts val="1500"/>
            </a:lnSpc>
          </a:pPr>
          <a:r>
            <a:rPr lang="ru-RU" sz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Горизонтальный налоговый мониторинг</a:t>
          </a:r>
        </a:p>
        <a:p>
          <a:pPr rtl="0">
            <a:lnSpc>
              <a:spcPts val="1500"/>
            </a:lnSpc>
          </a:pPr>
          <a:r>
            <a:rPr lang="ru-RU" sz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иск-ориентированный подход в проведении проверок</a:t>
          </a:r>
        </a:p>
      </dgm:t>
    </dgm:pt>
    <dgm:pt modelId="{96C720A0-FEEF-48D1-8DF6-ABA03C304822}" type="parTrans" cxnId="{E97FF64F-8020-497E-AE7D-2395DDA4560D}">
      <dgm:prSet/>
      <dgm:spPr/>
      <dgm:t>
        <a:bodyPr rtlCol="0"/>
        <a:lstStyle/>
        <a:p>
          <a:pPr rtl="0"/>
          <a:endParaRPr lang="ru-RU" noProof="0" dirty="0"/>
        </a:p>
      </dgm:t>
    </dgm:pt>
    <dgm:pt modelId="{B6A59CDE-18AD-4553-B6C5-FF001A8E8510}" type="sibTrans" cxnId="{E97FF64F-8020-497E-AE7D-2395DDA4560D}">
      <dgm:prSet/>
      <dgm:spPr/>
      <dgm:t>
        <a:bodyPr rtlCol="0"/>
        <a:lstStyle/>
        <a:p>
          <a:pPr rtl="0"/>
          <a:endParaRPr lang="ru-RU" noProof="0" dirty="0"/>
        </a:p>
      </dgm:t>
    </dgm:pt>
    <dgm:pt modelId="{D07AD3FD-84FF-467E-9693-752776549C61}">
      <dgm:prSet phldrT="[Text]"/>
      <dgm:spPr>
        <a:solidFill>
          <a:schemeClr val="accent2"/>
        </a:solidFill>
        <a:ln>
          <a:solidFill>
            <a:schemeClr val="accent2"/>
          </a:solidFill>
        </a:ln>
      </dgm:spPr>
      <dgm:t>
        <a:bodyPr rtlCol="0"/>
        <a:lstStyle/>
        <a:p>
          <a:pPr rtl="0"/>
          <a:r>
            <a:rPr lang="ru-RU" b="1" noProof="0" dirty="0">
              <a:effectLst>
                <a:outerShdw blurRad="50800" dist="38100" dir="2700000" algn="tl" rotWithShape="0">
                  <a:schemeClr val="tx1">
                    <a:alpha val="50000"/>
                  </a:schemeClr>
                </a:outerShdw>
              </a:effectLst>
              <a:latin typeface="+mj-lt"/>
            </a:rPr>
            <a:t>ЭТАП 02</a:t>
          </a:r>
        </a:p>
      </dgm:t>
    </dgm:pt>
    <dgm:pt modelId="{A8C9B7A9-BC2A-4753-B7F0-F2E361D95520}" type="sibTrans" cxnId="{55492768-9A5E-4F74-AC7C-959C5C24EFD3}">
      <dgm:prSet/>
      <dgm:spPr/>
      <dgm:t>
        <a:bodyPr rtlCol="0"/>
        <a:lstStyle/>
        <a:p>
          <a:pPr rtl="0"/>
          <a:endParaRPr lang="ru-RU" noProof="0" dirty="0"/>
        </a:p>
      </dgm:t>
    </dgm:pt>
    <dgm:pt modelId="{7B691773-F524-4FAD-A272-BDF0B0C4370A}" type="parTrans" cxnId="{55492768-9A5E-4F74-AC7C-959C5C24EFD3}">
      <dgm:prSet/>
      <dgm:spPr/>
      <dgm:t>
        <a:bodyPr rtlCol="0"/>
        <a:lstStyle/>
        <a:p>
          <a:pPr rtl="0"/>
          <a:endParaRPr lang="ru-RU" noProof="0" dirty="0"/>
        </a:p>
      </dgm:t>
    </dgm:pt>
    <dgm:pt modelId="{9E838AE2-4659-4603-ABC8-58DF4222C0D4}">
      <dgm:prSet/>
      <dgm:spPr>
        <a:solidFill>
          <a:schemeClr val="accent5"/>
        </a:solidFill>
        <a:ln>
          <a:solidFill>
            <a:schemeClr val="accent5"/>
          </a:solidFill>
        </a:ln>
      </dgm:spPr>
      <dgm:t>
        <a:bodyPr rtlCol="0"/>
        <a:lstStyle/>
        <a:p>
          <a:pPr rtl="0"/>
          <a:r>
            <a:rPr lang="ru-RU" b="1" noProof="0" dirty="0">
              <a:effectLst>
                <a:outerShdw blurRad="50800" dist="38100" dir="2700000" algn="tl" rotWithShape="0">
                  <a:schemeClr val="tx1">
                    <a:alpha val="50000"/>
                  </a:schemeClr>
                </a:outerShdw>
              </a:effectLst>
              <a:latin typeface="+mj-lt"/>
            </a:rPr>
            <a:t>ЭТАП 05</a:t>
          </a:r>
        </a:p>
      </dgm:t>
    </dgm:pt>
    <dgm:pt modelId="{5FC53805-9431-4BC8-ADB9-DABF59DE31C7}" type="parTrans" cxnId="{CF54291C-AAFD-4FA4-9A16-20CE892BA907}">
      <dgm:prSet/>
      <dgm:spPr/>
      <dgm:t>
        <a:bodyPr rtlCol="0"/>
        <a:lstStyle/>
        <a:p>
          <a:pPr rtl="0"/>
          <a:endParaRPr lang="ru-RU" noProof="0" dirty="0"/>
        </a:p>
      </dgm:t>
    </dgm:pt>
    <dgm:pt modelId="{61F1BCD3-232D-4C03-B56C-182BCB6108CD}" type="sibTrans" cxnId="{CF54291C-AAFD-4FA4-9A16-20CE892BA907}">
      <dgm:prSet/>
      <dgm:spPr/>
      <dgm:t>
        <a:bodyPr rtlCol="0"/>
        <a:lstStyle/>
        <a:p>
          <a:pPr rtl="0"/>
          <a:endParaRPr lang="ru-RU" noProof="0" dirty="0"/>
        </a:p>
      </dgm:t>
    </dgm:pt>
    <dgm:pt modelId="{C8E903CE-0CFD-4D68-A857-80E14557005E}">
      <dgm:prSet custT="1"/>
      <dgm:spPr/>
      <dgm:t>
        <a:bodyPr lIns="108000" tIns="648000" rIns="288000" rtlCol="0" anchor="t" anchorCtr="0"/>
        <a:lstStyle/>
        <a:p>
          <a:pPr marL="0" lvl="0" indent="0" algn="l" defTabSz="533400" rtl="0">
            <a:lnSpc>
              <a:spcPts val="15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kern="1200" noProof="0" dirty="0">
              <a:solidFill>
                <a:srgbClr val="666666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Интеграция и «размывание» границ налогового сервиса с сопряженными сервисами инфраструктуры ведения бизнеса и его администрирования: сделка в цифровой среде</a:t>
          </a:r>
        </a:p>
      </dgm:t>
    </dgm:pt>
    <dgm:pt modelId="{D5890537-0D77-4DA1-A100-62C393623468}" type="parTrans" cxnId="{17BD67AD-4331-49EC-BC4A-29404E891597}">
      <dgm:prSet/>
      <dgm:spPr/>
      <dgm:t>
        <a:bodyPr rtlCol="0"/>
        <a:lstStyle/>
        <a:p>
          <a:pPr rtl="0"/>
          <a:endParaRPr lang="ru-RU" noProof="0" dirty="0"/>
        </a:p>
      </dgm:t>
    </dgm:pt>
    <dgm:pt modelId="{862799CE-00F4-4DD6-894E-A487503F8DE6}" type="sibTrans" cxnId="{17BD67AD-4331-49EC-BC4A-29404E891597}">
      <dgm:prSet/>
      <dgm:spPr/>
      <dgm:t>
        <a:bodyPr rtlCol="0"/>
        <a:lstStyle/>
        <a:p>
          <a:pPr rtl="0"/>
          <a:endParaRPr lang="ru-RU" noProof="0" dirty="0"/>
        </a:p>
      </dgm:t>
    </dgm:pt>
    <dgm:pt modelId="{76A4C5D9-0567-4E5D-B8CE-C1176DB39E14}">
      <dgm:prSet/>
      <dgm:spPr>
        <a:solidFill>
          <a:schemeClr val="accent5"/>
        </a:solidFill>
        <a:ln>
          <a:solidFill>
            <a:schemeClr val="accent5"/>
          </a:solidFill>
        </a:ln>
      </dgm:spPr>
      <dgm:t>
        <a:bodyPr rtlCol="0"/>
        <a:lstStyle/>
        <a:p>
          <a:pPr rtl="0"/>
          <a:r>
            <a:rPr lang="ru-RU" b="1" noProof="0" dirty="0">
              <a:effectLst>
                <a:outerShdw blurRad="50800" dist="38100" dir="2700000" algn="tl" rotWithShape="0">
                  <a:schemeClr val="tx1">
                    <a:alpha val="50000"/>
                  </a:schemeClr>
                </a:outerShdw>
              </a:effectLst>
              <a:latin typeface="+mj-lt"/>
            </a:rPr>
            <a:t>ЭТАП 0</a:t>
          </a:r>
        </a:p>
      </dgm:t>
    </dgm:pt>
    <dgm:pt modelId="{925D57E3-A5D2-4EB9-90DC-495C08B760EF}" type="parTrans" cxnId="{AFC736AE-BB02-4C79-A95B-DEDCB70F1FFB}">
      <dgm:prSet/>
      <dgm:spPr/>
      <dgm:t>
        <a:bodyPr/>
        <a:lstStyle/>
        <a:p>
          <a:endParaRPr lang="ru-RU"/>
        </a:p>
      </dgm:t>
    </dgm:pt>
    <dgm:pt modelId="{259194DE-C364-44BF-8098-511CB74282FF}" type="sibTrans" cxnId="{AFC736AE-BB02-4C79-A95B-DEDCB70F1FFB}">
      <dgm:prSet/>
      <dgm:spPr/>
      <dgm:t>
        <a:bodyPr/>
        <a:lstStyle/>
        <a:p>
          <a:endParaRPr lang="ru-RU"/>
        </a:p>
      </dgm:t>
    </dgm:pt>
    <dgm:pt modelId="{594BF422-752C-42F3-A230-3D0E6AE9A886}" type="pres">
      <dgm:prSet presAssocID="{55C0B14E-AEA6-48D3-A387-ED4A3A3BF840}" presName="Name0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6A1B9E0-4B4A-47A4-A011-67526CEEA770}" type="pres">
      <dgm:prSet presAssocID="{AACEAFD5-63CF-4AFC-B46F-BE086C5D447C}" presName="composite" presStyleCnt="0"/>
      <dgm:spPr/>
    </dgm:pt>
    <dgm:pt modelId="{FA4E6E73-A3C8-4495-927B-8AADA5A74297}" type="pres">
      <dgm:prSet presAssocID="{AACEAFD5-63CF-4AFC-B46F-BE086C5D447C}" presName="L" presStyleLbl="solidFgAcc1" presStyleIdx="0" presStyleCnt="4">
        <dgm:presLayoutVars>
          <dgm:chMax val="0"/>
          <dgm:chPref val="0"/>
        </dgm:presLayoutVars>
      </dgm:prSet>
      <dgm:spPr>
        <a:ln>
          <a:solidFill>
            <a:schemeClr val="accent1"/>
          </a:solidFill>
        </a:ln>
      </dgm:spPr>
    </dgm:pt>
    <dgm:pt modelId="{CA3A6A4E-2D39-41D2-A6B1-B590D0C452D2}" type="pres">
      <dgm:prSet presAssocID="{AACEAFD5-63CF-4AFC-B46F-BE086C5D447C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10D7AA7-A541-4507-BE7F-36CCF210089F}" type="pres">
      <dgm:prSet presAssocID="{AACEAFD5-63CF-4AFC-B46F-BE086C5D447C}" presName="desTx" presStyleLbl="revTx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7CDD44-32F1-4759-861F-8DABEBBA8D89}" type="pres">
      <dgm:prSet presAssocID="{AACEAFD5-63CF-4AFC-B46F-BE086C5D447C}" presName="EmptyPlaceHolder" presStyleCnt="0"/>
      <dgm:spPr/>
    </dgm:pt>
    <dgm:pt modelId="{C9A9B9EA-6A1D-4A13-9C7F-C112F25D2888}" type="pres">
      <dgm:prSet presAssocID="{7A8D4B4D-06E9-4958-810D-A6226B6AC588}" presName="space" presStyleCnt="0"/>
      <dgm:spPr/>
    </dgm:pt>
    <dgm:pt modelId="{EC37843F-14A6-4E20-B7AE-2B086A8F5F45}" type="pres">
      <dgm:prSet presAssocID="{D07AD3FD-84FF-467E-9693-752776549C61}" presName="composite" presStyleCnt="0"/>
      <dgm:spPr/>
    </dgm:pt>
    <dgm:pt modelId="{E41E7729-FD3F-426D-804C-45BD60BD762D}" type="pres">
      <dgm:prSet presAssocID="{D07AD3FD-84FF-467E-9693-752776549C61}" presName="L" presStyleLbl="solidFgAcc1" presStyleIdx="1" presStyleCnt="4">
        <dgm:presLayoutVars>
          <dgm:chMax val="0"/>
          <dgm:chPref val="0"/>
        </dgm:presLayoutVars>
      </dgm:prSet>
      <dgm:spPr>
        <a:ln>
          <a:solidFill>
            <a:schemeClr val="accent2"/>
          </a:solidFill>
        </a:ln>
      </dgm:spPr>
    </dgm:pt>
    <dgm:pt modelId="{6C46E586-0364-4C52-98F9-74A7ACD803D1}" type="pres">
      <dgm:prSet presAssocID="{D07AD3FD-84FF-467E-9693-752776549C61}" presName="parTx" presStyleLbl="alignNode1" presStyleIdx="1" presStyleCnt="4" custScaleY="9335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07F9E4-149C-4A89-848F-4ABDD305F0C5}" type="pres">
      <dgm:prSet presAssocID="{D07AD3FD-84FF-467E-9693-752776549C61}" presName="desTx" presStyleLbl="revTx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28FCAD-BE3F-45AC-93A5-FD98F8A50E00}" type="pres">
      <dgm:prSet presAssocID="{D07AD3FD-84FF-467E-9693-752776549C61}" presName="EmptyPlaceHolder" presStyleCnt="0"/>
      <dgm:spPr/>
    </dgm:pt>
    <dgm:pt modelId="{C2DF8D93-19C7-4E07-BCAF-9FAAB62C8CF2}" type="pres">
      <dgm:prSet presAssocID="{A8C9B7A9-BC2A-4753-B7F0-F2E361D95520}" presName="space" presStyleCnt="0"/>
      <dgm:spPr/>
    </dgm:pt>
    <dgm:pt modelId="{12391836-EAE8-4503-B52B-2BFC3465EBD5}" type="pres">
      <dgm:prSet presAssocID="{76A4C5D9-0567-4E5D-B8CE-C1176DB39E14}" presName="composite" presStyleCnt="0"/>
      <dgm:spPr/>
    </dgm:pt>
    <dgm:pt modelId="{9666CF46-3CFB-4707-87A6-70C5541181DE}" type="pres">
      <dgm:prSet presAssocID="{76A4C5D9-0567-4E5D-B8CE-C1176DB39E14}" presName="L" presStyleLbl="solidFgAcc1" presStyleIdx="2" presStyleCnt="4">
        <dgm:presLayoutVars>
          <dgm:chMax val="0"/>
          <dgm:chPref val="0"/>
        </dgm:presLayoutVars>
      </dgm:prSet>
      <dgm:spPr/>
    </dgm:pt>
    <dgm:pt modelId="{A82424B9-F084-4C94-95E2-21E13751922F}" type="pres">
      <dgm:prSet presAssocID="{76A4C5D9-0567-4E5D-B8CE-C1176DB39E14}" presName="parTx" presStyleLbl="alignNode1" presStyleIdx="2" presStyleCnt="4" custScaleY="85865" custLinFactNeighborX="307" custLinFactNeighborY="414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FD5F74-3D87-4B19-86F1-9C0A84432746}" type="pres">
      <dgm:prSet presAssocID="{76A4C5D9-0567-4E5D-B8CE-C1176DB39E14}" presName="desTx" presStyleLbl="revTx" presStyleIdx="2" presStyleCnt="4">
        <dgm:presLayoutVars>
          <dgm:chMax val="0"/>
          <dgm:chPref val="0"/>
          <dgm:bulletEnabled val="1"/>
        </dgm:presLayoutVars>
      </dgm:prSet>
      <dgm:spPr/>
    </dgm:pt>
    <dgm:pt modelId="{E801296A-3321-4FC3-BDA8-B43CE361B66C}" type="pres">
      <dgm:prSet presAssocID="{76A4C5D9-0567-4E5D-B8CE-C1176DB39E14}" presName="EmptyPlaceHolder" presStyleCnt="0"/>
      <dgm:spPr/>
    </dgm:pt>
    <dgm:pt modelId="{A1DC9AD4-D55E-4C1E-B1FE-0E4ABC86E204}" type="pres">
      <dgm:prSet presAssocID="{259194DE-C364-44BF-8098-511CB74282FF}" presName="space" presStyleCnt="0"/>
      <dgm:spPr/>
    </dgm:pt>
    <dgm:pt modelId="{D0A9E9B9-B6D2-49AA-91D6-7CE223E637D0}" type="pres">
      <dgm:prSet presAssocID="{9E838AE2-4659-4603-ABC8-58DF4222C0D4}" presName="composite" presStyleCnt="0"/>
      <dgm:spPr/>
    </dgm:pt>
    <dgm:pt modelId="{0EE416CF-D8AE-41BD-BF35-9148040E1274}" type="pres">
      <dgm:prSet presAssocID="{9E838AE2-4659-4603-ABC8-58DF4222C0D4}" presName="L" presStyleLbl="solidFgAcc1" presStyleIdx="3" presStyleCnt="4">
        <dgm:presLayoutVars>
          <dgm:chMax val="0"/>
          <dgm:chPref val="0"/>
        </dgm:presLayoutVars>
      </dgm:prSet>
      <dgm:spPr>
        <a:ln>
          <a:solidFill>
            <a:schemeClr val="accent5"/>
          </a:solidFill>
        </a:ln>
      </dgm:spPr>
    </dgm:pt>
    <dgm:pt modelId="{559A9A18-D6AE-4459-8C7F-A17CAB50744A}" type="pres">
      <dgm:prSet presAssocID="{9E838AE2-4659-4603-ABC8-58DF4222C0D4}" presName="parTx" presStyleLbl="alignNode1" presStyleIdx="3" presStyleCnt="4" custScaleY="85865" custLinFactNeighborX="307" custLinFactNeighborY="414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F54B493-FCA8-4A1F-A2B1-FCB26CA9C396}" type="pres">
      <dgm:prSet presAssocID="{9E838AE2-4659-4603-ABC8-58DF4222C0D4}" presName="desTx" presStyleLbl="revTx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3F5E39-8993-4D6C-9D92-8E8F41E329B8}" type="pres">
      <dgm:prSet presAssocID="{9E838AE2-4659-4603-ABC8-58DF4222C0D4}" presName="EmptyPlaceHolder" presStyleCnt="0"/>
      <dgm:spPr/>
    </dgm:pt>
  </dgm:ptLst>
  <dgm:cxnLst>
    <dgm:cxn modelId="{9BB02EAD-FD4E-47F8-A145-EE36AD06A548}" type="presOf" srcId="{76A4C5D9-0567-4E5D-B8CE-C1176DB39E14}" destId="{A82424B9-F084-4C94-95E2-21E13751922F}" srcOrd="0" destOrd="0" presId="urn:microsoft.com/office/officeart/2016/7/layout/AccentHomeChevronProcess"/>
    <dgm:cxn modelId="{665C05C7-3CB0-428C-B457-E59A0AF60DA1}" type="presOf" srcId="{D07AD3FD-84FF-467E-9693-752776549C61}" destId="{6C46E586-0364-4C52-98F9-74A7ACD803D1}" srcOrd="0" destOrd="0" presId="urn:microsoft.com/office/officeart/2016/7/layout/AccentHomeChevronProcess"/>
    <dgm:cxn modelId="{20190A0D-EF75-4224-80CC-FC8EBDEF2138}" type="presOf" srcId="{C8E903CE-0CFD-4D68-A857-80E14557005E}" destId="{7F54B493-FCA8-4A1F-A2B1-FCB26CA9C396}" srcOrd="0" destOrd="0" presId="urn:microsoft.com/office/officeart/2016/7/layout/AccentHomeChevronProcess"/>
    <dgm:cxn modelId="{0EFA3039-6828-403C-9445-4359BA6645E6}" srcId="{AACEAFD5-63CF-4AFC-B46F-BE086C5D447C}" destId="{349299C9-846E-4827-813A-349CCCE20782}" srcOrd="0" destOrd="0" parTransId="{AEA27547-B9ED-4994-BD27-04EC297EF367}" sibTransId="{9D819F52-ACA0-4B08-8256-DF6BD8FA3A0B}"/>
    <dgm:cxn modelId="{55492768-9A5E-4F74-AC7C-959C5C24EFD3}" srcId="{55C0B14E-AEA6-48D3-A387-ED4A3A3BF840}" destId="{D07AD3FD-84FF-467E-9693-752776549C61}" srcOrd="1" destOrd="0" parTransId="{7B691773-F524-4FAD-A272-BDF0B0C4370A}" sibTransId="{A8C9B7A9-BC2A-4753-B7F0-F2E361D95520}"/>
    <dgm:cxn modelId="{E97FF64F-8020-497E-AE7D-2395DDA4560D}" srcId="{D07AD3FD-84FF-467E-9693-752776549C61}" destId="{5D70EFF5-8B31-4A1F-AE44-51E4CF0013EB}" srcOrd="0" destOrd="0" parTransId="{96C720A0-FEEF-48D1-8DF6-ABA03C304822}" sibTransId="{B6A59CDE-18AD-4553-B6C5-FF001A8E8510}"/>
    <dgm:cxn modelId="{CF54291C-AAFD-4FA4-9A16-20CE892BA907}" srcId="{55C0B14E-AEA6-48D3-A387-ED4A3A3BF840}" destId="{9E838AE2-4659-4603-ABC8-58DF4222C0D4}" srcOrd="3" destOrd="0" parTransId="{5FC53805-9431-4BC8-ADB9-DABF59DE31C7}" sibTransId="{61F1BCD3-232D-4C03-B56C-182BCB6108CD}"/>
    <dgm:cxn modelId="{6CDEA839-6538-453E-9113-58ECC65280CB}" type="presOf" srcId="{AACEAFD5-63CF-4AFC-B46F-BE086C5D447C}" destId="{CA3A6A4E-2D39-41D2-A6B1-B590D0C452D2}" srcOrd="0" destOrd="0" presId="urn:microsoft.com/office/officeart/2016/7/layout/AccentHomeChevronProcess"/>
    <dgm:cxn modelId="{219EA357-E48B-4A91-91A7-8282DFF10601}" type="presOf" srcId="{55C0B14E-AEA6-48D3-A387-ED4A3A3BF840}" destId="{594BF422-752C-42F3-A230-3D0E6AE9A886}" srcOrd="0" destOrd="0" presId="urn:microsoft.com/office/officeart/2016/7/layout/AccentHomeChevronProcess"/>
    <dgm:cxn modelId="{AFC736AE-BB02-4C79-A95B-DEDCB70F1FFB}" srcId="{55C0B14E-AEA6-48D3-A387-ED4A3A3BF840}" destId="{76A4C5D9-0567-4E5D-B8CE-C1176DB39E14}" srcOrd="2" destOrd="0" parTransId="{925D57E3-A5D2-4EB9-90DC-495C08B760EF}" sibTransId="{259194DE-C364-44BF-8098-511CB74282FF}"/>
    <dgm:cxn modelId="{17BD67AD-4331-49EC-BC4A-29404E891597}" srcId="{9E838AE2-4659-4603-ABC8-58DF4222C0D4}" destId="{C8E903CE-0CFD-4D68-A857-80E14557005E}" srcOrd="0" destOrd="0" parTransId="{D5890537-0D77-4DA1-A100-62C393623468}" sibTransId="{862799CE-00F4-4DD6-894E-A487503F8DE6}"/>
    <dgm:cxn modelId="{F23BFC27-EEA1-48DD-A68B-3C9BF1AE455D}" type="presOf" srcId="{349299C9-846E-4827-813A-349CCCE20782}" destId="{810D7AA7-A541-4507-BE7F-36CCF210089F}" srcOrd="0" destOrd="0" presId="urn:microsoft.com/office/officeart/2016/7/layout/AccentHomeChevronProcess"/>
    <dgm:cxn modelId="{DB636DF2-EC68-445F-B7E9-11D2D9235026}" type="presOf" srcId="{9E838AE2-4659-4603-ABC8-58DF4222C0D4}" destId="{559A9A18-D6AE-4459-8C7F-A17CAB50744A}" srcOrd="0" destOrd="0" presId="urn:microsoft.com/office/officeart/2016/7/layout/AccentHomeChevronProcess"/>
    <dgm:cxn modelId="{2F6485B4-0735-4D01-8060-5A89B7562619}" type="presOf" srcId="{5D70EFF5-8B31-4A1F-AE44-51E4CF0013EB}" destId="{5E07F9E4-149C-4A89-848F-4ABDD305F0C5}" srcOrd="0" destOrd="0" presId="urn:microsoft.com/office/officeart/2016/7/layout/AccentHomeChevronProcess"/>
    <dgm:cxn modelId="{AE101ABC-7EA3-4444-A576-8AB15A371C84}" srcId="{55C0B14E-AEA6-48D3-A387-ED4A3A3BF840}" destId="{AACEAFD5-63CF-4AFC-B46F-BE086C5D447C}" srcOrd="0" destOrd="0" parTransId="{7A0BD8EC-BB4A-4912-A54E-6F39B681264E}" sibTransId="{7A8D4B4D-06E9-4958-810D-A6226B6AC588}"/>
    <dgm:cxn modelId="{C93892E1-28C0-4B75-A464-293C00708672}" type="presParOf" srcId="{594BF422-752C-42F3-A230-3D0E6AE9A886}" destId="{F6A1B9E0-4B4A-47A4-A011-67526CEEA770}" srcOrd="0" destOrd="0" presId="urn:microsoft.com/office/officeart/2016/7/layout/AccentHomeChevronProcess"/>
    <dgm:cxn modelId="{D5413575-9692-46A2-A045-9ED8482318DF}" type="presParOf" srcId="{F6A1B9E0-4B4A-47A4-A011-67526CEEA770}" destId="{FA4E6E73-A3C8-4495-927B-8AADA5A74297}" srcOrd="0" destOrd="0" presId="urn:microsoft.com/office/officeart/2016/7/layout/AccentHomeChevronProcess"/>
    <dgm:cxn modelId="{3303BDD6-668D-45F1-9491-4125E782D67C}" type="presParOf" srcId="{F6A1B9E0-4B4A-47A4-A011-67526CEEA770}" destId="{CA3A6A4E-2D39-41D2-A6B1-B590D0C452D2}" srcOrd="1" destOrd="0" presId="urn:microsoft.com/office/officeart/2016/7/layout/AccentHomeChevronProcess"/>
    <dgm:cxn modelId="{3BAD5A1C-162E-4722-B818-968C4083BECD}" type="presParOf" srcId="{F6A1B9E0-4B4A-47A4-A011-67526CEEA770}" destId="{810D7AA7-A541-4507-BE7F-36CCF210089F}" srcOrd="2" destOrd="0" presId="urn:microsoft.com/office/officeart/2016/7/layout/AccentHomeChevronProcess"/>
    <dgm:cxn modelId="{A3B267C1-BAFC-42F0-A63A-6491CFDC1ED2}" type="presParOf" srcId="{F6A1B9E0-4B4A-47A4-A011-67526CEEA770}" destId="{4F7CDD44-32F1-4759-861F-8DABEBBA8D89}" srcOrd="3" destOrd="0" presId="urn:microsoft.com/office/officeart/2016/7/layout/AccentHomeChevronProcess"/>
    <dgm:cxn modelId="{80CC9289-BA8F-4ED7-A4ED-9FA5EF71D964}" type="presParOf" srcId="{594BF422-752C-42F3-A230-3D0E6AE9A886}" destId="{C9A9B9EA-6A1D-4A13-9C7F-C112F25D2888}" srcOrd="1" destOrd="0" presId="urn:microsoft.com/office/officeart/2016/7/layout/AccentHomeChevronProcess"/>
    <dgm:cxn modelId="{5B7985CA-BC92-461D-A77E-E2320D4992D0}" type="presParOf" srcId="{594BF422-752C-42F3-A230-3D0E6AE9A886}" destId="{EC37843F-14A6-4E20-B7AE-2B086A8F5F45}" srcOrd="2" destOrd="0" presId="urn:microsoft.com/office/officeart/2016/7/layout/AccentHomeChevronProcess"/>
    <dgm:cxn modelId="{1996E4D7-D809-45CA-9DF0-561A93BDAFB1}" type="presParOf" srcId="{EC37843F-14A6-4E20-B7AE-2B086A8F5F45}" destId="{E41E7729-FD3F-426D-804C-45BD60BD762D}" srcOrd="0" destOrd="0" presId="urn:microsoft.com/office/officeart/2016/7/layout/AccentHomeChevronProcess"/>
    <dgm:cxn modelId="{16E53752-1AB8-4CD2-BFD6-85C0CDA26E1B}" type="presParOf" srcId="{EC37843F-14A6-4E20-B7AE-2B086A8F5F45}" destId="{6C46E586-0364-4C52-98F9-74A7ACD803D1}" srcOrd="1" destOrd="0" presId="urn:microsoft.com/office/officeart/2016/7/layout/AccentHomeChevronProcess"/>
    <dgm:cxn modelId="{FAC2F23D-E510-4342-91C3-FCAB11B207C0}" type="presParOf" srcId="{EC37843F-14A6-4E20-B7AE-2B086A8F5F45}" destId="{5E07F9E4-149C-4A89-848F-4ABDD305F0C5}" srcOrd="2" destOrd="0" presId="urn:microsoft.com/office/officeart/2016/7/layout/AccentHomeChevronProcess"/>
    <dgm:cxn modelId="{3843A525-0A63-4743-B0E8-0F795D54B4E4}" type="presParOf" srcId="{EC37843F-14A6-4E20-B7AE-2B086A8F5F45}" destId="{2928FCAD-BE3F-45AC-93A5-FD98F8A50E00}" srcOrd="3" destOrd="0" presId="urn:microsoft.com/office/officeart/2016/7/layout/AccentHomeChevronProcess"/>
    <dgm:cxn modelId="{D179D84E-BE2C-46EF-8594-412D3A7F9213}" type="presParOf" srcId="{594BF422-752C-42F3-A230-3D0E6AE9A886}" destId="{C2DF8D93-19C7-4E07-BCAF-9FAAB62C8CF2}" srcOrd="3" destOrd="0" presId="urn:microsoft.com/office/officeart/2016/7/layout/AccentHomeChevronProcess"/>
    <dgm:cxn modelId="{E50D6FE5-437E-4735-91FA-2FDBF8F2A034}" type="presParOf" srcId="{594BF422-752C-42F3-A230-3D0E6AE9A886}" destId="{12391836-EAE8-4503-B52B-2BFC3465EBD5}" srcOrd="4" destOrd="0" presId="urn:microsoft.com/office/officeart/2016/7/layout/AccentHomeChevronProcess"/>
    <dgm:cxn modelId="{59EE4298-3FFB-44A8-AC66-85BD8C463EB2}" type="presParOf" srcId="{12391836-EAE8-4503-B52B-2BFC3465EBD5}" destId="{9666CF46-3CFB-4707-87A6-70C5541181DE}" srcOrd="0" destOrd="0" presId="urn:microsoft.com/office/officeart/2016/7/layout/AccentHomeChevronProcess"/>
    <dgm:cxn modelId="{62587870-FC6A-4688-A320-46B39D747FA6}" type="presParOf" srcId="{12391836-EAE8-4503-B52B-2BFC3465EBD5}" destId="{A82424B9-F084-4C94-95E2-21E13751922F}" srcOrd="1" destOrd="0" presId="urn:microsoft.com/office/officeart/2016/7/layout/AccentHomeChevronProcess"/>
    <dgm:cxn modelId="{CD1901F8-EE77-42D8-8C5B-23633051BC05}" type="presParOf" srcId="{12391836-EAE8-4503-B52B-2BFC3465EBD5}" destId="{0CFD5F74-3D87-4B19-86F1-9C0A84432746}" srcOrd="2" destOrd="0" presId="urn:microsoft.com/office/officeart/2016/7/layout/AccentHomeChevronProcess"/>
    <dgm:cxn modelId="{2D2DD883-7F9D-41F7-8FE9-8B87F3F149E0}" type="presParOf" srcId="{12391836-EAE8-4503-B52B-2BFC3465EBD5}" destId="{E801296A-3321-4FC3-BDA8-B43CE361B66C}" srcOrd="3" destOrd="0" presId="urn:microsoft.com/office/officeart/2016/7/layout/AccentHomeChevronProcess"/>
    <dgm:cxn modelId="{8E50E46D-1983-4260-977E-9EC145E0500D}" type="presParOf" srcId="{594BF422-752C-42F3-A230-3D0E6AE9A886}" destId="{A1DC9AD4-D55E-4C1E-B1FE-0E4ABC86E204}" srcOrd="5" destOrd="0" presId="urn:microsoft.com/office/officeart/2016/7/layout/AccentHomeChevronProcess"/>
    <dgm:cxn modelId="{B07B5F95-29F3-4EBA-881F-2F9C82CD9290}" type="presParOf" srcId="{594BF422-752C-42F3-A230-3D0E6AE9A886}" destId="{D0A9E9B9-B6D2-49AA-91D6-7CE223E637D0}" srcOrd="6" destOrd="0" presId="urn:microsoft.com/office/officeart/2016/7/layout/AccentHomeChevronProcess"/>
    <dgm:cxn modelId="{6DCE379C-942E-4A9E-8128-B2C269A9781F}" type="presParOf" srcId="{D0A9E9B9-B6D2-49AA-91D6-7CE223E637D0}" destId="{0EE416CF-D8AE-41BD-BF35-9148040E1274}" srcOrd="0" destOrd="0" presId="urn:microsoft.com/office/officeart/2016/7/layout/AccentHomeChevronProcess"/>
    <dgm:cxn modelId="{FE2C896A-6834-4EDF-8664-05B479C8F0ED}" type="presParOf" srcId="{D0A9E9B9-B6D2-49AA-91D6-7CE223E637D0}" destId="{559A9A18-D6AE-4459-8C7F-A17CAB50744A}" srcOrd="1" destOrd="0" presId="urn:microsoft.com/office/officeart/2016/7/layout/AccentHomeChevronProcess"/>
    <dgm:cxn modelId="{10CD1AE1-F5D1-4C7E-9DFC-2BC8AB439A36}" type="presParOf" srcId="{D0A9E9B9-B6D2-49AA-91D6-7CE223E637D0}" destId="{7F54B493-FCA8-4A1F-A2B1-FCB26CA9C396}" srcOrd="2" destOrd="0" presId="urn:microsoft.com/office/officeart/2016/7/layout/AccentHomeChevronProcess"/>
    <dgm:cxn modelId="{3BA0BF32-4C4F-4617-8C77-FB7B13572D62}" type="presParOf" srcId="{D0A9E9B9-B6D2-49AA-91D6-7CE223E637D0}" destId="{D73F5E39-8993-4D6C-9D92-8E8F41E329B8}" srcOrd="3" destOrd="0" presId="urn:microsoft.com/office/officeart/2016/7/layout/AccentHomeChevro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4D67ED0-6EEA-48F6-A9C1-BE754AABC76A}" type="doc">
      <dgm:prSet loTypeId="urn:microsoft.com/office/officeart/2017/3/layout/HorizontalPathTimeline#2" loCatId="other" qsTypeId="urn:microsoft.com/office/officeart/2005/8/quickstyle/simple1" qsCatId="simple" csTypeId="urn:microsoft.com/office/officeart/2005/8/colors/accent1_2" csCatId="accent1" phldr="1"/>
      <dgm:spPr/>
      <dgm:t>
        <a:bodyPr rtlCol="0"/>
        <a:lstStyle/>
        <a:p>
          <a:pPr rtl="0"/>
          <a:endParaRPr lang="ru-RU"/>
        </a:p>
      </dgm:t>
    </dgm:pt>
    <dgm:pt modelId="{AE62509E-8FD5-4BC0-8484-49407DA07B2D}">
      <dgm:prSet phldrT="[Text]"/>
      <dgm:spPr/>
      <dgm:t>
        <a:bodyPr rtlCol="0"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ru-RU" spc="100" dirty="0">
              <a:solidFill>
                <a:schemeClr val="tx1"/>
              </a:solidFill>
            </a:rPr>
            <a:t>Налоговый контроль</a:t>
          </a:r>
        </a:p>
      </dgm:t>
    </dgm:pt>
    <dgm:pt modelId="{8F2C679D-77AF-46F9-9ACE-1E1D440B1883}" type="parTrans" cxnId="{B681E0E7-0B3A-4DB8-BF19-F9AE0E1C787B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5C2CB4AF-F88D-4FBE-A40E-0CC048A23B9E}" type="sibTrans" cxnId="{B681E0E7-0B3A-4DB8-BF19-F9AE0E1C787B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54A260F9-80FA-4E2A-BE87-2C0670B83857}">
      <dgm:prSet phldrT="[Text]" custT="1"/>
      <dgm:spPr/>
      <dgm:t>
        <a:bodyPr rtlCol="0"/>
        <a:lstStyle/>
        <a:p>
          <a:pPr rtl="0">
            <a:lnSpc>
              <a:spcPct val="9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ru-RU" sz="1200" spc="100" baseline="0" dirty="0">
              <a:solidFill>
                <a:schemeClr val="tx1"/>
              </a:solidFill>
            </a:rPr>
            <a:t>Контрольная функция налогового администрирования</a:t>
          </a:r>
        </a:p>
      </dgm:t>
    </dgm:pt>
    <dgm:pt modelId="{3E4E3177-8F1B-40ED-B20A-6A6F0041E180}" type="parTrans" cxnId="{0D49E980-DE7B-46C8-A240-0AF3E38E1055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BA9E60E0-CF2E-4096-A9F4-556713DB9AE4}" type="sibTrans" cxnId="{0D49E980-DE7B-46C8-A240-0AF3E38E1055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20928AAA-F457-4A09-8AAC-A82210983FBE}">
      <dgm:prSet phldrT="[Text]"/>
      <dgm:spPr/>
      <dgm:t>
        <a:bodyPr rtlCol="0"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ru-RU" spc="100" dirty="0">
              <a:solidFill>
                <a:schemeClr val="tx1"/>
              </a:solidFill>
            </a:rPr>
            <a:t>Налоговая услуга</a:t>
          </a:r>
        </a:p>
      </dgm:t>
    </dgm:pt>
    <dgm:pt modelId="{915085CE-2C78-4B64-8FF4-E48DB7BD55D2}" type="parTrans" cxnId="{BA476174-221B-4A3D-B4E2-5FCC084B59D3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EB5D5454-A5E9-4E37-B514-DFC5324A66C0}" type="sibTrans" cxnId="{BA476174-221B-4A3D-B4E2-5FCC084B59D3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9C6534A9-4C27-4998-80A5-DF23882CAE25}">
      <dgm:prSet phldrT="[Text]" custT="1"/>
      <dgm:spPr/>
      <dgm:t>
        <a:bodyPr rtlCol="0"/>
        <a:lstStyle/>
        <a:p>
          <a:pPr rtl="0">
            <a:lnSpc>
              <a:spcPct val="9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ru-RU" sz="1200" spc="100" baseline="0" dirty="0">
              <a:solidFill>
                <a:schemeClr val="tx1"/>
              </a:solidFill>
            </a:rPr>
            <a:t>Расширения и гуманизация взаимодействия с налогоплательщиком</a:t>
          </a:r>
        </a:p>
      </dgm:t>
    </dgm:pt>
    <dgm:pt modelId="{0AA7231B-9394-4732-A7BE-3EB3CF2F8D70}" type="parTrans" cxnId="{82290D4D-2346-4E6C-B254-B9EAA4D01A23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83B69D46-737C-4589-B359-6BD9DD58BC91}" type="sibTrans" cxnId="{82290D4D-2346-4E6C-B254-B9EAA4D01A23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03738E35-4243-4E7D-A93F-C07DA3901E78}">
      <dgm:prSet phldrT="[Text]"/>
      <dgm:spPr/>
      <dgm:t>
        <a:bodyPr rtlCol="0"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ru-RU" spc="100" dirty="0">
              <a:solidFill>
                <a:schemeClr val="tx1"/>
              </a:solidFill>
            </a:rPr>
            <a:t>Налоговый сервис</a:t>
          </a:r>
        </a:p>
      </dgm:t>
    </dgm:pt>
    <dgm:pt modelId="{DABBAF6C-D1C9-42E1-B928-5ACDE3D21AB0}" type="parTrans" cxnId="{E41AD5BE-76F3-4A9E-8059-7FC968661703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6BF5896A-A334-45B0-B451-09159F55B184}" type="sibTrans" cxnId="{E41AD5BE-76F3-4A9E-8059-7FC968661703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34C8CD19-04E2-4488-965F-DC841C470D45}">
      <dgm:prSet phldrT="[Text]" custT="1"/>
      <dgm:spPr/>
      <dgm:t>
        <a:bodyPr rtlCol="0"/>
        <a:lstStyle/>
        <a:p>
          <a:pPr rtl="0">
            <a:lnSpc>
              <a:spcPct val="9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ru-RU" sz="1200" spc="150" baseline="0" dirty="0">
              <a:solidFill>
                <a:schemeClr val="tx1"/>
              </a:solidFill>
            </a:rPr>
            <a:t>Цифровизация налогового обслуживания и создание системы налоговых услуг</a:t>
          </a:r>
        </a:p>
      </dgm:t>
    </dgm:pt>
    <dgm:pt modelId="{CD5F7DE2-2AD1-4CE8-AAC7-AD9C8E180CEA}" type="parTrans" cxnId="{07030C4E-4D62-4240-B10F-E41B801C763E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7CE5955C-EC28-4D1B-9459-0C5458B1797D}" type="sibTrans" cxnId="{07030C4E-4D62-4240-B10F-E41B801C763E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962BFD33-E216-4331-BBD8-38EEDAB2E2C0}">
      <dgm:prSet phldrT="[Text]"/>
      <dgm:spPr/>
      <dgm:t>
        <a:bodyPr rtlCol="0"/>
        <a:lstStyle/>
        <a:p>
          <a:pPr rtl="0">
            <a:lnSpc>
              <a:spcPct val="90000"/>
            </a:lnSpc>
            <a:spcAft>
              <a:spcPts val="0"/>
            </a:spcAft>
            <a:buFont typeface="Arial" panose="020B0604020202020204" pitchFamily="34" charset="0"/>
            <a:buChar char="•"/>
          </a:pPr>
          <a:endParaRPr lang="ru-RU" spc="100" dirty="0">
            <a:solidFill>
              <a:schemeClr val="tx1"/>
            </a:solidFill>
          </a:endParaRPr>
        </a:p>
      </dgm:t>
    </dgm:pt>
    <dgm:pt modelId="{AB5F98BE-C987-462F-85E3-90E8BE69A319}" type="parTrans" cxnId="{D77C3B5C-C13D-41B7-AA50-BE60CD5D3FAD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FF557E39-8331-4155-901F-701688C4CCAD}" type="sibTrans" cxnId="{D77C3B5C-C13D-41B7-AA50-BE60CD5D3FAD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1080EDDF-ADDC-4DF2-8E5F-F49A7CF611ED}">
      <dgm:prSet custT="1"/>
      <dgm:spPr/>
      <dgm:t>
        <a:bodyPr rtlCol="0"/>
        <a:lstStyle/>
        <a:p>
          <a:pPr rtl="0">
            <a:buFont typeface="Arial" panose="020B0604020202020204" pitchFamily="34" charset="0"/>
            <a:buChar char="•"/>
          </a:pPr>
          <a:endParaRPr lang="ru-RU" sz="1000" spc="100" baseline="0" dirty="0">
            <a:solidFill>
              <a:schemeClr val="tx1"/>
            </a:solidFill>
          </a:endParaRPr>
        </a:p>
      </dgm:t>
    </dgm:pt>
    <dgm:pt modelId="{4C9E55B0-B04E-4552-BC60-A9DA24745302}" type="sibTrans" cxnId="{0DE29C93-78F2-43AA-B58C-7715B6F0EBD8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8583E403-5FDD-4D7C-B9B3-0CD49AFEBACE}" type="parTrans" cxnId="{0DE29C93-78F2-43AA-B58C-7715B6F0EBD8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4B075034-3129-4DD5-98D7-318F326739CC}">
      <dgm:prSet phldrT="[Text]"/>
      <dgm:spPr/>
      <dgm:t>
        <a:bodyPr rtlCol="0"/>
        <a:lstStyle/>
        <a:p>
          <a:pPr rtl="0">
            <a:lnSpc>
              <a:spcPct val="9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ru-RU" spc="100" dirty="0">
              <a:solidFill>
                <a:schemeClr val="tx1"/>
              </a:solidFill>
            </a:rPr>
            <a:t>Интегрированные </a:t>
          </a:r>
          <a:r>
            <a:rPr lang="ru-RU" spc="100" dirty="0" err="1">
              <a:solidFill>
                <a:schemeClr val="tx1"/>
              </a:solidFill>
            </a:rPr>
            <a:t>суперсервисы</a:t>
          </a:r>
          <a:r>
            <a:rPr lang="ru-RU" spc="100" dirty="0">
              <a:solidFill>
                <a:schemeClr val="tx1"/>
              </a:solidFill>
            </a:rPr>
            <a:t> –</a:t>
          </a:r>
          <a:r>
            <a:rPr lang="ru-RU" b="1" spc="100" dirty="0">
              <a:solidFill>
                <a:schemeClr val="tx1"/>
              </a:solidFill>
            </a:rPr>
            <a:t>перспектива развития</a:t>
          </a:r>
        </a:p>
      </dgm:t>
    </dgm:pt>
    <dgm:pt modelId="{4F1D94B4-1627-4363-B86E-DD3281EE398D}" type="sibTrans" cxnId="{3FFF5DC7-0983-4794-B4CB-F1F2D9CE51EC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ACA0AE6F-8D87-4F61-8D3E-12FC4D4132DA}" type="parTrans" cxnId="{3FFF5DC7-0983-4794-B4CB-F1F2D9CE51EC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B296910E-5EDD-40B6-9F5C-49436E692D0A}">
      <dgm:prSet custT="1"/>
      <dgm:spPr/>
      <dgm:t>
        <a:bodyPr rtlCol="0"/>
        <a:lstStyle/>
        <a:p>
          <a:pPr rtl="0">
            <a:buFont typeface="Arial" panose="020B0604020202020204" pitchFamily="34" charset="0"/>
            <a:buChar char="•"/>
          </a:pPr>
          <a:r>
            <a:rPr lang="ru-RU" sz="1200" spc="100" baseline="0" dirty="0">
              <a:solidFill>
                <a:schemeClr val="tx1"/>
              </a:solidFill>
            </a:rPr>
            <a:t>Цифровизация сделок.  Формирование сервисов  электронного взаимодействия бизнеса</a:t>
          </a:r>
        </a:p>
      </dgm:t>
    </dgm:pt>
    <dgm:pt modelId="{33A0507C-F24C-416A-8E94-DB84555D29CB}" type="sibTrans" cxnId="{047969A5-710C-4C0E-B61E-734F166269A0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911B340C-3486-4299-920E-5DB640C4EDC9}" type="parTrans" cxnId="{047969A5-710C-4C0E-B61E-734F166269A0}">
      <dgm:prSet/>
      <dgm:spPr/>
      <dgm:t>
        <a:bodyPr rtlCol="0"/>
        <a:lstStyle/>
        <a:p>
          <a:pPr rtl="0"/>
          <a:endParaRPr lang="ru-RU">
            <a:solidFill>
              <a:schemeClr val="tx1"/>
            </a:solidFill>
          </a:endParaRPr>
        </a:p>
      </dgm:t>
    </dgm:pt>
    <dgm:pt modelId="{6BCB9BBB-E05F-4B9B-834D-929BDD6D36E6}">
      <dgm:prSet custT="1"/>
      <dgm:spPr/>
      <dgm:t>
        <a:bodyPr/>
        <a:lstStyle/>
        <a:p>
          <a:pPr rtl="0">
            <a:buFont typeface="Arial" panose="020B0604020202020204" pitchFamily="34" charset="0"/>
            <a:buChar char="•"/>
          </a:pPr>
          <a:r>
            <a:rPr lang="ru-RU" sz="1200" spc="100" baseline="0" dirty="0">
              <a:solidFill>
                <a:schemeClr val="tx1"/>
              </a:solidFill>
            </a:rPr>
            <a:t>Сервисы налогового администрирования и их обеспечение интегрированы с методологическим и IT-обеспечением цифровой сделки в наднациональном информационно-цифровом пространстве </a:t>
          </a:r>
        </a:p>
      </dgm:t>
    </dgm:pt>
    <dgm:pt modelId="{27589240-B6DA-41ED-AD52-0311F77FDA6C}" type="parTrans" cxnId="{08ACA0BF-6284-4762-B3F5-5F510A3577D1}">
      <dgm:prSet/>
      <dgm:spPr/>
      <dgm:t>
        <a:bodyPr/>
        <a:lstStyle/>
        <a:p>
          <a:endParaRPr lang="ru-RU"/>
        </a:p>
      </dgm:t>
    </dgm:pt>
    <dgm:pt modelId="{9F45E83F-2F6F-498D-B5A7-4ACD11CEC831}" type="sibTrans" cxnId="{08ACA0BF-6284-4762-B3F5-5F510A3577D1}">
      <dgm:prSet/>
      <dgm:spPr/>
      <dgm:t>
        <a:bodyPr/>
        <a:lstStyle/>
        <a:p>
          <a:endParaRPr lang="ru-RU"/>
        </a:p>
      </dgm:t>
    </dgm:pt>
    <dgm:pt modelId="{93C358AC-5BA0-4CB6-B22F-1B95FA53D0F3}" type="pres">
      <dgm:prSet presAssocID="{44D67ED0-6EEA-48F6-A9C1-BE754AABC76A}" presName="root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9F83E70B-EE6D-407B-8E1F-FE26817B3B1D}" type="pres">
      <dgm:prSet presAssocID="{44D67ED0-6EEA-48F6-A9C1-BE754AABC76A}" presName="divider" presStyleLbl="asst0" presStyleIdx="0" presStyleCnt="1"/>
      <dgm:spPr>
        <a:solidFill>
          <a:schemeClr val="accent3"/>
        </a:solidFill>
        <a:ln>
          <a:noFill/>
        </a:ln>
      </dgm:spPr>
    </dgm:pt>
    <dgm:pt modelId="{EE6F6E1A-AC88-44BD-8034-0C2734A7943C}" type="pres">
      <dgm:prSet presAssocID="{44D67ED0-6EEA-48F6-A9C1-BE754AABC76A}" presName="nodes" presStyleCnt="0">
        <dgm:presLayoutVars>
          <dgm:chMax/>
          <dgm:chPref/>
          <dgm:animLvl val="lvl"/>
        </dgm:presLayoutVars>
      </dgm:prSet>
      <dgm:spPr/>
    </dgm:pt>
    <dgm:pt modelId="{27CC3FEA-4989-4FE6-A03A-48D0F90DB146}" type="pres">
      <dgm:prSet presAssocID="{AE62509E-8FD5-4BC0-8484-49407DA07B2D}" presName="composite" presStyleCnt="0"/>
      <dgm:spPr/>
    </dgm:pt>
    <dgm:pt modelId="{B3AC6DBE-85B6-4AF3-BADF-7E1E82B735CC}" type="pres">
      <dgm:prSet presAssocID="{AE62509E-8FD5-4BC0-8484-49407DA07B2D}" presName="ConnectorPoint" presStyleLbl="fgAcc1" presStyleIdx="0" presStyleCnt="5"/>
      <dgm:spPr>
        <a:ln>
          <a:noFill/>
        </a:ln>
      </dgm:spPr>
    </dgm:pt>
    <dgm:pt modelId="{EAA550E8-D286-40B4-9B20-40DE0FCA02CE}" type="pres">
      <dgm:prSet presAssocID="{AE62509E-8FD5-4BC0-8484-49407DA07B2D}" presName="ConnectLine" presStyleLbl="alignNode1" presStyleIdx="0" presStyleCnt="5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13B6FF8E-261C-4941-9C10-4D13C6F1D5E7}" type="pres">
      <dgm:prSet presAssocID="{AE62509E-8FD5-4BC0-8484-49407DA07B2D}" presName="FlexibleEmptyPlaceHolder" presStyleCnt="0"/>
      <dgm:spPr/>
    </dgm:pt>
    <dgm:pt modelId="{408DCC00-CC60-4F76-9C61-F00E7DBFC778}" type="pres">
      <dgm:prSet presAssocID="{AE62509E-8FD5-4BC0-8484-49407DA07B2D}" presName="L2TextContainer" presStyleLbl="bgAcc1" presStyleIdx="0" presStyleCnt="5" custScaleX="98025" custLinFactNeighborX="-716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96A5F5-16B2-4AEA-9591-B66C220F4A65}" type="pres">
      <dgm:prSet presAssocID="{AE62509E-8FD5-4BC0-8484-49407DA07B2D}" presName="L1TextContainer" presStyleLbl="revTx" presStyleIdx="0" presStyleCnt="5" custLinFactNeighborX="-807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931EBF-FF0E-4476-B965-7C4CFFC57D5D}" type="pres">
      <dgm:prSet presAssocID="{AE62509E-8FD5-4BC0-8484-49407DA07B2D}" presName="EmptyPlaceHolder" presStyleCnt="0"/>
      <dgm:spPr/>
    </dgm:pt>
    <dgm:pt modelId="{E3B24336-549D-49F0-9359-D66050EB5874}" type="pres">
      <dgm:prSet presAssocID="{5C2CB4AF-F88D-4FBE-A40E-0CC048A23B9E}" presName="spaceBetweenRectangles" presStyleCnt="0"/>
      <dgm:spPr/>
    </dgm:pt>
    <dgm:pt modelId="{8BD40F87-7EF8-4BE4-972F-FA3FE5A18736}" type="pres">
      <dgm:prSet presAssocID="{20928AAA-F457-4A09-8AAC-A82210983FBE}" presName="composite" presStyleCnt="0"/>
      <dgm:spPr/>
    </dgm:pt>
    <dgm:pt modelId="{F34C40A7-6131-4EF1-9887-E7EEA86D1562}" type="pres">
      <dgm:prSet presAssocID="{20928AAA-F457-4A09-8AAC-A82210983FBE}" presName="ConnectorPoint" presStyleLbl="fgAcc1" presStyleIdx="1" presStyleCnt="5"/>
      <dgm:spPr>
        <a:ln>
          <a:noFill/>
        </a:ln>
      </dgm:spPr>
    </dgm:pt>
    <dgm:pt modelId="{14186A17-7B9F-4674-AD57-FF0C87A3CB32}" type="pres">
      <dgm:prSet presAssocID="{20928AAA-F457-4A09-8AAC-A82210983FBE}" presName="ConnectLine" presStyleLbl="alignNode1" presStyleIdx="1" presStyleCnt="5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75F3CEC-6BAC-4EFC-B44F-278583CEC78C}" type="pres">
      <dgm:prSet presAssocID="{20928AAA-F457-4A09-8AAC-A82210983FBE}" presName="FlexibleEmptyPlaceHolder" presStyleCnt="0"/>
      <dgm:spPr/>
    </dgm:pt>
    <dgm:pt modelId="{3A73CBFE-397D-467A-A65B-E19FAB2953BB}" type="pres">
      <dgm:prSet presAssocID="{20928AAA-F457-4A09-8AAC-A82210983FBE}" presName="L2TextContainer" presStyleLbl="bgAcc1" presStyleIdx="1" presStyleCnt="5" custScaleX="115074" custLinFactNeighborX="-1330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0471FC-8FAF-49B2-8F42-63D391F759BE}" type="pres">
      <dgm:prSet presAssocID="{20928AAA-F457-4A09-8AAC-A82210983FBE}" presName="L1TextContainer" presStyleLbl="revTx" presStyleIdx="1" presStyleCnt="5" custLinFactNeighborX="-14631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5B7BEAE-1C65-4A3E-9D69-CA6F92F97FF3}" type="pres">
      <dgm:prSet presAssocID="{20928AAA-F457-4A09-8AAC-A82210983FBE}" presName="EmptyPlaceHolder" presStyleCnt="0"/>
      <dgm:spPr/>
    </dgm:pt>
    <dgm:pt modelId="{1BC83304-6330-4FF6-994A-D02AC933FCB6}" type="pres">
      <dgm:prSet presAssocID="{EB5D5454-A5E9-4E37-B514-DFC5324A66C0}" presName="spaceBetweenRectangles" presStyleCnt="0"/>
      <dgm:spPr/>
    </dgm:pt>
    <dgm:pt modelId="{8D6C0F72-35C7-4FDF-BDAC-4FF565A33A17}" type="pres">
      <dgm:prSet presAssocID="{03738E35-4243-4E7D-A93F-C07DA3901E78}" presName="composite" presStyleCnt="0"/>
      <dgm:spPr/>
    </dgm:pt>
    <dgm:pt modelId="{79B0CEDC-0005-4ACE-AB25-DB9533DC85C2}" type="pres">
      <dgm:prSet presAssocID="{03738E35-4243-4E7D-A93F-C07DA3901E78}" presName="ConnectorPoint" presStyleLbl="fgAcc1" presStyleIdx="2" presStyleCnt="5"/>
      <dgm:spPr>
        <a:ln>
          <a:noFill/>
        </a:ln>
      </dgm:spPr>
    </dgm:pt>
    <dgm:pt modelId="{F1C3FD7B-71E0-4012-B7CE-2C80433ED975}" type="pres">
      <dgm:prSet presAssocID="{03738E35-4243-4E7D-A93F-C07DA3901E78}" presName="ConnectLine" presStyleLbl="alignNode1" presStyleIdx="2" presStyleCnt="5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8D7DE9DA-72BE-42E6-8909-E3D0EB4CA475}" type="pres">
      <dgm:prSet presAssocID="{03738E35-4243-4E7D-A93F-C07DA3901E78}" presName="FlexibleEmptyPlaceHolder" presStyleCnt="0"/>
      <dgm:spPr/>
    </dgm:pt>
    <dgm:pt modelId="{2467EBEC-ACAC-4EF4-B856-39067B4D928B}" type="pres">
      <dgm:prSet presAssocID="{03738E35-4243-4E7D-A93F-C07DA3901E78}" presName="L2TextContainer" presStyleLbl="bgAcc1" presStyleIdx="2" presStyleCnt="5" custScaleX="103785" custScaleY="156387" custLinFactNeighborX="-100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605329C-2B32-4CD7-9B69-1B3DAB88562E}" type="pres">
      <dgm:prSet presAssocID="{03738E35-4243-4E7D-A93F-C07DA3901E78}" presName="L1TextContainer" presStyleLbl="revTx" presStyleIdx="2" presStyleCnt="5" custLinFactNeighborX="-1196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D18DE3-4D68-4CCA-A662-044FD68AA3B7}" type="pres">
      <dgm:prSet presAssocID="{03738E35-4243-4E7D-A93F-C07DA3901E78}" presName="EmptyPlaceHolder" presStyleCnt="0"/>
      <dgm:spPr/>
    </dgm:pt>
    <dgm:pt modelId="{77D7097C-1EDE-4274-97C6-BE5F0924C39C}" type="pres">
      <dgm:prSet presAssocID="{6BF5896A-A334-45B0-B451-09159F55B184}" presName="spaceBetweenRectangles" presStyleCnt="0"/>
      <dgm:spPr/>
    </dgm:pt>
    <dgm:pt modelId="{DA0D1A8F-1D92-476F-972C-E82839B78B96}" type="pres">
      <dgm:prSet presAssocID="{962BFD33-E216-4331-BBD8-38EEDAB2E2C0}" presName="composite" presStyleCnt="0"/>
      <dgm:spPr/>
    </dgm:pt>
    <dgm:pt modelId="{A72D3A03-5E34-4B13-9747-5EFFE003B8C1}" type="pres">
      <dgm:prSet presAssocID="{962BFD33-E216-4331-BBD8-38EEDAB2E2C0}" presName="ConnectorPoint" presStyleLbl="fgAcc1" presStyleIdx="3" presStyleCnt="5"/>
      <dgm:spPr>
        <a:ln>
          <a:noFill/>
        </a:ln>
      </dgm:spPr>
    </dgm:pt>
    <dgm:pt modelId="{EB9D58D6-E34B-4990-86E2-B1CAE3536A29}" type="pres">
      <dgm:prSet presAssocID="{962BFD33-E216-4331-BBD8-38EEDAB2E2C0}" presName="ConnectLine" presStyleLbl="alignNode1" presStyleIdx="3" presStyleCnt="5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B9FF588F-5F27-4094-9B6D-747FD10A48B7}" type="pres">
      <dgm:prSet presAssocID="{962BFD33-E216-4331-BBD8-38EEDAB2E2C0}" presName="FlexibleEmptyPlaceHolder" presStyleCnt="0"/>
      <dgm:spPr/>
    </dgm:pt>
    <dgm:pt modelId="{160E0A3B-47C8-4C2F-8C45-EC9C3DFA1FFB}" type="pres">
      <dgm:prSet presAssocID="{962BFD33-E216-4331-BBD8-38EEDAB2E2C0}" presName="L2TextContainer" presStyleLbl="bgAcc1" presStyleIdx="3" presStyleCnt="5" custScaleX="101911" custLinFactNeighborX="429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646D4EB-C7F1-4D0E-8051-C7D6C1D31ADE}" type="pres">
      <dgm:prSet presAssocID="{962BFD33-E216-4331-BBD8-38EEDAB2E2C0}" presName="L1TextContainer" presStyleLbl="revTx" presStyleIdx="3" presStyleCnt="5" custLinFactNeighborX="4657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37215CC-5D52-40FA-BAD6-30FFF9CDB26A}" type="pres">
      <dgm:prSet presAssocID="{962BFD33-E216-4331-BBD8-38EEDAB2E2C0}" presName="EmptyPlaceHolder" presStyleCnt="0"/>
      <dgm:spPr/>
    </dgm:pt>
    <dgm:pt modelId="{33552C7C-A2D4-4FB7-AD93-DCB3C798AA86}" type="pres">
      <dgm:prSet presAssocID="{FF557E39-8331-4155-901F-701688C4CCAD}" presName="spaceBetweenRectangles" presStyleCnt="0"/>
      <dgm:spPr/>
    </dgm:pt>
    <dgm:pt modelId="{E02EEA3C-5485-4B77-B7B0-7A39B10F0BB4}" type="pres">
      <dgm:prSet presAssocID="{4B075034-3129-4DD5-98D7-318F326739CC}" presName="composite" presStyleCnt="0"/>
      <dgm:spPr/>
    </dgm:pt>
    <dgm:pt modelId="{864F9172-41AB-4727-BD60-71E6F62154FB}" type="pres">
      <dgm:prSet presAssocID="{4B075034-3129-4DD5-98D7-318F326739CC}" presName="ConnectorPoint" presStyleLbl="fgAcc1" presStyleIdx="4" presStyleCnt="5"/>
      <dgm:spPr>
        <a:ln>
          <a:noFill/>
        </a:ln>
      </dgm:spPr>
    </dgm:pt>
    <dgm:pt modelId="{9DE62C25-DC37-4130-AE3D-9F589C2E8903}" type="pres">
      <dgm:prSet presAssocID="{4B075034-3129-4DD5-98D7-318F326739CC}" presName="ConnectLine" presStyleLbl="alignNode1" presStyleIdx="4" presStyleCnt="5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gm:spPr>
    </dgm:pt>
    <dgm:pt modelId="{D7C473BF-4C1D-41EC-BA7A-018501A202B0}" type="pres">
      <dgm:prSet presAssocID="{4B075034-3129-4DD5-98D7-318F326739CC}" presName="FlexibleEmptyPlaceHolder" presStyleCnt="0"/>
      <dgm:spPr/>
    </dgm:pt>
    <dgm:pt modelId="{277020A5-7024-4F77-9051-8B38AF80BE13}" type="pres">
      <dgm:prSet presAssocID="{4B075034-3129-4DD5-98D7-318F326739CC}" presName="L2TextContainer" presStyleLbl="bgAcc1" presStyleIdx="4" presStyleCnt="5" custScaleX="106863" custScaleY="104373" custLinFactNeighborX="734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CEA676-E009-456C-B86F-9C9A7D3DA364}" type="pres">
      <dgm:prSet presAssocID="{4B075034-3129-4DD5-98D7-318F326739CC}" presName="L1TextContainer" presStyleLbl="revTx" presStyleIdx="4" presStyleCnt="5" custLinFactNeighborX="743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1AF1C-630A-46D4-9EE9-7D0F99B23BBE}" type="pres">
      <dgm:prSet presAssocID="{4B075034-3129-4DD5-98D7-318F326739CC}" presName="EmptyPlaceHolder" presStyleCnt="0"/>
      <dgm:spPr/>
    </dgm:pt>
  </dgm:ptLst>
  <dgm:cxnLst>
    <dgm:cxn modelId="{6D78A77D-E8C3-44F7-BA7A-2EB94AAF655C}" type="presOf" srcId="{9C6534A9-4C27-4998-80A5-DF23882CAE25}" destId="{3A73CBFE-397D-467A-A65B-E19FAB2953BB}" srcOrd="0" destOrd="0" presId="urn:microsoft.com/office/officeart/2017/3/layout/HorizontalPathTimeline#2"/>
    <dgm:cxn modelId="{9005EF1F-0C44-4C76-B6AD-2665A722A440}" type="presOf" srcId="{4B075034-3129-4DD5-98D7-318F326739CC}" destId="{03CEA676-E009-456C-B86F-9C9A7D3DA364}" srcOrd="0" destOrd="0" presId="urn:microsoft.com/office/officeart/2017/3/layout/HorizontalPathTimeline#2"/>
    <dgm:cxn modelId="{E41AD5BE-76F3-4A9E-8059-7FC968661703}" srcId="{44D67ED0-6EEA-48F6-A9C1-BE754AABC76A}" destId="{03738E35-4243-4E7D-A93F-C07DA3901E78}" srcOrd="2" destOrd="0" parTransId="{DABBAF6C-D1C9-42E1-B928-5ACDE3D21AB0}" sibTransId="{6BF5896A-A334-45B0-B451-09159F55B184}"/>
    <dgm:cxn modelId="{B681E0E7-0B3A-4DB8-BF19-F9AE0E1C787B}" srcId="{44D67ED0-6EEA-48F6-A9C1-BE754AABC76A}" destId="{AE62509E-8FD5-4BC0-8484-49407DA07B2D}" srcOrd="0" destOrd="0" parTransId="{8F2C679D-77AF-46F9-9ACE-1E1D440B1883}" sibTransId="{5C2CB4AF-F88D-4FBE-A40E-0CC048A23B9E}"/>
    <dgm:cxn modelId="{69E0CAF8-BA7B-4071-83F2-34B7499AB9BD}" type="presOf" srcId="{962BFD33-E216-4331-BBD8-38EEDAB2E2C0}" destId="{5646D4EB-C7F1-4D0E-8051-C7D6C1D31ADE}" srcOrd="0" destOrd="0" presId="urn:microsoft.com/office/officeart/2017/3/layout/HorizontalPathTimeline#2"/>
    <dgm:cxn modelId="{E561ABF3-D381-4ACD-A1E0-00CFFAB2B8CD}" type="presOf" srcId="{1080EDDF-ADDC-4DF2-8E5F-F49A7CF611ED}" destId="{277020A5-7024-4F77-9051-8B38AF80BE13}" srcOrd="0" destOrd="0" presId="urn:microsoft.com/office/officeart/2017/3/layout/HorizontalPathTimeline#2"/>
    <dgm:cxn modelId="{07030C4E-4D62-4240-B10F-E41B801C763E}" srcId="{03738E35-4243-4E7D-A93F-C07DA3901E78}" destId="{34C8CD19-04E2-4488-965F-DC841C470D45}" srcOrd="0" destOrd="0" parTransId="{CD5F7DE2-2AD1-4CE8-AAC7-AD9C8E180CEA}" sibTransId="{7CE5955C-EC28-4D1B-9459-0C5458B1797D}"/>
    <dgm:cxn modelId="{ABC35420-2881-483F-B687-1FB2F346360F}" type="presOf" srcId="{44D67ED0-6EEA-48F6-A9C1-BE754AABC76A}" destId="{93C358AC-5BA0-4CB6-B22F-1B95FA53D0F3}" srcOrd="0" destOrd="0" presId="urn:microsoft.com/office/officeart/2017/3/layout/HorizontalPathTimeline#2"/>
    <dgm:cxn modelId="{047969A5-710C-4C0E-B61E-734F166269A0}" srcId="{962BFD33-E216-4331-BBD8-38EEDAB2E2C0}" destId="{B296910E-5EDD-40B6-9F5C-49436E692D0A}" srcOrd="0" destOrd="0" parTransId="{911B340C-3486-4299-920E-5DB640C4EDC9}" sibTransId="{33A0507C-F24C-416A-8E94-DB84555D29CB}"/>
    <dgm:cxn modelId="{BA476174-221B-4A3D-B4E2-5FCC084B59D3}" srcId="{44D67ED0-6EEA-48F6-A9C1-BE754AABC76A}" destId="{20928AAA-F457-4A09-8AAC-A82210983FBE}" srcOrd="1" destOrd="0" parTransId="{915085CE-2C78-4B64-8FF4-E48DB7BD55D2}" sibTransId="{EB5D5454-A5E9-4E37-B514-DFC5324A66C0}"/>
    <dgm:cxn modelId="{3FFF5DC7-0983-4794-B4CB-F1F2D9CE51EC}" srcId="{44D67ED0-6EEA-48F6-A9C1-BE754AABC76A}" destId="{4B075034-3129-4DD5-98D7-318F326739CC}" srcOrd="4" destOrd="0" parTransId="{ACA0AE6F-8D87-4F61-8D3E-12FC4D4132DA}" sibTransId="{4F1D94B4-1627-4363-B86E-DD3281EE398D}"/>
    <dgm:cxn modelId="{08ACA0BF-6284-4762-B3F5-5F510A3577D1}" srcId="{4B075034-3129-4DD5-98D7-318F326739CC}" destId="{6BCB9BBB-E05F-4B9B-834D-929BDD6D36E6}" srcOrd="1" destOrd="0" parTransId="{27589240-B6DA-41ED-AD52-0311F77FDA6C}" sibTransId="{9F45E83F-2F6F-498D-B5A7-4ACD11CEC831}"/>
    <dgm:cxn modelId="{4746DDBA-39D9-4779-AA84-9E67056DD78D}" type="presOf" srcId="{20928AAA-F457-4A09-8AAC-A82210983FBE}" destId="{730471FC-8FAF-49B2-8F42-63D391F759BE}" srcOrd="0" destOrd="0" presId="urn:microsoft.com/office/officeart/2017/3/layout/HorizontalPathTimeline#2"/>
    <dgm:cxn modelId="{1A1A5602-9CFD-454D-B81F-1F25DEBDBB35}" type="presOf" srcId="{34C8CD19-04E2-4488-965F-DC841C470D45}" destId="{2467EBEC-ACAC-4EF4-B856-39067B4D928B}" srcOrd="0" destOrd="0" presId="urn:microsoft.com/office/officeart/2017/3/layout/HorizontalPathTimeline#2"/>
    <dgm:cxn modelId="{A48A7ACB-725B-40E0-9300-DE9CD4B48CEA}" type="presOf" srcId="{B296910E-5EDD-40B6-9F5C-49436E692D0A}" destId="{160E0A3B-47C8-4C2F-8C45-EC9C3DFA1FFB}" srcOrd="0" destOrd="0" presId="urn:microsoft.com/office/officeart/2017/3/layout/HorizontalPathTimeline#2"/>
    <dgm:cxn modelId="{0D49E980-DE7B-46C8-A240-0AF3E38E1055}" srcId="{AE62509E-8FD5-4BC0-8484-49407DA07B2D}" destId="{54A260F9-80FA-4E2A-BE87-2C0670B83857}" srcOrd="0" destOrd="0" parTransId="{3E4E3177-8F1B-40ED-B20A-6A6F0041E180}" sibTransId="{BA9E60E0-CF2E-4096-A9F4-556713DB9AE4}"/>
    <dgm:cxn modelId="{0DE29C93-78F2-43AA-B58C-7715B6F0EBD8}" srcId="{4B075034-3129-4DD5-98D7-318F326739CC}" destId="{1080EDDF-ADDC-4DF2-8E5F-F49A7CF611ED}" srcOrd="0" destOrd="0" parTransId="{8583E403-5FDD-4D7C-B9B3-0CD49AFEBACE}" sibTransId="{4C9E55B0-B04E-4552-BC60-A9DA24745302}"/>
    <dgm:cxn modelId="{FB22A1C5-F573-4FC4-BF5E-BFBDF858D131}" type="presOf" srcId="{AE62509E-8FD5-4BC0-8484-49407DA07B2D}" destId="{5C96A5F5-16B2-4AEA-9591-B66C220F4A65}" srcOrd="0" destOrd="0" presId="urn:microsoft.com/office/officeart/2017/3/layout/HorizontalPathTimeline#2"/>
    <dgm:cxn modelId="{7CA74CAF-F1C1-4F46-93BD-A1C7CC7C873C}" type="presOf" srcId="{6BCB9BBB-E05F-4B9B-834D-929BDD6D36E6}" destId="{277020A5-7024-4F77-9051-8B38AF80BE13}" srcOrd="0" destOrd="1" presId="urn:microsoft.com/office/officeart/2017/3/layout/HorizontalPathTimeline#2"/>
    <dgm:cxn modelId="{F02F5BC1-ADCB-49B8-8B9B-A880FE3F3007}" type="presOf" srcId="{03738E35-4243-4E7D-A93F-C07DA3901E78}" destId="{7605329C-2B32-4CD7-9B69-1B3DAB88562E}" srcOrd="0" destOrd="0" presId="urn:microsoft.com/office/officeart/2017/3/layout/HorizontalPathTimeline#2"/>
    <dgm:cxn modelId="{82290D4D-2346-4E6C-B254-B9EAA4D01A23}" srcId="{20928AAA-F457-4A09-8AAC-A82210983FBE}" destId="{9C6534A9-4C27-4998-80A5-DF23882CAE25}" srcOrd="0" destOrd="0" parTransId="{0AA7231B-9394-4732-A7BE-3EB3CF2F8D70}" sibTransId="{83B69D46-737C-4589-B359-6BD9DD58BC91}"/>
    <dgm:cxn modelId="{D77C3B5C-C13D-41B7-AA50-BE60CD5D3FAD}" srcId="{44D67ED0-6EEA-48F6-A9C1-BE754AABC76A}" destId="{962BFD33-E216-4331-BBD8-38EEDAB2E2C0}" srcOrd="3" destOrd="0" parTransId="{AB5F98BE-C987-462F-85E3-90E8BE69A319}" sibTransId="{FF557E39-8331-4155-901F-701688C4CCAD}"/>
    <dgm:cxn modelId="{8E29C2C0-0274-4EA3-9FF2-BC466EA71A55}" type="presOf" srcId="{54A260F9-80FA-4E2A-BE87-2C0670B83857}" destId="{408DCC00-CC60-4F76-9C61-F00E7DBFC778}" srcOrd="0" destOrd="0" presId="urn:microsoft.com/office/officeart/2017/3/layout/HorizontalPathTimeline#2"/>
    <dgm:cxn modelId="{149B274D-97B1-4D7D-8606-A060E69D9396}" type="presParOf" srcId="{93C358AC-5BA0-4CB6-B22F-1B95FA53D0F3}" destId="{9F83E70B-EE6D-407B-8E1F-FE26817B3B1D}" srcOrd="0" destOrd="0" presId="urn:microsoft.com/office/officeart/2017/3/layout/HorizontalPathTimeline#2"/>
    <dgm:cxn modelId="{9C64AB4C-6C50-4B98-94C3-1FB3A10037C8}" type="presParOf" srcId="{93C358AC-5BA0-4CB6-B22F-1B95FA53D0F3}" destId="{EE6F6E1A-AC88-44BD-8034-0C2734A7943C}" srcOrd="1" destOrd="0" presId="urn:microsoft.com/office/officeart/2017/3/layout/HorizontalPathTimeline#2"/>
    <dgm:cxn modelId="{1FD49278-35FB-4A87-8037-150A03088969}" type="presParOf" srcId="{EE6F6E1A-AC88-44BD-8034-0C2734A7943C}" destId="{27CC3FEA-4989-4FE6-A03A-48D0F90DB146}" srcOrd="0" destOrd="0" presId="urn:microsoft.com/office/officeart/2017/3/layout/HorizontalPathTimeline#2"/>
    <dgm:cxn modelId="{0FDCEE2C-9049-4A7D-A4AD-A3FAB2668504}" type="presParOf" srcId="{27CC3FEA-4989-4FE6-A03A-48D0F90DB146}" destId="{B3AC6DBE-85B6-4AF3-BADF-7E1E82B735CC}" srcOrd="0" destOrd="0" presId="urn:microsoft.com/office/officeart/2017/3/layout/HorizontalPathTimeline#2"/>
    <dgm:cxn modelId="{BD07AC6A-3A2F-47FE-9350-7DA4A29DB905}" type="presParOf" srcId="{27CC3FEA-4989-4FE6-A03A-48D0F90DB146}" destId="{EAA550E8-D286-40B4-9B20-40DE0FCA02CE}" srcOrd="1" destOrd="0" presId="urn:microsoft.com/office/officeart/2017/3/layout/HorizontalPathTimeline#2"/>
    <dgm:cxn modelId="{4EF19140-CE0B-4443-9D3C-912EE4A13BBB}" type="presParOf" srcId="{27CC3FEA-4989-4FE6-A03A-48D0F90DB146}" destId="{13B6FF8E-261C-4941-9C10-4D13C6F1D5E7}" srcOrd="2" destOrd="0" presId="urn:microsoft.com/office/officeart/2017/3/layout/HorizontalPathTimeline#2"/>
    <dgm:cxn modelId="{BF1AB424-047D-439E-A52A-C93F108309A7}" type="presParOf" srcId="{27CC3FEA-4989-4FE6-A03A-48D0F90DB146}" destId="{408DCC00-CC60-4F76-9C61-F00E7DBFC778}" srcOrd="3" destOrd="0" presId="urn:microsoft.com/office/officeart/2017/3/layout/HorizontalPathTimeline#2"/>
    <dgm:cxn modelId="{27C26064-6724-421D-AD07-4F8CD8E80135}" type="presParOf" srcId="{27CC3FEA-4989-4FE6-A03A-48D0F90DB146}" destId="{5C96A5F5-16B2-4AEA-9591-B66C220F4A65}" srcOrd="4" destOrd="0" presId="urn:microsoft.com/office/officeart/2017/3/layout/HorizontalPathTimeline#2"/>
    <dgm:cxn modelId="{292F4599-0304-4E05-BAB2-EE49D095460E}" type="presParOf" srcId="{27CC3FEA-4989-4FE6-A03A-48D0F90DB146}" destId="{22931EBF-FF0E-4476-B965-7C4CFFC57D5D}" srcOrd="5" destOrd="0" presId="urn:microsoft.com/office/officeart/2017/3/layout/HorizontalPathTimeline#2"/>
    <dgm:cxn modelId="{8392B015-2B04-43E7-9510-B7789EEB7846}" type="presParOf" srcId="{EE6F6E1A-AC88-44BD-8034-0C2734A7943C}" destId="{E3B24336-549D-49F0-9359-D66050EB5874}" srcOrd="1" destOrd="0" presId="urn:microsoft.com/office/officeart/2017/3/layout/HorizontalPathTimeline#2"/>
    <dgm:cxn modelId="{B4F8EBC0-FB8F-4814-B17C-8A8160450CE9}" type="presParOf" srcId="{EE6F6E1A-AC88-44BD-8034-0C2734A7943C}" destId="{8BD40F87-7EF8-4BE4-972F-FA3FE5A18736}" srcOrd="2" destOrd="0" presId="urn:microsoft.com/office/officeart/2017/3/layout/HorizontalPathTimeline#2"/>
    <dgm:cxn modelId="{BDBA57D5-9585-44EE-8137-B662DD0CCB3D}" type="presParOf" srcId="{8BD40F87-7EF8-4BE4-972F-FA3FE5A18736}" destId="{F34C40A7-6131-4EF1-9887-E7EEA86D1562}" srcOrd="0" destOrd="0" presId="urn:microsoft.com/office/officeart/2017/3/layout/HorizontalPathTimeline#2"/>
    <dgm:cxn modelId="{A58D608F-ECC9-4F53-924C-CA1FA9876CB6}" type="presParOf" srcId="{8BD40F87-7EF8-4BE4-972F-FA3FE5A18736}" destId="{14186A17-7B9F-4674-AD57-FF0C87A3CB32}" srcOrd="1" destOrd="0" presId="urn:microsoft.com/office/officeart/2017/3/layout/HorizontalPathTimeline#2"/>
    <dgm:cxn modelId="{35DB642F-8986-4C8A-8727-43F26FC8D8C5}" type="presParOf" srcId="{8BD40F87-7EF8-4BE4-972F-FA3FE5A18736}" destId="{975F3CEC-6BAC-4EFC-B44F-278583CEC78C}" srcOrd="2" destOrd="0" presId="urn:microsoft.com/office/officeart/2017/3/layout/HorizontalPathTimeline#2"/>
    <dgm:cxn modelId="{5F763E16-0EC2-45FD-9E65-98D18623BFAC}" type="presParOf" srcId="{8BD40F87-7EF8-4BE4-972F-FA3FE5A18736}" destId="{3A73CBFE-397D-467A-A65B-E19FAB2953BB}" srcOrd="3" destOrd="0" presId="urn:microsoft.com/office/officeart/2017/3/layout/HorizontalPathTimeline#2"/>
    <dgm:cxn modelId="{756051C9-E47D-483A-A215-FDD1F893B06F}" type="presParOf" srcId="{8BD40F87-7EF8-4BE4-972F-FA3FE5A18736}" destId="{730471FC-8FAF-49B2-8F42-63D391F759BE}" srcOrd="4" destOrd="0" presId="urn:microsoft.com/office/officeart/2017/3/layout/HorizontalPathTimeline#2"/>
    <dgm:cxn modelId="{5BE04A7E-2CB3-4EBF-92EC-859AF2F0516B}" type="presParOf" srcId="{8BD40F87-7EF8-4BE4-972F-FA3FE5A18736}" destId="{E5B7BEAE-1C65-4A3E-9D69-CA6F92F97FF3}" srcOrd="5" destOrd="0" presId="urn:microsoft.com/office/officeart/2017/3/layout/HorizontalPathTimeline#2"/>
    <dgm:cxn modelId="{DA44D99E-95F4-455B-924A-281175A3046A}" type="presParOf" srcId="{EE6F6E1A-AC88-44BD-8034-0C2734A7943C}" destId="{1BC83304-6330-4FF6-994A-D02AC933FCB6}" srcOrd="3" destOrd="0" presId="urn:microsoft.com/office/officeart/2017/3/layout/HorizontalPathTimeline#2"/>
    <dgm:cxn modelId="{DDACE856-1745-4149-B5B3-4C4B7FF09D1D}" type="presParOf" srcId="{EE6F6E1A-AC88-44BD-8034-0C2734A7943C}" destId="{8D6C0F72-35C7-4FDF-BDAC-4FF565A33A17}" srcOrd="4" destOrd="0" presId="urn:microsoft.com/office/officeart/2017/3/layout/HorizontalPathTimeline#2"/>
    <dgm:cxn modelId="{A02D9B70-41D7-496D-956C-A57245DB7C97}" type="presParOf" srcId="{8D6C0F72-35C7-4FDF-BDAC-4FF565A33A17}" destId="{79B0CEDC-0005-4ACE-AB25-DB9533DC85C2}" srcOrd="0" destOrd="0" presId="urn:microsoft.com/office/officeart/2017/3/layout/HorizontalPathTimeline#2"/>
    <dgm:cxn modelId="{A40BF6BD-D76C-49F7-AFD2-3BBED3A0034D}" type="presParOf" srcId="{8D6C0F72-35C7-4FDF-BDAC-4FF565A33A17}" destId="{F1C3FD7B-71E0-4012-B7CE-2C80433ED975}" srcOrd="1" destOrd="0" presId="urn:microsoft.com/office/officeart/2017/3/layout/HorizontalPathTimeline#2"/>
    <dgm:cxn modelId="{FD0F136A-2C48-4E26-B042-74A913D58944}" type="presParOf" srcId="{8D6C0F72-35C7-4FDF-BDAC-4FF565A33A17}" destId="{8D7DE9DA-72BE-42E6-8909-E3D0EB4CA475}" srcOrd="2" destOrd="0" presId="urn:microsoft.com/office/officeart/2017/3/layout/HorizontalPathTimeline#2"/>
    <dgm:cxn modelId="{C87FB66A-D457-4ABE-9A01-18B0288F7603}" type="presParOf" srcId="{8D6C0F72-35C7-4FDF-BDAC-4FF565A33A17}" destId="{2467EBEC-ACAC-4EF4-B856-39067B4D928B}" srcOrd="3" destOrd="0" presId="urn:microsoft.com/office/officeart/2017/3/layout/HorizontalPathTimeline#2"/>
    <dgm:cxn modelId="{FC2E878F-005A-4C2D-BDCB-A15D56AFD437}" type="presParOf" srcId="{8D6C0F72-35C7-4FDF-BDAC-4FF565A33A17}" destId="{7605329C-2B32-4CD7-9B69-1B3DAB88562E}" srcOrd="4" destOrd="0" presId="urn:microsoft.com/office/officeart/2017/3/layout/HorizontalPathTimeline#2"/>
    <dgm:cxn modelId="{91A72D46-162A-44DF-8333-8CF3D7F18806}" type="presParOf" srcId="{8D6C0F72-35C7-4FDF-BDAC-4FF565A33A17}" destId="{E4D18DE3-4D68-4CCA-A662-044FD68AA3B7}" srcOrd="5" destOrd="0" presId="urn:microsoft.com/office/officeart/2017/3/layout/HorizontalPathTimeline#2"/>
    <dgm:cxn modelId="{195E9820-BD28-4383-BB8B-3801C236D4B5}" type="presParOf" srcId="{EE6F6E1A-AC88-44BD-8034-0C2734A7943C}" destId="{77D7097C-1EDE-4274-97C6-BE5F0924C39C}" srcOrd="5" destOrd="0" presId="urn:microsoft.com/office/officeart/2017/3/layout/HorizontalPathTimeline#2"/>
    <dgm:cxn modelId="{29CBD66A-1B9E-4227-A0A6-0A74303F6865}" type="presParOf" srcId="{EE6F6E1A-AC88-44BD-8034-0C2734A7943C}" destId="{DA0D1A8F-1D92-476F-972C-E82839B78B96}" srcOrd="6" destOrd="0" presId="urn:microsoft.com/office/officeart/2017/3/layout/HorizontalPathTimeline#2"/>
    <dgm:cxn modelId="{A350293D-0963-4BB3-858D-81760720AD56}" type="presParOf" srcId="{DA0D1A8F-1D92-476F-972C-E82839B78B96}" destId="{A72D3A03-5E34-4B13-9747-5EFFE003B8C1}" srcOrd="0" destOrd="0" presId="urn:microsoft.com/office/officeart/2017/3/layout/HorizontalPathTimeline#2"/>
    <dgm:cxn modelId="{AD06762D-21EE-4261-AD3E-60C1BFF2A574}" type="presParOf" srcId="{DA0D1A8F-1D92-476F-972C-E82839B78B96}" destId="{EB9D58D6-E34B-4990-86E2-B1CAE3536A29}" srcOrd="1" destOrd="0" presId="urn:microsoft.com/office/officeart/2017/3/layout/HorizontalPathTimeline#2"/>
    <dgm:cxn modelId="{BD022CFF-7A00-46AD-B49E-4FA70BAD24AF}" type="presParOf" srcId="{DA0D1A8F-1D92-476F-972C-E82839B78B96}" destId="{B9FF588F-5F27-4094-9B6D-747FD10A48B7}" srcOrd="2" destOrd="0" presId="urn:microsoft.com/office/officeart/2017/3/layout/HorizontalPathTimeline#2"/>
    <dgm:cxn modelId="{374BA1B3-3DEE-43EA-8E3F-977385263DC1}" type="presParOf" srcId="{DA0D1A8F-1D92-476F-972C-E82839B78B96}" destId="{160E0A3B-47C8-4C2F-8C45-EC9C3DFA1FFB}" srcOrd="3" destOrd="0" presId="urn:microsoft.com/office/officeart/2017/3/layout/HorizontalPathTimeline#2"/>
    <dgm:cxn modelId="{939964A6-04CF-4914-B621-59A261345117}" type="presParOf" srcId="{DA0D1A8F-1D92-476F-972C-E82839B78B96}" destId="{5646D4EB-C7F1-4D0E-8051-C7D6C1D31ADE}" srcOrd="4" destOrd="0" presId="urn:microsoft.com/office/officeart/2017/3/layout/HorizontalPathTimeline#2"/>
    <dgm:cxn modelId="{15513A16-9781-40EE-8F14-298BAFFAC844}" type="presParOf" srcId="{DA0D1A8F-1D92-476F-972C-E82839B78B96}" destId="{937215CC-5D52-40FA-BAD6-30FFF9CDB26A}" srcOrd="5" destOrd="0" presId="urn:microsoft.com/office/officeart/2017/3/layout/HorizontalPathTimeline#2"/>
    <dgm:cxn modelId="{63CC12B3-2BEC-4C22-AA69-B71529AA12A0}" type="presParOf" srcId="{EE6F6E1A-AC88-44BD-8034-0C2734A7943C}" destId="{33552C7C-A2D4-4FB7-AD93-DCB3C798AA86}" srcOrd="7" destOrd="0" presId="urn:microsoft.com/office/officeart/2017/3/layout/HorizontalPathTimeline#2"/>
    <dgm:cxn modelId="{BC239F0C-73B2-46F5-8CD5-C0E05EE657B1}" type="presParOf" srcId="{EE6F6E1A-AC88-44BD-8034-0C2734A7943C}" destId="{E02EEA3C-5485-4B77-B7B0-7A39B10F0BB4}" srcOrd="8" destOrd="0" presId="urn:microsoft.com/office/officeart/2017/3/layout/HorizontalPathTimeline#2"/>
    <dgm:cxn modelId="{E97A20AD-2C06-4101-A62B-1654DCD99024}" type="presParOf" srcId="{E02EEA3C-5485-4B77-B7B0-7A39B10F0BB4}" destId="{864F9172-41AB-4727-BD60-71E6F62154FB}" srcOrd="0" destOrd="0" presId="urn:microsoft.com/office/officeart/2017/3/layout/HorizontalPathTimeline#2"/>
    <dgm:cxn modelId="{CECCA3E3-40D1-4D70-A156-21D51D151C9D}" type="presParOf" srcId="{E02EEA3C-5485-4B77-B7B0-7A39B10F0BB4}" destId="{9DE62C25-DC37-4130-AE3D-9F589C2E8903}" srcOrd="1" destOrd="0" presId="urn:microsoft.com/office/officeart/2017/3/layout/HorizontalPathTimeline#2"/>
    <dgm:cxn modelId="{551F1B8E-C761-4A0D-BD20-1ADC2F8E7D4F}" type="presParOf" srcId="{E02EEA3C-5485-4B77-B7B0-7A39B10F0BB4}" destId="{D7C473BF-4C1D-41EC-BA7A-018501A202B0}" srcOrd="2" destOrd="0" presId="urn:microsoft.com/office/officeart/2017/3/layout/HorizontalPathTimeline#2"/>
    <dgm:cxn modelId="{B9F151E5-365B-4B4B-8365-7636CB8EE0DE}" type="presParOf" srcId="{E02EEA3C-5485-4B77-B7B0-7A39B10F0BB4}" destId="{277020A5-7024-4F77-9051-8B38AF80BE13}" srcOrd="3" destOrd="0" presId="urn:microsoft.com/office/officeart/2017/3/layout/HorizontalPathTimeline#2"/>
    <dgm:cxn modelId="{AD8E32F4-AD88-42BA-A1B7-B83C695C09E4}" type="presParOf" srcId="{E02EEA3C-5485-4B77-B7B0-7A39B10F0BB4}" destId="{03CEA676-E009-456C-B86F-9C9A7D3DA364}" srcOrd="4" destOrd="0" presId="urn:microsoft.com/office/officeart/2017/3/layout/HorizontalPathTimeline#2"/>
    <dgm:cxn modelId="{A5187015-38E2-4D85-A481-DFB73A5E1632}" type="presParOf" srcId="{E02EEA3C-5485-4B77-B7B0-7A39B10F0BB4}" destId="{0FF1AF1C-630A-46D4-9EE9-7D0F99B23BBE}" srcOrd="5" destOrd="0" presId="urn:microsoft.com/office/officeart/2017/3/layout/HorizontalPathTimeline#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919705A-4E5D-4862-9C58-B1FCE4C487C3}" type="doc">
      <dgm:prSet loTypeId="urn:microsoft.com/office/officeart/2005/8/layout/cycle4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B4F2ABB-8364-43FF-8707-F9C4E8BA9998}">
      <dgm:prSet phldrT="[Текст]" custT="1"/>
      <dgm:spPr/>
      <dgm:t>
        <a:bodyPr/>
        <a:lstStyle/>
        <a:p>
          <a:r>
            <a:rPr lang="ru-RU" sz="1800"/>
            <a:t>Налогопла-тельщики</a:t>
          </a:r>
          <a:endParaRPr lang="ru-RU" sz="1800" dirty="0"/>
        </a:p>
      </dgm:t>
    </dgm:pt>
    <dgm:pt modelId="{7226D54B-CA64-4D41-833F-D768D7F06ABD}" type="parTrans" cxnId="{7A2F7013-2DBD-4654-A0C7-7B52C64619D3}">
      <dgm:prSet/>
      <dgm:spPr/>
      <dgm:t>
        <a:bodyPr/>
        <a:lstStyle/>
        <a:p>
          <a:endParaRPr lang="ru-RU"/>
        </a:p>
      </dgm:t>
    </dgm:pt>
    <dgm:pt modelId="{9F741EF6-CEA4-4597-9B19-661F9FA6EEE9}" type="sibTrans" cxnId="{7A2F7013-2DBD-4654-A0C7-7B52C64619D3}">
      <dgm:prSet/>
      <dgm:spPr/>
      <dgm:t>
        <a:bodyPr/>
        <a:lstStyle/>
        <a:p>
          <a:endParaRPr lang="ru-RU"/>
        </a:p>
      </dgm:t>
    </dgm:pt>
    <dgm:pt modelId="{B8DEE8C0-339E-4DE9-9407-590E5535A139}">
      <dgm:prSet phldrT="[Текст]" custT="1"/>
      <dgm:spPr/>
      <dgm:t>
        <a:bodyPr/>
        <a:lstStyle/>
        <a:p>
          <a:r>
            <a:rPr lang="ru-RU" sz="1200" dirty="0"/>
            <a:t>Развитие экономической культуры</a:t>
          </a:r>
        </a:p>
      </dgm:t>
    </dgm:pt>
    <dgm:pt modelId="{48B1AAE1-62DF-42CD-9B47-1AC1CF2C3AB3}" type="parTrans" cxnId="{74932F78-C613-4F81-B7EC-123662DC334F}">
      <dgm:prSet/>
      <dgm:spPr/>
      <dgm:t>
        <a:bodyPr/>
        <a:lstStyle/>
        <a:p>
          <a:endParaRPr lang="ru-RU"/>
        </a:p>
      </dgm:t>
    </dgm:pt>
    <dgm:pt modelId="{4CFE85F0-11BA-42F6-B4CE-37170CB95612}" type="sibTrans" cxnId="{74932F78-C613-4F81-B7EC-123662DC334F}">
      <dgm:prSet/>
      <dgm:spPr/>
      <dgm:t>
        <a:bodyPr/>
        <a:lstStyle/>
        <a:p>
          <a:endParaRPr lang="ru-RU"/>
        </a:p>
      </dgm:t>
    </dgm:pt>
    <dgm:pt modelId="{94ECCE1A-D356-468D-8055-2EE51515FC45}">
      <dgm:prSet phldrT="[Текст]" custT="1"/>
      <dgm:spPr/>
      <dgm:t>
        <a:bodyPr/>
        <a:lstStyle/>
        <a:p>
          <a:r>
            <a:rPr lang="ru-RU" sz="1800" dirty="0"/>
            <a:t>инвесторы</a:t>
          </a:r>
        </a:p>
      </dgm:t>
    </dgm:pt>
    <dgm:pt modelId="{82BFD487-FA18-4EC4-953F-DEB7AFDA1699}" type="parTrans" cxnId="{53F273F0-9104-49AB-B6BF-48F7E2B14EE9}">
      <dgm:prSet/>
      <dgm:spPr/>
      <dgm:t>
        <a:bodyPr/>
        <a:lstStyle/>
        <a:p>
          <a:endParaRPr lang="ru-RU"/>
        </a:p>
      </dgm:t>
    </dgm:pt>
    <dgm:pt modelId="{F32A5A35-14E1-4025-A4BB-9F6FCFECF416}" type="sibTrans" cxnId="{53F273F0-9104-49AB-B6BF-48F7E2B14EE9}">
      <dgm:prSet/>
      <dgm:spPr/>
      <dgm:t>
        <a:bodyPr/>
        <a:lstStyle/>
        <a:p>
          <a:endParaRPr lang="ru-RU"/>
        </a:p>
      </dgm:t>
    </dgm:pt>
    <dgm:pt modelId="{4D36F48C-A8A8-444D-B95F-8186B469B19E}">
      <dgm:prSet phldrT="[Текст]" custT="1"/>
      <dgm:spPr/>
      <dgm:t>
        <a:bodyPr/>
        <a:lstStyle/>
        <a:p>
          <a:r>
            <a:rPr lang="ru-RU" sz="1200" dirty="0"/>
            <a:t>Эффективное распределение капитала  и коммуникации</a:t>
          </a:r>
        </a:p>
      </dgm:t>
    </dgm:pt>
    <dgm:pt modelId="{286FD8D2-AD28-4202-A4C7-B708A22AB343}" type="parTrans" cxnId="{0CC1B7DD-AAAF-4A3C-BAA5-FD90D3E2D065}">
      <dgm:prSet/>
      <dgm:spPr/>
      <dgm:t>
        <a:bodyPr/>
        <a:lstStyle/>
        <a:p>
          <a:endParaRPr lang="ru-RU"/>
        </a:p>
      </dgm:t>
    </dgm:pt>
    <dgm:pt modelId="{C757B3C1-F38A-427B-8F86-0197B6BBE709}" type="sibTrans" cxnId="{0CC1B7DD-AAAF-4A3C-BAA5-FD90D3E2D065}">
      <dgm:prSet/>
      <dgm:spPr/>
      <dgm:t>
        <a:bodyPr/>
        <a:lstStyle/>
        <a:p>
          <a:endParaRPr lang="ru-RU"/>
        </a:p>
      </dgm:t>
    </dgm:pt>
    <dgm:pt modelId="{66ECCFAD-6554-4E35-A113-A7F483426186}">
      <dgm:prSet phldrT="[Текст]" custT="1"/>
      <dgm:spPr/>
      <dgm:t>
        <a:bodyPr/>
        <a:lstStyle/>
        <a:p>
          <a:r>
            <a:rPr lang="ru-RU" sz="1800" dirty="0"/>
            <a:t>Субъекты регулирования</a:t>
          </a:r>
        </a:p>
      </dgm:t>
    </dgm:pt>
    <dgm:pt modelId="{D3DAF5EE-678C-4D3A-BC39-207A9567B747}" type="parTrans" cxnId="{2DE1B029-56DA-45C8-904A-BECE87162533}">
      <dgm:prSet/>
      <dgm:spPr/>
      <dgm:t>
        <a:bodyPr/>
        <a:lstStyle/>
        <a:p>
          <a:endParaRPr lang="ru-RU"/>
        </a:p>
      </dgm:t>
    </dgm:pt>
    <dgm:pt modelId="{8F735B4F-8738-4B64-86B1-C84B05E091DA}" type="sibTrans" cxnId="{2DE1B029-56DA-45C8-904A-BECE87162533}">
      <dgm:prSet/>
      <dgm:spPr/>
      <dgm:t>
        <a:bodyPr/>
        <a:lstStyle/>
        <a:p>
          <a:endParaRPr lang="ru-RU"/>
        </a:p>
      </dgm:t>
    </dgm:pt>
    <dgm:pt modelId="{3510AD29-0F45-43C4-914A-F4E4572A1D71}">
      <dgm:prSet phldrT="[Текст]" custT="1"/>
      <dgm:spPr/>
      <dgm:t>
        <a:bodyPr/>
        <a:lstStyle/>
        <a:p>
          <a:r>
            <a:rPr lang="ru-RU" sz="1200" dirty="0"/>
            <a:t>Обеспечение межгосударственных связей </a:t>
          </a:r>
        </a:p>
      </dgm:t>
    </dgm:pt>
    <dgm:pt modelId="{5214B1C0-CCBB-42F6-A624-72F45240927A}" type="parTrans" cxnId="{9B1103E3-577E-4056-8D3B-23304D6D05D7}">
      <dgm:prSet/>
      <dgm:spPr/>
      <dgm:t>
        <a:bodyPr/>
        <a:lstStyle/>
        <a:p>
          <a:endParaRPr lang="ru-RU"/>
        </a:p>
      </dgm:t>
    </dgm:pt>
    <dgm:pt modelId="{E61C6B66-57E6-49C4-A8B1-075EDC909528}" type="sibTrans" cxnId="{9B1103E3-577E-4056-8D3B-23304D6D05D7}">
      <dgm:prSet/>
      <dgm:spPr/>
      <dgm:t>
        <a:bodyPr/>
        <a:lstStyle/>
        <a:p>
          <a:endParaRPr lang="ru-RU"/>
        </a:p>
      </dgm:t>
    </dgm:pt>
    <dgm:pt modelId="{42F26AFE-0B87-4148-B93A-5F5EDE7BFC0B}">
      <dgm:prSet phldrT="[Текст]" custT="1"/>
      <dgm:spPr/>
      <dgm:t>
        <a:bodyPr/>
        <a:lstStyle/>
        <a:p>
          <a:r>
            <a:rPr lang="ru-RU" sz="1800" dirty="0"/>
            <a:t>Рынки</a:t>
          </a:r>
        </a:p>
      </dgm:t>
    </dgm:pt>
    <dgm:pt modelId="{DDA26B09-46B5-40B3-968D-801BE0FDDFAE}" type="parTrans" cxnId="{D1E3807B-CA5A-48C1-B27A-1ED30898F2D1}">
      <dgm:prSet/>
      <dgm:spPr/>
      <dgm:t>
        <a:bodyPr/>
        <a:lstStyle/>
        <a:p>
          <a:endParaRPr lang="ru-RU"/>
        </a:p>
      </dgm:t>
    </dgm:pt>
    <dgm:pt modelId="{069BA0AC-F17B-491D-9CD6-35007C75B7B1}" type="sibTrans" cxnId="{D1E3807B-CA5A-48C1-B27A-1ED30898F2D1}">
      <dgm:prSet/>
      <dgm:spPr/>
      <dgm:t>
        <a:bodyPr/>
        <a:lstStyle/>
        <a:p>
          <a:endParaRPr lang="ru-RU"/>
        </a:p>
      </dgm:t>
    </dgm:pt>
    <dgm:pt modelId="{2827DDED-E4DF-4F51-9625-23E16EDAA45E}">
      <dgm:prSet phldrT="[Текст]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dirty="0"/>
            <a:t>Генерация добавленной стоимости в экономике</a:t>
          </a:r>
        </a:p>
      </dgm:t>
    </dgm:pt>
    <dgm:pt modelId="{C16A00E7-57F5-41E3-8E89-F6076EE75174}" type="parTrans" cxnId="{1731D687-C300-4571-963A-D01952A31E72}">
      <dgm:prSet/>
      <dgm:spPr/>
      <dgm:t>
        <a:bodyPr/>
        <a:lstStyle/>
        <a:p>
          <a:endParaRPr lang="ru-RU"/>
        </a:p>
      </dgm:t>
    </dgm:pt>
    <dgm:pt modelId="{1542A420-24FA-4E2B-A542-B5E6BB6E3449}" type="sibTrans" cxnId="{1731D687-C300-4571-963A-D01952A31E72}">
      <dgm:prSet/>
      <dgm:spPr/>
      <dgm:t>
        <a:bodyPr/>
        <a:lstStyle/>
        <a:p>
          <a:endParaRPr lang="ru-RU"/>
        </a:p>
      </dgm:t>
    </dgm:pt>
    <dgm:pt modelId="{327066E0-49B1-4A67-9772-A1C14528329C}">
      <dgm:prSet phldrT="[Текст]" custT="1"/>
      <dgm:spPr/>
      <dgm:t>
        <a:bodyPr/>
        <a:lstStyle/>
        <a:p>
          <a:r>
            <a:rPr lang="ru-RU" sz="1200" dirty="0"/>
            <a:t>Повышение хозяйственной эффективности</a:t>
          </a:r>
        </a:p>
      </dgm:t>
    </dgm:pt>
    <dgm:pt modelId="{627B3D8C-C9AB-4F42-9FFC-8E1953F36DA6}" type="parTrans" cxnId="{6B0E6328-1E7F-48D9-ACFF-A1106C6F4EE2}">
      <dgm:prSet/>
      <dgm:spPr/>
      <dgm:t>
        <a:bodyPr/>
        <a:lstStyle/>
        <a:p>
          <a:endParaRPr lang="ru-RU"/>
        </a:p>
      </dgm:t>
    </dgm:pt>
    <dgm:pt modelId="{CFD45C28-D0FE-49D1-84D3-3A3CF07E5E11}" type="sibTrans" cxnId="{6B0E6328-1E7F-48D9-ACFF-A1106C6F4EE2}">
      <dgm:prSet/>
      <dgm:spPr/>
      <dgm:t>
        <a:bodyPr/>
        <a:lstStyle/>
        <a:p>
          <a:endParaRPr lang="ru-RU"/>
        </a:p>
      </dgm:t>
    </dgm:pt>
    <dgm:pt modelId="{BB4DDFDB-1014-460C-A4B7-FDC9AAF592B9}">
      <dgm:prSet phldrT="[Текст]" custT="1"/>
      <dgm:spPr/>
      <dgm:t>
        <a:bodyPr/>
        <a:lstStyle/>
        <a:p>
          <a:r>
            <a:rPr lang="ru-RU" sz="1200" dirty="0"/>
            <a:t>Устойчивость социальных эффектов  и соблюдение налогового законодательства</a:t>
          </a:r>
        </a:p>
      </dgm:t>
    </dgm:pt>
    <dgm:pt modelId="{6C27E0A7-7652-4D7F-9B9C-36FAAA7DFC11}" type="parTrans" cxnId="{4395F3F6-E7EA-493E-8F75-C5E185272E1D}">
      <dgm:prSet/>
      <dgm:spPr/>
      <dgm:t>
        <a:bodyPr/>
        <a:lstStyle/>
        <a:p>
          <a:endParaRPr lang="ru-RU"/>
        </a:p>
      </dgm:t>
    </dgm:pt>
    <dgm:pt modelId="{F392BFC3-2DE5-4D58-A668-1FF80E11F222}" type="sibTrans" cxnId="{4395F3F6-E7EA-493E-8F75-C5E185272E1D}">
      <dgm:prSet/>
      <dgm:spPr/>
      <dgm:t>
        <a:bodyPr/>
        <a:lstStyle/>
        <a:p>
          <a:endParaRPr lang="ru-RU"/>
        </a:p>
      </dgm:t>
    </dgm:pt>
    <dgm:pt modelId="{AD0B50C5-2F50-4A23-A44D-8E35EEEC4ECF}">
      <dgm:prSet phldrT="[Текст]" custT="1"/>
      <dgm:spPr/>
      <dgm:t>
        <a:bodyPr/>
        <a:lstStyle/>
        <a:p>
          <a:r>
            <a:rPr lang="ru-RU" sz="1200" dirty="0"/>
            <a:t>Расширение информационного охвата  </a:t>
          </a:r>
        </a:p>
      </dgm:t>
    </dgm:pt>
    <dgm:pt modelId="{BA70B14E-38E2-4366-A728-635537273DFF}" type="parTrans" cxnId="{DE1F79B4-99E9-45AF-86F2-C5C30E3E9968}">
      <dgm:prSet/>
      <dgm:spPr/>
      <dgm:t>
        <a:bodyPr/>
        <a:lstStyle/>
        <a:p>
          <a:endParaRPr lang="ru-RU"/>
        </a:p>
      </dgm:t>
    </dgm:pt>
    <dgm:pt modelId="{A5559143-26CD-4F44-9E2E-FD84A54BA510}" type="sibTrans" cxnId="{DE1F79B4-99E9-45AF-86F2-C5C30E3E9968}">
      <dgm:prSet/>
      <dgm:spPr/>
      <dgm:t>
        <a:bodyPr/>
        <a:lstStyle/>
        <a:p>
          <a:endParaRPr lang="ru-RU"/>
        </a:p>
      </dgm:t>
    </dgm:pt>
    <dgm:pt modelId="{8B10D254-2D49-4008-88CD-CA30328CEE63}">
      <dgm:prSet phldrT="[Текст]"/>
      <dgm:spPr/>
      <dgm:t>
        <a:bodyPr/>
        <a:lstStyle/>
        <a:p>
          <a:endParaRPr lang="ru-RU" sz="1000" dirty="0"/>
        </a:p>
      </dgm:t>
    </dgm:pt>
    <dgm:pt modelId="{C5955B8E-934B-4ED2-B78E-F7EFD3CB079C}" type="parTrans" cxnId="{D6EFEC10-311A-4997-A6D7-9F639DE81A7E}">
      <dgm:prSet/>
      <dgm:spPr/>
      <dgm:t>
        <a:bodyPr/>
        <a:lstStyle/>
        <a:p>
          <a:endParaRPr lang="ru-RU"/>
        </a:p>
      </dgm:t>
    </dgm:pt>
    <dgm:pt modelId="{0CB913E8-05F0-4E9A-994F-6107F8C36B45}" type="sibTrans" cxnId="{D6EFEC10-311A-4997-A6D7-9F639DE81A7E}">
      <dgm:prSet/>
      <dgm:spPr/>
      <dgm:t>
        <a:bodyPr/>
        <a:lstStyle/>
        <a:p>
          <a:endParaRPr lang="ru-RU"/>
        </a:p>
      </dgm:t>
    </dgm:pt>
    <dgm:pt modelId="{B0ED9EB6-5D5D-46B4-B44D-60DF16270B7B}">
      <dgm:prSet phldrT="[Текст]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dirty="0"/>
            <a:t>Создание новых цепочек производства</a:t>
          </a:r>
        </a:p>
        <a:p>
          <a:pPr marL="57150" lvl="1" indent="0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</a:pPr>
          <a:endParaRPr lang="ru-RU" dirty="0"/>
        </a:p>
      </dgm:t>
    </dgm:pt>
    <dgm:pt modelId="{A88222F0-CF88-4CBF-8CF0-66CEECF9C015}" type="parTrans" cxnId="{89165C2C-2D9D-4B24-9A47-EB75DD3A777F}">
      <dgm:prSet/>
      <dgm:spPr/>
      <dgm:t>
        <a:bodyPr/>
        <a:lstStyle/>
        <a:p>
          <a:endParaRPr lang="ru-RU"/>
        </a:p>
      </dgm:t>
    </dgm:pt>
    <dgm:pt modelId="{7B4738DD-3818-4843-BA01-89355F3FB0C2}" type="sibTrans" cxnId="{89165C2C-2D9D-4B24-9A47-EB75DD3A777F}">
      <dgm:prSet/>
      <dgm:spPr/>
      <dgm:t>
        <a:bodyPr/>
        <a:lstStyle/>
        <a:p>
          <a:endParaRPr lang="ru-RU"/>
        </a:p>
      </dgm:t>
    </dgm:pt>
    <dgm:pt modelId="{005A3827-7F6C-414F-9A74-C1CEAACADEA3}" type="pres">
      <dgm:prSet presAssocID="{5919705A-4E5D-4862-9C58-B1FCE4C487C3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0BC0E7F-EC26-46CF-B7D3-B2787D1745FF}" type="pres">
      <dgm:prSet presAssocID="{5919705A-4E5D-4862-9C58-B1FCE4C487C3}" presName="children" presStyleCnt="0"/>
      <dgm:spPr/>
    </dgm:pt>
    <dgm:pt modelId="{0BE2C348-386F-4D2F-A277-FAE0B8EF5813}" type="pres">
      <dgm:prSet presAssocID="{5919705A-4E5D-4862-9C58-B1FCE4C487C3}" presName="child1group" presStyleCnt="0"/>
      <dgm:spPr/>
    </dgm:pt>
    <dgm:pt modelId="{F2739232-1A7C-412A-A5C1-B3F1C58D1CB9}" type="pres">
      <dgm:prSet presAssocID="{5919705A-4E5D-4862-9C58-B1FCE4C487C3}" presName="child1" presStyleLbl="bgAcc1" presStyleIdx="0" presStyleCnt="4" custScaleX="128173" custScaleY="121366" custLinFactNeighborX="-15892" custLinFactNeighborY="19280"/>
      <dgm:spPr/>
      <dgm:t>
        <a:bodyPr/>
        <a:lstStyle/>
        <a:p>
          <a:endParaRPr lang="ru-RU"/>
        </a:p>
      </dgm:t>
    </dgm:pt>
    <dgm:pt modelId="{2800E889-B44F-41F5-8D4D-A161CAF95A8D}" type="pres">
      <dgm:prSet presAssocID="{5919705A-4E5D-4862-9C58-B1FCE4C487C3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C9936B-73DC-43C2-B5AE-AC2FD2E98061}" type="pres">
      <dgm:prSet presAssocID="{5919705A-4E5D-4862-9C58-B1FCE4C487C3}" presName="child2group" presStyleCnt="0"/>
      <dgm:spPr/>
    </dgm:pt>
    <dgm:pt modelId="{72C1ECCB-7BD3-4443-B47A-80F747188B28}" type="pres">
      <dgm:prSet presAssocID="{5919705A-4E5D-4862-9C58-B1FCE4C487C3}" presName="child2" presStyleLbl="bgAcc1" presStyleIdx="1" presStyleCnt="4" custScaleX="124492" custLinFactNeighborX="20059" custLinFactNeighborY="6943"/>
      <dgm:spPr/>
      <dgm:t>
        <a:bodyPr/>
        <a:lstStyle/>
        <a:p>
          <a:endParaRPr lang="ru-RU"/>
        </a:p>
      </dgm:t>
    </dgm:pt>
    <dgm:pt modelId="{E23D2728-D98E-4426-A359-B06BB07A09B2}" type="pres">
      <dgm:prSet presAssocID="{5919705A-4E5D-4862-9C58-B1FCE4C487C3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251CA1-859F-4C5A-9FE1-5740968E29C3}" type="pres">
      <dgm:prSet presAssocID="{5919705A-4E5D-4862-9C58-B1FCE4C487C3}" presName="child3group" presStyleCnt="0"/>
      <dgm:spPr/>
    </dgm:pt>
    <dgm:pt modelId="{A4D6355A-30C0-431B-9FCA-5D87BF58ED0E}" type="pres">
      <dgm:prSet presAssocID="{5919705A-4E5D-4862-9C58-B1FCE4C487C3}" presName="child3" presStyleLbl="bgAcc1" presStyleIdx="2" presStyleCnt="4" custScaleX="156283" custLinFactNeighborX="34063"/>
      <dgm:spPr/>
      <dgm:t>
        <a:bodyPr/>
        <a:lstStyle/>
        <a:p>
          <a:endParaRPr lang="ru-RU"/>
        </a:p>
      </dgm:t>
    </dgm:pt>
    <dgm:pt modelId="{410105F1-2C53-4808-B9D3-B9166B403656}" type="pres">
      <dgm:prSet presAssocID="{5919705A-4E5D-4862-9C58-B1FCE4C487C3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BF5DC1-065E-4536-A3E7-D9B6B566B00A}" type="pres">
      <dgm:prSet presAssocID="{5919705A-4E5D-4862-9C58-B1FCE4C487C3}" presName="child4group" presStyleCnt="0"/>
      <dgm:spPr/>
    </dgm:pt>
    <dgm:pt modelId="{CA0A88D7-6A60-4351-BC75-09E17E84CA92}" type="pres">
      <dgm:prSet presAssocID="{5919705A-4E5D-4862-9C58-B1FCE4C487C3}" presName="child4" presStyleLbl="bgAcc1" presStyleIdx="3" presStyleCnt="4" custScaleX="123204"/>
      <dgm:spPr/>
      <dgm:t>
        <a:bodyPr/>
        <a:lstStyle/>
        <a:p>
          <a:endParaRPr lang="ru-RU"/>
        </a:p>
      </dgm:t>
    </dgm:pt>
    <dgm:pt modelId="{B819B33F-B8D8-44B9-966D-191686CF6559}" type="pres">
      <dgm:prSet presAssocID="{5919705A-4E5D-4862-9C58-B1FCE4C487C3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6E79E0-1883-4DF5-8684-DDF8F4285901}" type="pres">
      <dgm:prSet presAssocID="{5919705A-4E5D-4862-9C58-B1FCE4C487C3}" presName="childPlaceholder" presStyleCnt="0"/>
      <dgm:spPr/>
    </dgm:pt>
    <dgm:pt modelId="{589E47E4-60A1-4A7E-963B-BE898D7AC304}" type="pres">
      <dgm:prSet presAssocID="{5919705A-4E5D-4862-9C58-B1FCE4C487C3}" presName="circle" presStyleCnt="0"/>
      <dgm:spPr/>
    </dgm:pt>
    <dgm:pt modelId="{D5081B4B-020D-4132-B70C-2062D368C8D0}" type="pres">
      <dgm:prSet presAssocID="{5919705A-4E5D-4862-9C58-B1FCE4C487C3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34965C-C0EE-4AC2-AFD7-ACB14B1BA706}" type="pres">
      <dgm:prSet presAssocID="{5919705A-4E5D-4862-9C58-B1FCE4C487C3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EB1196-40C1-4EBC-B911-DE79DDC12AD4}" type="pres">
      <dgm:prSet presAssocID="{5919705A-4E5D-4862-9C58-B1FCE4C487C3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FAE172-D416-443D-BD72-A9F721299068}" type="pres">
      <dgm:prSet presAssocID="{5919705A-4E5D-4862-9C58-B1FCE4C487C3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584B9-8134-4F1B-84E7-8AD1FDF46051}" type="pres">
      <dgm:prSet presAssocID="{5919705A-4E5D-4862-9C58-B1FCE4C487C3}" presName="quadrantPlaceholder" presStyleCnt="0"/>
      <dgm:spPr/>
    </dgm:pt>
    <dgm:pt modelId="{B47C2A74-11D9-4147-B5AB-CCE99EE3FA95}" type="pres">
      <dgm:prSet presAssocID="{5919705A-4E5D-4862-9C58-B1FCE4C487C3}" presName="center1" presStyleLbl="fgShp" presStyleIdx="0" presStyleCnt="2"/>
      <dgm:spPr/>
    </dgm:pt>
    <dgm:pt modelId="{9925EDE6-59C9-46C6-9B7E-CE37926AC346}" type="pres">
      <dgm:prSet presAssocID="{5919705A-4E5D-4862-9C58-B1FCE4C487C3}" presName="center2" presStyleLbl="fgShp" presStyleIdx="1" presStyleCnt="2"/>
      <dgm:spPr/>
    </dgm:pt>
  </dgm:ptLst>
  <dgm:cxnLst>
    <dgm:cxn modelId="{ADAED01B-90AC-4598-B40D-4B9C872CFBAE}" type="presOf" srcId="{3510AD29-0F45-43C4-914A-F4E4572A1D71}" destId="{A4D6355A-30C0-431B-9FCA-5D87BF58ED0E}" srcOrd="0" destOrd="0" presId="urn:microsoft.com/office/officeart/2005/8/layout/cycle4"/>
    <dgm:cxn modelId="{53F273F0-9104-49AB-B6BF-48F7E2B14EE9}" srcId="{5919705A-4E5D-4862-9C58-B1FCE4C487C3}" destId="{94ECCE1A-D356-468D-8055-2EE51515FC45}" srcOrd="1" destOrd="0" parTransId="{82BFD487-FA18-4EC4-953F-DEB7AFDA1699}" sibTransId="{F32A5A35-14E1-4025-A4BB-9F6FCFECF416}"/>
    <dgm:cxn modelId="{D6EFEC10-311A-4997-A6D7-9F639DE81A7E}" srcId="{BB4F2ABB-8364-43FF-8707-F9C4E8BA9998}" destId="{8B10D254-2D49-4008-88CD-CA30328CEE63}" srcOrd="2" destOrd="0" parTransId="{C5955B8E-934B-4ED2-B78E-F7EFD3CB079C}" sibTransId="{0CB913E8-05F0-4E9A-994F-6107F8C36B45}"/>
    <dgm:cxn modelId="{23A5E9F2-B413-49CF-B782-1DC607A01216}" type="presOf" srcId="{8B10D254-2D49-4008-88CD-CA30328CEE63}" destId="{F2739232-1A7C-412A-A5C1-B3F1C58D1CB9}" srcOrd="0" destOrd="2" presId="urn:microsoft.com/office/officeart/2005/8/layout/cycle4"/>
    <dgm:cxn modelId="{1538472B-387C-4BE4-991C-30FBB73E35CE}" type="presOf" srcId="{42F26AFE-0B87-4148-B93A-5F5EDE7BFC0B}" destId="{BAFAE172-D416-443D-BD72-A9F721299068}" srcOrd="0" destOrd="0" presId="urn:microsoft.com/office/officeart/2005/8/layout/cycle4"/>
    <dgm:cxn modelId="{74932F78-C613-4F81-B7EC-123662DC334F}" srcId="{BB4F2ABB-8364-43FF-8707-F9C4E8BA9998}" destId="{B8DEE8C0-339E-4DE9-9407-590E5535A139}" srcOrd="0" destOrd="0" parTransId="{48B1AAE1-62DF-42CD-9B47-1AC1CF2C3AB3}" sibTransId="{4CFE85F0-11BA-42F6-B4CE-37170CB95612}"/>
    <dgm:cxn modelId="{29544C06-1E4D-4298-ABE3-121A1A27A964}" type="presOf" srcId="{4D36F48C-A8A8-444D-B95F-8186B469B19E}" destId="{72C1ECCB-7BD3-4443-B47A-80F747188B28}" srcOrd="0" destOrd="0" presId="urn:microsoft.com/office/officeart/2005/8/layout/cycle4"/>
    <dgm:cxn modelId="{F60B4F41-AB4D-40ED-951C-723BC1FE1D04}" type="presOf" srcId="{8B10D254-2D49-4008-88CD-CA30328CEE63}" destId="{2800E889-B44F-41F5-8D4D-A161CAF95A8D}" srcOrd="1" destOrd="2" presId="urn:microsoft.com/office/officeart/2005/8/layout/cycle4"/>
    <dgm:cxn modelId="{89165C2C-2D9D-4B24-9A47-EB75DD3A777F}" srcId="{42F26AFE-0B87-4148-B93A-5F5EDE7BFC0B}" destId="{B0ED9EB6-5D5D-46B4-B44D-60DF16270B7B}" srcOrd="1" destOrd="0" parTransId="{A88222F0-CF88-4CBF-8CF0-66CEECF9C015}" sibTransId="{7B4738DD-3818-4843-BA01-89355F3FB0C2}"/>
    <dgm:cxn modelId="{1022885E-EF23-44FC-9319-42A8F0AC591B}" type="presOf" srcId="{94ECCE1A-D356-468D-8055-2EE51515FC45}" destId="{6934965C-C0EE-4AC2-AFD7-ACB14B1BA706}" srcOrd="0" destOrd="0" presId="urn:microsoft.com/office/officeart/2005/8/layout/cycle4"/>
    <dgm:cxn modelId="{357DD9A3-C9DB-4A26-904F-046B656F01AE}" type="presOf" srcId="{4D36F48C-A8A8-444D-B95F-8186B469B19E}" destId="{E23D2728-D98E-4426-A359-B06BB07A09B2}" srcOrd="1" destOrd="0" presId="urn:microsoft.com/office/officeart/2005/8/layout/cycle4"/>
    <dgm:cxn modelId="{06259B44-55FE-4F06-8309-D4BD85AB5578}" type="presOf" srcId="{BB4DDFDB-1014-460C-A4B7-FDC9AAF592B9}" destId="{A4D6355A-30C0-431B-9FCA-5D87BF58ED0E}" srcOrd="0" destOrd="1" presId="urn:microsoft.com/office/officeart/2005/8/layout/cycle4"/>
    <dgm:cxn modelId="{87F35BBB-F1CD-40FD-B3A8-EFCF286B6D4B}" type="presOf" srcId="{2827DDED-E4DF-4F51-9625-23E16EDAA45E}" destId="{B819B33F-B8D8-44B9-966D-191686CF6559}" srcOrd="1" destOrd="0" presId="urn:microsoft.com/office/officeart/2005/8/layout/cycle4"/>
    <dgm:cxn modelId="{71927EB5-FBE0-4AF3-A26D-B01099448E23}" type="presOf" srcId="{66ECCFAD-6554-4E35-A113-A7F483426186}" destId="{08EB1196-40C1-4EBC-B911-DE79DDC12AD4}" srcOrd="0" destOrd="0" presId="urn:microsoft.com/office/officeart/2005/8/layout/cycle4"/>
    <dgm:cxn modelId="{9B1103E3-577E-4056-8D3B-23304D6D05D7}" srcId="{66ECCFAD-6554-4E35-A113-A7F483426186}" destId="{3510AD29-0F45-43C4-914A-F4E4572A1D71}" srcOrd="0" destOrd="0" parTransId="{5214B1C0-CCBB-42F6-A624-72F45240927A}" sibTransId="{E61C6B66-57E6-49C4-A8B1-075EDC909528}"/>
    <dgm:cxn modelId="{1731D687-C300-4571-963A-D01952A31E72}" srcId="{42F26AFE-0B87-4148-B93A-5F5EDE7BFC0B}" destId="{2827DDED-E4DF-4F51-9625-23E16EDAA45E}" srcOrd="0" destOrd="0" parTransId="{C16A00E7-57F5-41E3-8E89-F6076EE75174}" sibTransId="{1542A420-24FA-4E2B-A542-B5E6BB6E3449}"/>
    <dgm:cxn modelId="{0F5D0E7B-8539-4639-9AAE-FAF1C04B83FF}" type="presOf" srcId="{BB4DDFDB-1014-460C-A4B7-FDC9AAF592B9}" destId="{410105F1-2C53-4808-B9D3-B9166B403656}" srcOrd="1" destOrd="1" presId="urn:microsoft.com/office/officeart/2005/8/layout/cycle4"/>
    <dgm:cxn modelId="{2DE1B029-56DA-45C8-904A-BECE87162533}" srcId="{5919705A-4E5D-4862-9C58-B1FCE4C487C3}" destId="{66ECCFAD-6554-4E35-A113-A7F483426186}" srcOrd="2" destOrd="0" parTransId="{D3DAF5EE-678C-4D3A-BC39-207A9567B747}" sibTransId="{8F735B4F-8738-4B64-86B1-C84B05E091DA}"/>
    <dgm:cxn modelId="{580C8496-A758-48A8-8374-257367774D01}" type="presOf" srcId="{B8DEE8C0-339E-4DE9-9407-590E5535A139}" destId="{F2739232-1A7C-412A-A5C1-B3F1C58D1CB9}" srcOrd="0" destOrd="0" presId="urn:microsoft.com/office/officeart/2005/8/layout/cycle4"/>
    <dgm:cxn modelId="{351EDCBD-A0AB-47E9-94C1-3AF203197705}" type="presOf" srcId="{327066E0-49B1-4A67-9772-A1C14528329C}" destId="{F2739232-1A7C-412A-A5C1-B3F1C58D1CB9}" srcOrd="0" destOrd="1" presId="urn:microsoft.com/office/officeart/2005/8/layout/cycle4"/>
    <dgm:cxn modelId="{DE1F79B4-99E9-45AF-86F2-C5C30E3E9968}" srcId="{94ECCE1A-D356-468D-8055-2EE51515FC45}" destId="{AD0B50C5-2F50-4A23-A44D-8E35EEEC4ECF}" srcOrd="1" destOrd="0" parTransId="{BA70B14E-38E2-4366-A728-635537273DFF}" sibTransId="{A5559143-26CD-4F44-9E2E-FD84A54BA510}"/>
    <dgm:cxn modelId="{6B0E6328-1E7F-48D9-ACFF-A1106C6F4EE2}" srcId="{BB4F2ABB-8364-43FF-8707-F9C4E8BA9998}" destId="{327066E0-49B1-4A67-9772-A1C14528329C}" srcOrd="1" destOrd="0" parTransId="{627B3D8C-C9AB-4F42-9FFC-8E1953F36DA6}" sibTransId="{CFD45C28-D0FE-49D1-84D3-3A3CF07E5E11}"/>
    <dgm:cxn modelId="{913AF62E-C0CA-4949-B084-A30CCDBBCCD2}" type="presOf" srcId="{AD0B50C5-2F50-4A23-A44D-8E35EEEC4ECF}" destId="{E23D2728-D98E-4426-A359-B06BB07A09B2}" srcOrd="1" destOrd="1" presId="urn:microsoft.com/office/officeart/2005/8/layout/cycle4"/>
    <dgm:cxn modelId="{D1E3807B-CA5A-48C1-B27A-1ED30898F2D1}" srcId="{5919705A-4E5D-4862-9C58-B1FCE4C487C3}" destId="{42F26AFE-0B87-4148-B93A-5F5EDE7BFC0B}" srcOrd="3" destOrd="0" parTransId="{DDA26B09-46B5-40B3-968D-801BE0FDDFAE}" sibTransId="{069BA0AC-F17B-491D-9CD6-35007C75B7B1}"/>
    <dgm:cxn modelId="{62E28DFE-B556-4E15-9CFB-AE003DD64F6F}" type="presOf" srcId="{3510AD29-0F45-43C4-914A-F4E4572A1D71}" destId="{410105F1-2C53-4808-B9D3-B9166B403656}" srcOrd="1" destOrd="0" presId="urn:microsoft.com/office/officeart/2005/8/layout/cycle4"/>
    <dgm:cxn modelId="{5DCE4EC3-CE3A-4FF5-B06A-695E00F2EB2C}" type="presOf" srcId="{327066E0-49B1-4A67-9772-A1C14528329C}" destId="{2800E889-B44F-41F5-8D4D-A161CAF95A8D}" srcOrd="1" destOrd="1" presId="urn:microsoft.com/office/officeart/2005/8/layout/cycle4"/>
    <dgm:cxn modelId="{4395F3F6-E7EA-493E-8F75-C5E185272E1D}" srcId="{66ECCFAD-6554-4E35-A113-A7F483426186}" destId="{BB4DDFDB-1014-460C-A4B7-FDC9AAF592B9}" srcOrd="1" destOrd="0" parTransId="{6C27E0A7-7652-4D7F-9B9C-36FAAA7DFC11}" sibTransId="{F392BFC3-2DE5-4D58-A668-1FF80E11F222}"/>
    <dgm:cxn modelId="{CC4E2C4D-1276-4168-B994-589A32C63961}" type="presOf" srcId="{2827DDED-E4DF-4F51-9625-23E16EDAA45E}" destId="{CA0A88D7-6A60-4351-BC75-09E17E84CA92}" srcOrd="0" destOrd="0" presId="urn:microsoft.com/office/officeart/2005/8/layout/cycle4"/>
    <dgm:cxn modelId="{77931A27-ADF8-473C-BD9B-DFF05BFFDE56}" type="presOf" srcId="{B8DEE8C0-339E-4DE9-9407-590E5535A139}" destId="{2800E889-B44F-41F5-8D4D-A161CAF95A8D}" srcOrd="1" destOrd="0" presId="urn:microsoft.com/office/officeart/2005/8/layout/cycle4"/>
    <dgm:cxn modelId="{DFA577B3-F1C8-4603-BA48-163AD220DCAE}" type="presOf" srcId="{BB4F2ABB-8364-43FF-8707-F9C4E8BA9998}" destId="{D5081B4B-020D-4132-B70C-2062D368C8D0}" srcOrd="0" destOrd="0" presId="urn:microsoft.com/office/officeart/2005/8/layout/cycle4"/>
    <dgm:cxn modelId="{7A2F7013-2DBD-4654-A0C7-7B52C64619D3}" srcId="{5919705A-4E5D-4862-9C58-B1FCE4C487C3}" destId="{BB4F2ABB-8364-43FF-8707-F9C4E8BA9998}" srcOrd="0" destOrd="0" parTransId="{7226D54B-CA64-4D41-833F-D768D7F06ABD}" sibTransId="{9F741EF6-CEA4-4597-9B19-661F9FA6EEE9}"/>
    <dgm:cxn modelId="{14FBCE05-5D88-40BB-8C2A-51C699173BED}" type="presOf" srcId="{AD0B50C5-2F50-4A23-A44D-8E35EEEC4ECF}" destId="{72C1ECCB-7BD3-4443-B47A-80F747188B28}" srcOrd="0" destOrd="1" presId="urn:microsoft.com/office/officeart/2005/8/layout/cycle4"/>
    <dgm:cxn modelId="{39802755-D42B-408F-AA0C-50D97DA8D783}" type="presOf" srcId="{B0ED9EB6-5D5D-46B4-B44D-60DF16270B7B}" destId="{B819B33F-B8D8-44B9-966D-191686CF6559}" srcOrd="1" destOrd="1" presId="urn:microsoft.com/office/officeart/2005/8/layout/cycle4"/>
    <dgm:cxn modelId="{D783F17C-3EDF-40D7-ADD5-85639CA5C711}" type="presOf" srcId="{B0ED9EB6-5D5D-46B4-B44D-60DF16270B7B}" destId="{CA0A88D7-6A60-4351-BC75-09E17E84CA92}" srcOrd="0" destOrd="1" presId="urn:microsoft.com/office/officeart/2005/8/layout/cycle4"/>
    <dgm:cxn modelId="{0CC1B7DD-AAAF-4A3C-BAA5-FD90D3E2D065}" srcId="{94ECCE1A-D356-468D-8055-2EE51515FC45}" destId="{4D36F48C-A8A8-444D-B95F-8186B469B19E}" srcOrd="0" destOrd="0" parTransId="{286FD8D2-AD28-4202-A4C7-B708A22AB343}" sibTransId="{C757B3C1-F38A-427B-8F86-0197B6BBE709}"/>
    <dgm:cxn modelId="{E8531F98-B2F1-43B2-847C-C71E547FE73B}" type="presOf" srcId="{5919705A-4E5D-4862-9C58-B1FCE4C487C3}" destId="{005A3827-7F6C-414F-9A74-C1CEAACADEA3}" srcOrd="0" destOrd="0" presId="urn:microsoft.com/office/officeart/2005/8/layout/cycle4"/>
    <dgm:cxn modelId="{E670A068-55B2-49B0-BCB1-5629235E66F8}" type="presParOf" srcId="{005A3827-7F6C-414F-9A74-C1CEAACADEA3}" destId="{B0BC0E7F-EC26-46CF-B7D3-B2787D1745FF}" srcOrd="0" destOrd="0" presId="urn:microsoft.com/office/officeart/2005/8/layout/cycle4"/>
    <dgm:cxn modelId="{EBA87F25-6CB3-4181-A50C-B71E728BBBA0}" type="presParOf" srcId="{B0BC0E7F-EC26-46CF-B7D3-B2787D1745FF}" destId="{0BE2C348-386F-4D2F-A277-FAE0B8EF5813}" srcOrd="0" destOrd="0" presId="urn:microsoft.com/office/officeart/2005/8/layout/cycle4"/>
    <dgm:cxn modelId="{3506A045-7111-4500-9BC9-2A0E0F92242B}" type="presParOf" srcId="{0BE2C348-386F-4D2F-A277-FAE0B8EF5813}" destId="{F2739232-1A7C-412A-A5C1-B3F1C58D1CB9}" srcOrd="0" destOrd="0" presId="urn:microsoft.com/office/officeart/2005/8/layout/cycle4"/>
    <dgm:cxn modelId="{3F3EF8C6-81B5-4B51-8FD4-09C5E824EADC}" type="presParOf" srcId="{0BE2C348-386F-4D2F-A277-FAE0B8EF5813}" destId="{2800E889-B44F-41F5-8D4D-A161CAF95A8D}" srcOrd="1" destOrd="0" presId="urn:microsoft.com/office/officeart/2005/8/layout/cycle4"/>
    <dgm:cxn modelId="{547A4AE0-F04A-4998-9B11-333B5754FF40}" type="presParOf" srcId="{B0BC0E7F-EC26-46CF-B7D3-B2787D1745FF}" destId="{4CC9936B-73DC-43C2-B5AE-AC2FD2E98061}" srcOrd="1" destOrd="0" presId="urn:microsoft.com/office/officeart/2005/8/layout/cycle4"/>
    <dgm:cxn modelId="{89A03291-C449-4DFC-9D84-AE95BEDB119F}" type="presParOf" srcId="{4CC9936B-73DC-43C2-B5AE-AC2FD2E98061}" destId="{72C1ECCB-7BD3-4443-B47A-80F747188B28}" srcOrd="0" destOrd="0" presId="urn:microsoft.com/office/officeart/2005/8/layout/cycle4"/>
    <dgm:cxn modelId="{653A311A-2F40-4037-92CF-8E9A391CD29A}" type="presParOf" srcId="{4CC9936B-73DC-43C2-B5AE-AC2FD2E98061}" destId="{E23D2728-D98E-4426-A359-B06BB07A09B2}" srcOrd="1" destOrd="0" presId="urn:microsoft.com/office/officeart/2005/8/layout/cycle4"/>
    <dgm:cxn modelId="{7C24998E-D897-4829-9C19-AE69BBBAC647}" type="presParOf" srcId="{B0BC0E7F-EC26-46CF-B7D3-B2787D1745FF}" destId="{49251CA1-859F-4C5A-9FE1-5740968E29C3}" srcOrd="2" destOrd="0" presId="urn:microsoft.com/office/officeart/2005/8/layout/cycle4"/>
    <dgm:cxn modelId="{55039442-85E0-40D1-AAD1-42C98AB8E7AC}" type="presParOf" srcId="{49251CA1-859F-4C5A-9FE1-5740968E29C3}" destId="{A4D6355A-30C0-431B-9FCA-5D87BF58ED0E}" srcOrd="0" destOrd="0" presId="urn:microsoft.com/office/officeart/2005/8/layout/cycle4"/>
    <dgm:cxn modelId="{2868C8F1-0519-44BB-8170-09B491DE1537}" type="presParOf" srcId="{49251CA1-859F-4C5A-9FE1-5740968E29C3}" destId="{410105F1-2C53-4808-B9D3-B9166B403656}" srcOrd="1" destOrd="0" presId="urn:microsoft.com/office/officeart/2005/8/layout/cycle4"/>
    <dgm:cxn modelId="{2C36B7FE-BCC0-419A-9D39-F0DECB5C07CB}" type="presParOf" srcId="{B0BC0E7F-EC26-46CF-B7D3-B2787D1745FF}" destId="{6EBF5DC1-065E-4536-A3E7-D9B6B566B00A}" srcOrd="3" destOrd="0" presId="urn:microsoft.com/office/officeart/2005/8/layout/cycle4"/>
    <dgm:cxn modelId="{7F41135B-F065-4D7B-8658-688EBE6CED95}" type="presParOf" srcId="{6EBF5DC1-065E-4536-A3E7-D9B6B566B00A}" destId="{CA0A88D7-6A60-4351-BC75-09E17E84CA92}" srcOrd="0" destOrd="0" presId="urn:microsoft.com/office/officeart/2005/8/layout/cycle4"/>
    <dgm:cxn modelId="{39266701-8493-44BD-A7A0-8A7E10C48DE2}" type="presParOf" srcId="{6EBF5DC1-065E-4536-A3E7-D9B6B566B00A}" destId="{B819B33F-B8D8-44B9-966D-191686CF6559}" srcOrd="1" destOrd="0" presId="urn:microsoft.com/office/officeart/2005/8/layout/cycle4"/>
    <dgm:cxn modelId="{A4CBCD8E-01C1-475D-8022-38EE5FE8DA6D}" type="presParOf" srcId="{B0BC0E7F-EC26-46CF-B7D3-B2787D1745FF}" destId="{A06E79E0-1883-4DF5-8684-DDF8F4285901}" srcOrd="4" destOrd="0" presId="urn:microsoft.com/office/officeart/2005/8/layout/cycle4"/>
    <dgm:cxn modelId="{E4A79FB7-ED2E-4B51-8800-1734DBBAAEAE}" type="presParOf" srcId="{005A3827-7F6C-414F-9A74-C1CEAACADEA3}" destId="{589E47E4-60A1-4A7E-963B-BE898D7AC304}" srcOrd="1" destOrd="0" presId="urn:microsoft.com/office/officeart/2005/8/layout/cycle4"/>
    <dgm:cxn modelId="{4E859CFF-7213-43C7-BF75-D46FCDFD359E}" type="presParOf" srcId="{589E47E4-60A1-4A7E-963B-BE898D7AC304}" destId="{D5081B4B-020D-4132-B70C-2062D368C8D0}" srcOrd="0" destOrd="0" presId="urn:microsoft.com/office/officeart/2005/8/layout/cycle4"/>
    <dgm:cxn modelId="{7235818D-8C6F-4624-9CAB-CE348FE89EDD}" type="presParOf" srcId="{589E47E4-60A1-4A7E-963B-BE898D7AC304}" destId="{6934965C-C0EE-4AC2-AFD7-ACB14B1BA706}" srcOrd="1" destOrd="0" presId="urn:microsoft.com/office/officeart/2005/8/layout/cycle4"/>
    <dgm:cxn modelId="{885FD762-8D48-4E49-B1D8-9643FCF4D56F}" type="presParOf" srcId="{589E47E4-60A1-4A7E-963B-BE898D7AC304}" destId="{08EB1196-40C1-4EBC-B911-DE79DDC12AD4}" srcOrd="2" destOrd="0" presId="urn:microsoft.com/office/officeart/2005/8/layout/cycle4"/>
    <dgm:cxn modelId="{7297F7C8-591F-4D0B-96D5-F994F9A3FDCE}" type="presParOf" srcId="{589E47E4-60A1-4A7E-963B-BE898D7AC304}" destId="{BAFAE172-D416-443D-BD72-A9F721299068}" srcOrd="3" destOrd="0" presId="urn:microsoft.com/office/officeart/2005/8/layout/cycle4"/>
    <dgm:cxn modelId="{36E12186-DCAF-46DC-94C4-536028D85445}" type="presParOf" srcId="{589E47E4-60A1-4A7E-963B-BE898D7AC304}" destId="{92B584B9-8134-4F1B-84E7-8AD1FDF46051}" srcOrd="4" destOrd="0" presId="urn:microsoft.com/office/officeart/2005/8/layout/cycle4"/>
    <dgm:cxn modelId="{19573820-6EFF-403A-8235-C80FC9A1906D}" type="presParOf" srcId="{005A3827-7F6C-414F-9A74-C1CEAACADEA3}" destId="{B47C2A74-11D9-4147-B5AB-CCE99EE3FA95}" srcOrd="2" destOrd="0" presId="urn:microsoft.com/office/officeart/2005/8/layout/cycle4"/>
    <dgm:cxn modelId="{B33CA0F2-96C7-4A85-BB86-6C5DE3C84185}" type="presParOf" srcId="{005A3827-7F6C-414F-9A74-C1CEAACADEA3}" destId="{9925EDE6-59C9-46C6-9B7E-CE37926AC346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250542-C5D2-45E6-85F1-AA87FBE334F8}">
      <dsp:nvSpPr>
        <dsp:cNvPr id="0" name=""/>
        <dsp:cNvSpPr/>
      </dsp:nvSpPr>
      <dsp:spPr>
        <a:xfrm rot="16200000">
          <a:off x="1577579" y="200824"/>
          <a:ext cx="168442" cy="1282464"/>
        </a:xfrm>
        <a:prstGeom prst="round2Same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rtlCol="0" anchor="ctr" anchorCtr="1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noProof="0" dirty="0"/>
            <a:t>2021</a:t>
          </a:r>
        </a:p>
      </dsp:txBody>
      <dsp:txXfrm rot="5400000">
        <a:off x="1028792" y="766058"/>
        <a:ext cx="1274241" cy="151996"/>
      </dsp:txXfrm>
    </dsp:sp>
    <dsp:sp modelId="{0345BD0D-EF9F-4024-9F20-333A616AA092}">
      <dsp:nvSpPr>
        <dsp:cNvPr id="0" name=""/>
        <dsp:cNvSpPr/>
      </dsp:nvSpPr>
      <dsp:spPr>
        <a:xfrm>
          <a:off x="12179" y="288589"/>
          <a:ext cx="3344333" cy="2718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83820" numCol="1" spcCol="1270" rtlCol="0" anchor="b" anchorCtr="1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0" i="0" u="none" kern="1200" noProof="0" dirty="0"/>
            <a:t>Проект мер по развитию налогового администрирования Республики Таджикистан </a:t>
          </a:r>
          <a:endParaRPr lang="ru-RU" sz="1100" kern="1200" noProof="0" dirty="0"/>
        </a:p>
      </dsp:txBody>
      <dsp:txXfrm>
        <a:off x="12179" y="288589"/>
        <a:ext cx="3344333" cy="271875"/>
      </dsp:txXfrm>
    </dsp:sp>
    <dsp:sp modelId="{02021B1C-43B6-4D10-859E-575A8544DE23}">
      <dsp:nvSpPr>
        <dsp:cNvPr id="0" name=""/>
        <dsp:cNvSpPr/>
      </dsp:nvSpPr>
      <dsp:spPr>
        <a:xfrm>
          <a:off x="1673073" y="623081"/>
          <a:ext cx="0" cy="134753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CE7C81-B749-41B3-98D9-9F3CDA249BFA}">
      <dsp:nvSpPr>
        <dsp:cNvPr id="0" name=""/>
        <dsp:cNvSpPr/>
      </dsp:nvSpPr>
      <dsp:spPr>
        <a:xfrm>
          <a:off x="1660632" y="558568"/>
          <a:ext cx="33688" cy="336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1C314D-04D2-45EF-9100-03C0677430A8}">
      <dsp:nvSpPr>
        <dsp:cNvPr id="0" name=""/>
        <dsp:cNvSpPr/>
      </dsp:nvSpPr>
      <dsp:spPr>
        <a:xfrm rot="5400000">
          <a:off x="3697478" y="195210"/>
          <a:ext cx="168442" cy="1282464"/>
        </a:xfrm>
        <a:prstGeom prst="round2Same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rtlCol="0" anchor="ctr" anchorCtr="1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noProof="0" dirty="0"/>
            <a:t>2026</a:t>
          </a:r>
        </a:p>
      </dsp:txBody>
      <dsp:txXfrm rot="-5400000">
        <a:off x="3140468" y="760444"/>
        <a:ext cx="1274241" cy="151996"/>
      </dsp:txXfrm>
    </dsp:sp>
    <dsp:sp modelId="{0BFE4064-B99E-4932-9841-BF336EF84A2C}">
      <dsp:nvSpPr>
        <dsp:cNvPr id="0" name=""/>
        <dsp:cNvSpPr/>
      </dsp:nvSpPr>
      <dsp:spPr>
        <a:xfrm>
          <a:off x="2491170" y="1085023"/>
          <a:ext cx="2575355" cy="4012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83820" rIns="0" bIns="0" numCol="1" spcCol="1270" rtlCol="0" anchor="t" anchorCtr="1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noProof="0" dirty="0"/>
            <a:t>Повышение эффективности за счет  принципов устойчивого развития,  клиентоориентированности </a:t>
          </a:r>
          <a:r>
            <a:rPr lang="ru-RU" sz="1100" kern="1200" noProof="0"/>
            <a:t>и цифровизации</a:t>
          </a:r>
          <a:endParaRPr lang="ru-RU" sz="1100" kern="1200" noProof="0" dirty="0"/>
        </a:p>
      </dsp:txBody>
      <dsp:txXfrm>
        <a:off x="2491170" y="1085023"/>
        <a:ext cx="2575355" cy="401251"/>
      </dsp:txXfrm>
    </dsp:sp>
    <dsp:sp modelId="{2C2F6CE1-30DD-473E-814F-FDC4C33C59D4}">
      <dsp:nvSpPr>
        <dsp:cNvPr id="0" name=""/>
        <dsp:cNvSpPr/>
      </dsp:nvSpPr>
      <dsp:spPr>
        <a:xfrm>
          <a:off x="3777941" y="973505"/>
          <a:ext cx="0" cy="134753"/>
        </a:xfrm>
        <a:prstGeom prst="line">
          <a:avLst/>
        </a:pr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655207-CB9A-425D-A20B-50BC4F3C2F32}">
      <dsp:nvSpPr>
        <dsp:cNvPr id="0" name=""/>
        <dsp:cNvSpPr/>
      </dsp:nvSpPr>
      <dsp:spPr>
        <a:xfrm>
          <a:off x="3761097" y="1108259"/>
          <a:ext cx="33688" cy="3368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4E6E73-A3C8-4495-927B-8AADA5A74297}">
      <dsp:nvSpPr>
        <dsp:cNvPr id="0" name=""/>
        <dsp:cNvSpPr/>
      </dsp:nvSpPr>
      <dsp:spPr>
        <a:xfrm rot="5400000">
          <a:off x="-1095811" y="2184317"/>
          <a:ext cx="2430000" cy="221364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3A6A4E-2D39-41D2-A6B1-B590D0C452D2}">
      <dsp:nvSpPr>
        <dsp:cNvPr id="0" name=""/>
        <dsp:cNvSpPr/>
      </dsp:nvSpPr>
      <dsp:spPr>
        <a:xfrm>
          <a:off x="8505" y="3510000"/>
          <a:ext cx="2767058" cy="810000"/>
        </a:xfrm>
        <a:prstGeom prst="homePlate">
          <a:avLst>
            <a:gd name="adj" fmla="val 25000"/>
          </a:avLst>
        </a:prstGeom>
        <a:solidFill>
          <a:schemeClr val="accent1"/>
        </a:solidFill>
        <a:ln w="15875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0" tIns="215900" rIns="107950" bIns="215900" numCol="1" spcCol="1270" rtlCol="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noProof="0" dirty="0">
              <a:effectLst>
                <a:outerShdw blurRad="50800" dist="38100" dir="2700000" algn="tl" rotWithShape="0">
                  <a:schemeClr val="tx1">
                    <a:alpha val="50000"/>
                  </a:schemeClr>
                </a:outerShdw>
              </a:effectLst>
              <a:latin typeface="+mj-lt"/>
            </a:rPr>
            <a:t>ЭТАП 01</a:t>
          </a:r>
        </a:p>
      </dsp:txBody>
      <dsp:txXfrm>
        <a:off x="8505" y="3510000"/>
        <a:ext cx="2665808" cy="810000"/>
      </dsp:txXfrm>
    </dsp:sp>
    <dsp:sp modelId="{810D7AA7-A541-4507-BE7F-36CCF210089F}">
      <dsp:nvSpPr>
        <dsp:cNvPr id="0" name=""/>
        <dsp:cNvSpPr/>
      </dsp:nvSpPr>
      <dsp:spPr>
        <a:xfrm>
          <a:off x="229870" y="1212818"/>
          <a:ext cx="2246851" cy="17810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8000" tIns="648000" rIns="288000" bIns="0" numCol="1" spcCol="1270" rtlCol="0" anchor="t" anchorCtr="0">
          <a:noAutofit/>
        </a:bodyPr>
        <a:lstStyle/>
        <a:p>
          <a:pPr lvl="0" algn="l" defTabSz="533400" rtl="0">
            <a:lnSpc>
              <a:spcPts val="15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изкий уровень </a:t>
          </a:r>
          <a:r>
            <a:rPr lang="en-US" sz="1200" kern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T</a:t>
          </a:r>
          <a:r>
            <a:rPr lang="ru-RU" sz="1200" kern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 технологий.</a:t>
          </a:r>
        </a:p>
        <a:p>
          <a:pPr lvl="0" algn="l" defTabSz="533400" rtl="0">
            <a:lnSpc>
              <a:spcPts val="1500"/>
            </a:lnSpc>
            <a:spcBef>
              <a:spcPct val="0"/>
            </a:spcBef>
            <a:spcAft>
              <a:spcPts val="0"/>
            </a:spcAft>
          </a:pPr>
          <a:r>
            <a:rPr lang="ru-RU" sz="1200" kern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логовая проверка как базовый инструмент, административное принуждение как взаимодействие  и коммуникации</a:t>
          </a:r>
        </a:p>
      </dsp:txBody>
      <dsp:txXfrm>
        <a:off x="229870" y="1212818"/>
        <a:ext cx="2246851" cy="1781027"/>
      </dsp:txXfrm>
    </dsp:sp>
    <dsp:sp modelId="{E41E7729-FD3F-426D-804C-45BD60BD762D}">
      <dsp:nvSpPr>
        <dsp:cNvPr id="0" name=""/>
        <dsp:cNvSpPr/>
      </dsp:nvSpPr>
      <dsp:spPr>
        <a:xfrm rot="5400000">
          <a:off x="1641265" y="2157417"/>
          <a:ext cx="2268599" cy="221364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6E586-0364-4C52-98F9-74A7ACD803D1}">
      <dsp:nvSpPr>
        <dsp:cNvPr id="0" name=""/>
        <dsp:cNvSpPr/>
      </dsp:nvSpPr>
      <dsp:spPr>
        <a:xfrm>
          <a:off x="2664882" y="3510000"/>
          <a:ext cx="2767058" cy="756199"/>
        </a:xfrm>
        <a:prstGeom prst="chevron">
          <a:avLst>
            <a:gd name="adj" fmla="val 25000"/>
          </a:avLst>
        </a:prstGeom>
        <a:solidFill>
          <a:schemeClr val="accent2"/>
        </a:solidFill>
        <a:ln w="15875" cap="flat" cmpd="sng" algn="ctr">
          <a:solidFill>
            <a:schemeClr val="accent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0" tIns="215900" rIns="107950" bIns="215900" numCol="1" spcCol="1270" rtlCol="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noProof="0" dirty="0">
              <a:effectLst>
                <a:outerShdw blurRad="50800" dist="38100" dir="2700000" algn="tl" rotWithShape="0">
                  <a:schemeClr val="tx1">
                    <a:alpha val="50000"/>
                  </a:schemeClr>
                </a:outerShdw>
              </a:effectLst>
              <a:latin typeface="+mj-lt"/>
            </a:rPr>
            <a:t>ЭТАП 02</a:t>
          </a:r>
        </a:p>
      </dsp:txBody>
      <dsp:txXfrm>
        <a:off x="2853932" y="3510000"/>
        <a:ext cx="2388958" cy="756199"/>
      </dsp:txXfrm>
    </dsp:sp>
    <dsp:sp modelId="{5E07F9E4-149C-4A89-848F-4ABDD305F0C5}">
      <dsp:nvSpPr>
        <dsp:cNvPr id="0" name=""/>
        <dsp:cNvSpPr/>
      </dsp:nvSpPr>
      <dsp:spPr>
        <a:xfrm>
          <a:off x="2886247" y="1245066"/>
          <a:ext cx="2246851" cy="16627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8000" tIns="648000" rIns="288000" bIns="0" numCol="1" spcCol="1270" rtlCol="0" anchor="t" anchorCtr="0">
          <a:noAutofit/>
        </a:bodyPr>
        <a:lstStyle/>
        <a:p>
          <a:pPr lvl="0" algn="l" defTabSz="533400" rtl="0">
            <a:lnSpc>
              <a:spcPts val="15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ост уровня  использования </a:t>
          </a:r>
          <a:r>
            <a:rPr lang="en-US" sz="1200" kern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T-</a:t>
          </a:r>
          <a:r>
            <a:rPr lang="ru-RU" sz="1200" kern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ехнологий</a:t>
          </a:r>
        </a:p>
        <a:p>
          <a:pPr lvl="0" algn="l" defTabSz="533400" rtl="0">
            <a:lnSpc>
              <a:spcPts val="15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Горизонтальный налоговый мониторинг</a:t>
          </a:r>
        </a:p>
        <a:p>
          <a:pPr lvl="0" algn="l" defTabSz="533400" rtl="0">
            <a:lnSpc>
              <a:spcPts val="15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noProof="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иск-ориентированный подход в проведении проверок</a:t>
          </a:r>
        </a:p>
      </dsp:txBody>
      <dsp:txXfrm>
        <a:off x="2886247" y="1245066"/>
        <a:ext cx="2246851" cy="1662731"/>
      </dsp:txXfrm>
    </dsp:sp>
    <dsp:sp modelId="{9666CF46-3CFB-4707-87A6-70C5541181DE}">
      <dsp:nvSpPr>
        <dsp:cNvPr id="0" name=""/>
        <dsp:cNvSpPr/>
      </dsp:nvSpPr>
      <dsp:spPr>
        <a:xfrm rot="5400000">
          <a:off x="4397176" y="2160629"/>
          <a:ext cx="2086519" cy="221364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2424B9-F084-4C94-95E2-21E13751922F}">
      <dsp:nvSpPr>
        <dsp:cNvPr id="0" name=""/>
        <dsp:cNvSpPr/>
      </dsp:nvSpPr>
      <dsp:spPr>
        <a:xfrm>
          <a:off x="5329753" y="3543558"/>
          <a:ext cx="2767058" cy="695506"/>
        </a:xfrm>
        <a:prstGeom prst="chevron">
          <a:avLst>
            <a:gd name="adj" fmla="val 25000"/>
          </a:avLst>
        </a:prstGeom>
        <a:solidFill>
          <a:schemeClr val="accent5"/>
        </a:solidFill>
        <a:ln w="15875" cap="flat" cmpd="sng" algn="ctr">
          <a:solidFill>
            <a:schemeClr val="accent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0" tIns="215900" rIns="107950" bIns="215900" numCol="1" spcCol="1270" rtlCol="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noProof="0" dirty="0">
              <a:effectLst>
                <a:outerShdw blurRad="50800" dist="38100" dir="2700000" algn="tl" rotWithShape="0">
                  <a:schemeClr val="tx1">
                    <a:alpha val="50000"/>
                  </a:schemeClr>
                </a:outerShdw>
              </a:effectLst>
              <a:latin typeface="+mj-lt"/>
            </a:rPr>
            <a:t>ЭТАП 0</a:t>
          </a:r>
        </a:p>
      </dsp:txBody>
      <dsp:txXfrm>
        <a:off x="5503630" y="3543558"/>
        <a:ext cx="2419305" cy="695506"/>
      </dsp:txXfrm>
    </dsp:sp>
    <dsp:sp modelId="{0CFD5F74-3D87-4B19-86F1-9C0A84432746}">
      <dsp:nvSpPr>
        <dsp:cNvPr id="0" name=""/>
        <dsp:cNvSpPr/>
      </dsp:nvSpPr>
      <dsp:spPr>
        <a:xfrm>
          <a:off x="5551118" y="1315004"/>
          <a:ext cx="2246851" cy="15292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E416CF-D8AE-41BD-BF35-9148040E1274}">
      <dsp:nvSpPr>
        <dsp:cNvPr id="0" name=""/>
        <dsp:cNvSpPr/>
      </dsp:nvSpPr>
      <dsp:spPr>
        <a:xfrm rot="5400000">
          <a:off x="7053552" y="2160629"/>
          <a:ext cx="2086519" cy="221364"/>
        </a:xfrm>
        <a:prstGeom prst="corner">
          <a:avLst>
            <a:gd name="adj1" fmla="val 1000"/>
            <a:gd name="adj2" fmla="val 1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59A9A18-D6AE-4459-8C7F-A17CAB50744A}">
      <dsp:nvSpPr>
        <dsp:cNvPr id="0" name=""/>
        <dsp:cNvSpPr/>
      </dsp:nvSpPr>
      <dsp:spPr>
        <a:xfrm>
          <a:off x="7986130" y="3543558"/>
          <a:ext cx="2767058" cy="695506"/>
        </a:xfrm>
        <a:prstGeom prst="chevron">
          <a:avLst>
            <a:gd name="adj" fmla="val 25000"/>
          </a:avLst>
        </a:prstGeom>
        <a:solidFill>
          <a:schemeClr val="accent5"/>
        </a:solidFill>
        <a:ln w="15875" cap="flat" cmpd="sng" algn="ctr">
          <a:solidFill>
            <a:schemeClr val="accent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0" tIns="215900" rIns="107950" bIns="215900" numCol="1" spcCol="1270" rtlCol="0" anchor="ctr" anchorCtr="0">
          <a:noAutofit/>
        </a:bodyPr>
        <a:lstStyle/>
        <a:p>
          <a:pPr lvl="0" algn="ctr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noProof="0" dirty="0">
              <a:effectLst>
                <a:outerShdw blurRad="50800" dist="38100" dir="2700000" algn="tl" rotWithShape="0">
                  <a:schemeClr val="tx1">
                    <a:alpha val="50000"/>
                  </a:schemeClr>
                </a:outerShdw>
              </a:effectLst>
              <a:latin typeface="+mj-lt"/>
            </a:rPr>
            <a:t>ЭТАП 05</a:t>
          </a:r>
        </a:p>
      </dsp:txBody>
      <dsp:txXfrm>
        <a:off x="8160007" y="3543558"/>
        <a:ext cx="2419305" cy="695506"/>
      </dsp:txXfrm>
    </dsp:sp>
    <dsp:sp modelId="{7F54B493-FCA8-4A1F-A2B1-FCB26CA9C396}">
      <dsp:nvSpPr>
        <dsp:cNvPr id="0" name=""/>
        <dsp:cNvSpPr/>
      </dsp:nvSpPr>
      <dsp:spPr>
        <a:xfrm>
          <a:off x="8207494" y="1315004"/>
          <a:ext cx="2246851" cy="15292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8000" tIns="648000" rIns="288000" bIns="0" numCol="1" spcCol="1270" rtlCol="0" anchor="t" anchorCtr="0">
          <a:noAutofit/>
        </a:bodyPr>
        <a:lstStyle/>
        <a:p>
          <a:pPr marL="0" lvl="0" indent="0" algn="l" defTabSz="533400" rtl="0">
            <a:lnSpc>
              <a:spcPts val="15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kern="1200" noProof="0" dirty="0">
              <a:solidFill>
                <a:srgbClr val="666666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Интеграция и «размывание» границ налогового сервиса с сопряженными сервисами инфраструктуры ведения бизнеса и его администрирования: сделка в цифровой среде</a:t>
          </a:r>
        </a:p>
      </dsp:txBody>
      <dsp:txXfrm>
        <a:off x="8207494" y="1315004"/>
        <a:ext cx="2246851" cy="152927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3E70B-EE6D-407B-8E1F-FE26817B3B1D}">
      <dsp:nvSpPr>
        <dsp:cNvPr id="0" name=""/>
        <dsp:cNvSpPr/>
      </dsp:nvSpPr>
      <dsp:spPr>
        <a:xfrm>
          <a:off x="0" y="1988954"/>
          <a:ext cx="10013709" cy="165746"/>
        </a:xfrm>
        <a:prstGeom prst="rect">
          <a:avLst/>
        </a:prstGeom>
        <a:solidFill>
          <a:schemeClr val="accent3"/>
        </a:solid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A550E8-D286-40B4-9B20-40DE0FCA02CE}">
      <dsp:nvSpPr>
        <dsp:cNvPr id="0" name=""/>
        <dsp:cNvSpPr/>
      </dsp:nvSpPr>
      <dsp:spPr>
        <a:xfrm>
          <a:off x="1470803" y="1284533"/>
          <a:ext cx="0" cy="787294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8DCC00-CC60-4F76-9C61-F00E7DBFC778}">
      <dsp:nvSpPr>
        <dsp:cNvPr id="0" name=""/>
        <dsp:cNvSpPr/>
      </dsp:nvSpPr>
      <dsp:spPr>
        <a:xfrm>
          <a:off x="42543" y="662984"/>
          <a:ext cx="2804573" cy="62154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1306" tIns="37276" rIns="141306" bIns="37276" numCol="1" spcCol="1270" rtlCol="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Char char="•"/>
          </a:pPr>
          <a:r>
            <a:rPr lang="ru-RU" sz="1200" kern="1200" spc="100" baseline="0" dirty="0">
              <a:solidFill>
                <a:schemeClr val="tx1"/>
              </a:solidFill>
            </a:rPr>
            <a:t>Контрольная функция налогового администрирования</a:t>
          </a:r>
        </a:p>
      </dsp:txBody>
      <dsp:txXfrm>
        <a:off x="42543" y="662984"/>
        <a:ext cx="2804573" cy="621548"/>
      </dsp:txXfrm>
    </dsp:sp>
    <dsp:sp modelId="{5C96A5F5-16B2-4AEA-9591-B66C220F4A65}">
      <dsp:nvSpPr>
        <dsp:cNvPr id="0" name=""/>
        <dsp:cNvSpPr/>
      </dsp:nvSpPr>
      <dsp:spPr>
        <a:xfrm>
          <a:off x="137711" y="2225143"/>
          <a:ext cx="2648206" cy="468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rtlCol="0" anchor="t" anchorCtr="1">
          <a:noAutofit/>
        </a:bodyPr>
        <a:lstStyle/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kern="1200" spc="100" dirty="0">
              <a:solidFill>
                <a:schemeClr val="tx1"/>
              </a:solidFill>
            </a:rPr>
            <a:t>Налоговый контроль</a:t>
          </a:r>
        </a:p>
      </dsp:txBody>
      <dsp:txXfrm>
        <a:off x="137711" y="2225143"/>
        <a:ext cx="2648206" cy="468233"/>
      </dsp:txXfrm>
    </dsp:sp>
    <dsp:sp modelId="{B3AC6DBE-85B6-4AF3-BADF-7E1E82B735CC}">
      <dsp:nvSpPr>
        <dsp:cNvPr id="0" name=""/>
        <dsp:cNvSpPr/>
      </dsp:nvSpPr>
      <dsp:spPr>
        <a:xfrm>
          <a:off x="1421034" y="2020032"/>
          <a:ext cx="99539" cy="10359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186A17-7B9F-4674-AD57-FF0C87A3CB32}">
      <dsp:nvSpPr>
        <dsp:cNvPr id="0" name=""/>
        <dsp:cNvSpPr/>
      </dsp:nvSpPr>
      <dsp:spPr>
        <a:xfrm>
          <a:off x="2964234" y="2071828"/>
          <a:ext cx="0" cy="787294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73CBFE-397D-467A-A65B-E19FAB2953BB}">
      <dsp:nvSpPr>
        <dsp:cNvPr id="0" name=""/>
        <dsp:cNvSpPr/>
      </dsp:nvSpPr>
      <dsp:spPr>
        <a:xfrm>
          <a:off x="1288166" y="2859122"/>
          <a:ext cx="3352136" cy="62154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3871" tIns="37276" rIns="143871" bIns="37276" numCol="1" spcCol="1270" rtlCol="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Char char="•"/>
          </a:pPr>
          <a:r>
            <a:rPr lang="ru-RU" sz="1200" kern="1200" spc="100" baseline="0" dirty="0">
              <a:solidFill>
                <a:schemeClr val="tx1"/>
              </a:solidFill>
            </a:rPr>
            <a:t>Расширения и гуманизация взаимодействия с налогоплательщиком</a:t>
          </a:r>
        </a:p>
      </dsp:txBody>
      <dsp:txXfrm>
        <a:off x="1288166" y="2859122"/>
        <a:ext cx="3352136" cy="621548"/>
      </dsp:txXfrm>
    </dsp:sp>
    <dsp:sp modelId="{730471FC-8FAF-49B2-8F42-63D391F759BE}">
      <dsp:nvSpPr>
        <dsp:cNvPr id="0" name=""/>
        <dsp:cNvSpPr/>
      </dsp:nvSpPr>
      <dsp:spPr>
        <a:xfrm>
          <a:off x="1640163" y="1450279"/>
          <a:ext cx="2648206" cy="468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rtlCol="0" anchor="b" anchorCtr="1">
          <a:noAutofit/>
        </a:bodyPr>
        <a:lstStyle/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kern="1200" spc="100" dirty="0">
              <a:solidFill>
                <a:schemeClr val="tx1"/>
              </a:solidFill>
            </a:rPr>
            <a:t>Налоговая услуга</a:t>
          </a:r>
        </a:p>
      </dsp:txBody>
      <dsp:txXfrm>
        <a:off x="1640163" y="1450279"/>
        <a:ext cx="2648206" cy="468233"/>
      </dsp:txXfrm>
    </dsp:sp>
    <dsp:sp modelId="{F34C40A7-6131-4EF1-9887-E7EEA86D1562}">
      <dsp:nvSpPr>
        <dsp:cNvPr id="0" name=""/>
        <dsp:cNvSpPr/>
      </dsp:nvSpPr>
      <dsp:spPr>
        <a:xfrm>
          <a:off x="2904631" y="2020032"/>
          <a:ext cx="119206" cy="10359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1C3FD7B-71E0-4012-B7CE-2C80433ED975}">
      <dsp:nvSpPr>
        <dsp:cNvPr id="0" name=""/>
        <dsp:cNvSpPr/>
      </dsp:nvSpPr>
      <dsp:spPr>
        <a:xfrm>
          <a:off x="4998634" y="1062567"/>
          <a:ext cx="0" cy="1231226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67EBEC-ACAC-4EF4-B856-39067B4D928B}">
      <dsp:nvSpPr>
        <dsp:cNvPr id="0" name=""/>
        <dsp:cNvSpPr/>
      </dsp:nvSpPr>
      <dsp:spPr>
        <a:xfrm>
          <a:off x="3486991" y="487748"/>
          <a:ext cx="3023284" cy="97202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3871" tIns="37276" rIns="143871" bIns="37276" numCol="1" spcCol="1270" rtlCol="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Char char="•"/>
          </a:pPr>
          <a:r>
            <a:rPr lang="ru-RU" sz="1200" kern="1200" spc="150" baseline="0" dirty="0">
              <a:solidFill>
                <a:schemeClr val="tx1"/>
              </a:solidFill>
            </a:rPr>
            <a:t>Цифровизация налогового обслуживания и создание системы налоговых услуг</a:t>
          </a:r>
        </a:p>
      </dsp:txBody>
      <dsp:txXfrm>
        <a:off x="3486991" y="487748"/>
        <a:ext cx="3023284" cy="972020"/>
      </dsp:txXfrm>
    </dsp:sp>
    <dsp:sp modelId="{7605329C-2B32-4CD7-9B69-1B3DAB88562E}">
      <dsp:nvSpPr>
        <dsp:cNvPr id="0" name=""/>
        <dsp:cNvSpPr/>
      </dsp:nvSpPr>
      <dsp:spPr>
        <a:xfrm>
          <a:off x="3386753" y="2225143"/>
          <a:ext cx="2648206" cy="468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rtlCol="0" anchor="t" anchorCtr="1">
          <a:noAutofit/>
        </a:bodyPr>
        <a:lstStyle/>
        <a:p>
          <a:pPr lvl="0" algn="ctr" defTabSz="6223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kern="1200" spc="100" dirty="0">
              <a:solidFill>
                <a:schemeClr val="tx1"/>
              </a:solidFill>
            </a:rPr>
            <a:t>Налоговый сервис</a:t>
          </a:r>
        </a:p>
      </dsp:txBody>
      <dsp:txXfrm>
        <a:off x="3386753" y="2225143"/>
        <a:ext cx="2648206" cy="468233"/>
      </dsp:txXfrm>
    </dsp:sp>
    <dsp:sp modelId="{79B0CEDC-0005-4ACE-AB25-DB9533DC85C2}">
      <dsp:nvSpPr>
        <dsp:cNvPr id="0" name=""/>
        <dsp:cNvSpPr/>
      </dsp:nvSpPr>
      <dsp:spPr>
        <a:xfrm>
          <a:off x="4944878" y="1990826"/>
          <a:ext cx="107512" cy="162003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9D58D6-E34B-4990-86E2-B1CAE3536A29}">
      <dsp:nvSpPr>
        <dsp:cNvPr id="0" name=""/>
        <dsp:cNvSpPr/>
      </dsp:nvSpPr>
      <dsp:spPr>
        <a:xfrm>
          <a:off x="6808066" y="2071828"/>
          <a:ext cx="0" cy="787294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0E0A3B-47C8-4C2F-8C45-EC9C3DFA1FFB}">
      <dsp:nvSpPr>
        <dsp:cNvPr id="0" name=""/>
        <dsp:cNvSpPr/>
      </dsp:nvSpPr>
      <dsp:spPr>
        <a:xfrm>
          <a:off x="5323718" y="2859122"/>
          <a:ext cx="2968694" cy="70956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3871" tIns="42554" rIns="143871" bIns="42554" numCol="1" spcCol="1270" rtlCol="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ru-RU" sz="1200" kern="1200" spc="100" baseline="0" dirty="0">
              <a:solidFill>
                <a:schemeClr val="tx1"/>
              </a:solidFill>
            </a:rPr>
            <a:t>Цифровизация сделок.  Формирование сервисов  электронного взаимодействия бизнеса</a:t>
          </a:r>
        </a:p>
      </dsp:txBody>
      <dsp:txXfrm>
        <a:off x="5323718" y="2859122"/>
        <a:ext cx="2968694" cy="709560"/>
      </dsp:txXfrm>
    </dsp:sp>
    <dsp:sp modelId="{5646D4EB-C7F1-4D0E-8051-C7D6C1D31ADE}">
      <dsp:nvSpPr>
        <dsp:cNvPr id="0" name=""/>
        <dsp:cNvSpPr/>
      </dsp:nvSpPr>
      <dsp:spPr>
        <a:xfrm>
          <a:off x="5482146" y="1450279"/>
          <a:ext cx="2648206" cy="468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rtlCol="0" anchor="b" anchorCtr="1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Char char="•"/>
          </a:pPr>
          <a:endParaRPr lang="ru-RU" sz="1400" kern="1200" spc="100" dirty="0">
            <a:solidFill>
              <a:schemeClr val="tx1"/>
            </a:solidFill>
          </a:endParaRPr>
        </a:p>
      </dsp:txBody>
      <dsp:txXfrm>
        <a:off x="5482146" y="1450279"/>
        <a:ext cx="2648206" cy="468233"/>
      </dsp:txXfrm>
    </dsp:sp>
    <dsp:sp modelId="{A72D3A03-5E34-4B13-9747-5EFFE003B8C1}">
      <dsp:nvSpPr>
        <dsp:cNvPr id="0" name=""/>
        <dsp:cNvSpPr/>
      </dsp:nvSpPr>
      <dsp:spPr>
        <a:xfrm>
          <a:off x="6755280" y="2020032"/>
          <a:ext cx="105571" cy="10359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DE62C25-DC37-4130-AE3D-9F589C2E8903}">
      <dsp:nvSpPr>
        <dsp:cNvPr id="0" name=""/>
        <dsp:cNvSpPr/>
      </dsp:nvSpPr>
      <dsp:spPr>
        <a:xfrm>
          <a:off x="8457235" y="1281362"/>
          <a:ext cx="0" cy="821723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7020A5-7024-4F77-9051-8B38AF80BE13}">
      <dsp:nvSpPr>
        <dsp:cNvPr id="0" name=""/>
        <dsp:cNvSpPr/>
      </dsp:nvSpPr>
      <dsp:spPr>
        <a:xfrm>
          <a:off x="6900761" y="-14043"/>
          <a:ext cx="3112947" cy="134070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3871" tIns="77036" rIns="143871" bIns="77036" numCol="1" spcCol="1270" rtlCol="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endParaRPr lang="ru-RU" sz="1000" kern="1200" spc="100" baseline="0" dirty="0">
            <a:solidFill>
              <a:schemeClr val="tx1"/>
            </a:solidFill>
          </a:endParaRPr>
        </a:p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ru-RU" sz="1200" kern="1200" spc="100" baseline="0" dirty="0">
              <a:solidFill>
                <a:schemeClr val="tx1"/>
              </a:solidFill>
            </a:rPr>
            <a:t>Сервисы налогового администрирования и их обеспечение интегрированы с методологическим и IT-обеспечением цифровой сделки в наднациональном информационно-цифровом пространстве </a:t>
          </a:r>
        </a:p>
      </dsp:txBody>
      <dsp:txXfrm>
        <a:off x="6900761" y="-14043"/>
        <a:ext cx="3112947" cy="1340706"/>
      </dsp:txXfrm>
    </dsp:sp>
    <dsp:sp modelId="{03CEA676-E009-456C-B86F-9C9A7D3DA364}">
      <dsp:nvSpPr>
        <dsp:cNvPr id="0" name=""/>
        <dsp:cNvSpPr/>
      </dsp:nvSpPr>
      <dsp:spPr>
        <a:xfrm>
          <a:off x="7210789" y="2239186"/>
          <a:ext cx="2648206" cy="468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rtlCol="0" anchor="t" anchorCtr="1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Char char="•"/>
          </a:pPr>
          <a:r>
            <a:rPr lang="ru-RU" sz="1400" kern="1200" spc="100" dirty="0">
              <a:solidFill>
                <a:schemeClr val="tx1"/>
              </a:solidFill>
            </a:rPr>
            <a:t>Интегрированные </a:t>
          </a:r>
          <a:r>
            <a:rPr lang="ru-RU" sz="1400" kern="1200" spc="100" dirty="0" err="1">
              <a:solidFill>
                <a:schemeClr val="tx1"/>
              </a:solidFill>
            </a:rPr>
            <a:t>суперсервисы</a:t>
          </a:r>
          <a:r>
            <a:rPr lang="ru-RU" sz="1400" kern="1200" spc="100" dirty="0">
              <a:solidFill>
                <a:schemeClr val="tx1"/>
              </a:solidFill>
            </a:rPr>
            <a:t> –</a:t>
          </a:r>
          <a:r>
            <a:rPr lang="ru-RU" sz="1400" b="1" kern="1200" spc="100" dirty="0">
              <a:solidFill>
                <a:schemeClr val="tx1"/>
              </a:solidFill>
            </a:rPr>
            <a:t>перспектива развития</a:t>
          </a:r>
        </a:p>
      </dsp:txBody>
      <dsp:txXfrm>
        <a:off x="7210789" y="2239186"/>
        <a:ext cx="2648206" cy="468233"/>
      </dsp:txXfrm>
    </dsp:sp>
    <dsp:sp modelId="{864F9172-41AB-4727-BD60-71E6F62154FB}">
      <dsp:nvSpPr>
        <dsp:cNvPr id="0" name=""/>
        <dsp:cNvSpPr/>
      </dsp:nvSpPr>
      <dsp:spPr>
        <a:xfrm>
          <a:off x="8401884" y="2031810"/>
          <a:ext cx="110700" cy="10812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D6355A-30C0-431B-9FCA-5D87BF58ED0E}">
      <dsp:nvSpPr>
        <dsp:cNvPr id="0" name=""/>
        <dsp:cNvSpPr/>
      </dsp:nvSpPr>
      <dsp:spPr>
        <a:xfrm>
          <a:off x="6162841" y="3166144"/>
          <a:ext cx="3464070" cy="143581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/>
            <a:t>Обеспечение межгосударственных связей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/>
            <a:t>Устойчивость социальных эффектов  и соблюдение налогового законодательства</a:t>
          </a:r>
        </a:p>
      </dsp:txBody>
      <dsp:txXfrm>
        <a:off x="7233602" y="3556637"/>
        <a:ext cx="2361769" cy="1013780"/>
      </dsp:txXfrm>
    </dsp:sp>
    <dsp:sp modelId="{CA0A88D7-6A60-4351-BC75-09E17E84CA92}">
      <dsp:nvSpPr>
        <dsp:cNvPr id="0" name=""/>
        <dsp:cNvSpPr/>
      </dsp:nvSpPr>
      <dsp:spPr>
        <a:xfrm>
          <a:off x="2157971" y="3166144"/>
          <a:ext cx="2730862" cy="143581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200" kern="1200" dirty="0"/>
            <a:t>Генерация добавленной стоимости в экономике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1200" kern="1200" dirty="0"/>
            <a:t>Создание новых цепочек производства</a:t>
          </a:r>
        </a:p>
        <a:p>
          <a:pPr marL="57150" lvl="1" indent="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200" kern="1200" dirty="0"/>
        </a:p>
      </dsp:txBody>
      <dsp:txXfrm>
        <a:off x="2189511" y="3556637"/>
        <a:ext cx="1848523" cy="1013780"/>
      </dsp:txXfrm>
    </dsp:sp>
    <dsp:sp modelId="{72C1ECCB-7BD3-4443-B47A-80F747188B28}">
      <dsp:nvSpPr>
        <dsp:cNvPr id="0" name=""/>
        <dsp:cNvSpPr/>
      </dsp:nvSpPr>
      <dsp:spPr>
        <a:xfrm>
          <a:off x="6204767" y="214729"/>
          <a:ext cx="2759411" cy="143581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/>
            <a:t>Эффективное распределение капитала  и коммуникации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/>
            <a:t>Расширение информационного охвата  </a:t>
          </a:r>
        </a:p>
      </dsp:txBody>
      <dsp:txXfrm>
        <a:off x="7064130" y="246269"/>
        <a:ext cx="1868507" cy="1013780"/>
      </dsp:txXfrm>
    </dsp:sp>
    <dsp:sp modelId="{F2739232-1A7C-412A-A5C1-B3F1C58D1CB9}">
      <dsp:nvSpPr>
        <dsp:cNvPr id="0" name=""/>
        <dsp:cNvSpPr/>
      </dsp:nvSpPr>
      <dsp:spPr>
        <a:xfrm>
          <a:off x="1750649" y="238477"/>
          <a:ext cx="2841001" cy="174258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/>
            <a:t>Развитие экономической культуры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/>
            <a:t>Повышение хозяйственной эффективности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00" kern="1200" dirty="0"/>
        </a:p>
      </dsp:txBody>
      <dsp:txXfrm>
        <a:off x="1788928" y="276756"/>
        <a:ext cx="1912143" cy="1230384"/>
      </dsp:txXfrm>
    </dsp:sp>
    <dsp:sp modelId="{D5081B4B-020D-4132-B70C-2062D368C8D0}">
      <dsp:nvSpPr>
        <dsp:cNvPr id="0" name=""/>
        <dsp:cNvSpPr/>
      </dsp:nvSpPr>
      <dsp:spPr>
        <a:xfrm>
          <a:off x="3499693" y="294101"/>
          <a:ext cx="1942835" cy="1942835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/>
            <a:t>Налогопла-тельщики</a:t>
          </a:r>
          <a:endParaRPr lang="ru-RU" sz="1800" kern="1200" dirty="0"/>
        </a:p>
      </dsp:txBody>
      <dsp:txXfrm>
        <a:off x="4068736" y="863144"/>
        <a:ext cx="1373792" cy="1373792"/>
      </dsp:txXfrm>
    </dsp:sp>
    <dsp:sp modelId="{6934965C-C0EE-4AC2-AFD7-ACB14B1BA706}">
      <dsp:nvSpPr>
        <dsp:cNvPr id="0" name=""/>
        <dsp:cNvSpPr/>
      </dsp:nvSpPr>
      <dsp:spPr>
        <a:xfrm rot="5400000">
          <a:off x="5532266" y="294101"/>
          <a:ext cx="1942835" cy="1942835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/>
            <a:t>инвесторы</a:t>
          </a:r>
        </a:p>
      </dsp:txBody>
      <dsp:txXfrm rot="-5400000">
        <a:off x="5532266" y="863144"/>
        <a:ext cx="1373792" cy="1373792"/>
      </dsp:txXfrm>
    </dsp:sp>
    <dsp:sp modelId="{08EB1196-40C1-4EBC-B911-DE79DDC12AD4}">
      <dsp:nvSpPr>
        <dsp:cNvPr id="0" name=""/>
        <dsp:cNvSpPr/>
      </dsp:nvSpPr>
      <dsp:spPr>
        <a:xfrm rot="10800000">
          <a:off x="5532266" y="2326674"/>
          <a:ext cx="1942835" cy="1942835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/>
            <a:t>Субъекты регулирования</a:t>
          </a:r>
        </a:p>
      </dsp:txBody>
      <dsp:txXfrm rot="10800000">
        <a:off x="5532266" y="2326674"/>
        <a:ext cx="1373792" cy="1373792"/>
      </dsp:txXfrm>
    </dsp:sp>
    <dsp:sp modelId="{BAFAE172-D416-443D-BD72-A9F721299068}">
      <dsp:nvSpPr>
        <dsp:cNvPr id="0" name=""/>
        <dsp:cNvSpPr/>
      </dsp:nvSpPr>
      <dsp:spPr>
        <a:xfrm rot="16200000">
          <a:off x="3499693" y="2326674"/>
          <a:ext cx="1942835" cy="1942835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/>
            <a:t>Рынки</a:t>
          </a:r>
        </a:p>
      </dsp:txBody>
      <dsp:txXfrm rot="5400000">
        <a:off x="4068736" y="2326674"/>
        <a:ext cx="1373792" cy="1373792"/>
      </dsp:txXfrm>
    </dsp:sp>
    <dsp:sp modelId="{B47C2A74-11D9-4147-B5AB-CCE99EE3FA95}">
      <dsp:nvSpPr>
        <dsp:cNvPr id="0" name=""/>
        <dsp:cNvSpPr/>
      </dsp:nvSpPr>
      <dsp:spPr>
        <a:xfrm>
          <a:off x="5152000" y="1877982"/>
          <a:ext cx="670794" cy="58329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25EDE6-59C9-46C6-9B7E-CE37926AC346}">
      <dsp:nvSpPr>
        <dsp:cNvPr id="0" name=""/>
        <dsp:cNvSpPr/>
      </dsp:nvSpPr>
      <dsp:spPr>
        <a:xfrm rot="10800000">
          <a:off x="5152000" y="2102328"/>
          <a:ext cx="670794" cy="58329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RoundedRectangleTimeline">
  <dgm:title val="Временная шкала со скругленными прямоугольниками "/>
  <dgm:desc val="Используется для отображения списка событий в хронологическом порядке. Невидимое поле содержит описание, а дата отображается в прямоугольниках, кроме первого и последнего узла, у которых углы прямоугольника скруглены. В ней может содержаться большое количество текста с длинным описательным форматом даты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animLvl val="lvl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val="18"/>
      <dgm:constr type="primFontSz" for="des" forName="Childtext" val="18"/>
      <dgm:constr type="primFontSz" for="des" forName="Childtext" refType="primFontSz" refFor="des" refForName="parent" op="lte"/>
      <dgm:constr type="w" for="ch" forName="composite" refType="w"/>
      <dgm:constr type="h" for="ch" forName="composite" refType="h"/>
      <dgm:constr type="w" for="ch" forName="spaceBetweenRectangles" refType="w" refFor="ch" refForName="composite" fact="-0.4"/>
      <dgm:constr type="w" for="ch" ptType="sibTrans" op="equ"/>
      <dgm:constr type="primFontSz" for="des" forName="parent" op="equ"/>
      <dgm:constr type="primFontSz" for="des" forName="Childtext" op="equ"/>
      <dgm:constr type="primFontSz" for="des" forName="parent1" val="18"/>
      <dgm:constr type="primFontSz" for="des" forName="Childtext1" val="18"/>
      <dgm:constr type="primFontSz" for="des" forName="Childtext1" refType="primFontSz" refFor="des" refForName="parent1" op="lte"/>
      <dgm:constr type="w" for="ch" forName="composite1" refType="w"/>
      <dgm:constr type="h" for="ch" forName="composite1" refType="h"/>
      <dgm:constr type="w" for="ch" forName="spaceBetweenRectangles1" refType="w" refFor="ch" refForName="composite1" fact="-0.4"/>
      <dgm:constr type="primFontSz" for="des" forName="parent1" op="equ"/>
      <dgm:constr type="primFontSz" for="des" forName="Childtext1" op="equ"/>
    </dgm:constrLst>
    <dgm:choose name="layoutByNodeCnt">
      <dgm:if name="twoOrLessNodes" axis="ch" ptType="node" func="cnt" op="lte" val="2">
        <dgm:forEach name="nodesForEach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choose name="casesForFirstAndLastNode1">
              <dgm:if name="startNode1" axis="self" ptType="node" func="pos" op="equ" val="1">
                <dgm:choose name="removeLineWhenOnlyOneNode1">
                  <dgm:if name="ifOnlyOneNode1" axis="followSib" ptType="node" func="cnt" op="equ" val="0">
                    <dgm:constrLst>
                      <dgm:constr type="w" for="ch" forName="parent" refType="w" fact="0.95"/>
                      <dgm:constr type="l" for="ch" forName="parent" refType="w" fact="0.025"/>
                      <dgm:constr type="t" for="ch" forName="parent" refType="h" fact="0.45"/>
                      <dgm:constr type="h" for="ch" forName="parent" refType="h" fact="0.1"/>
                      <dgm:constr type="l" for="ch" forName="Childtext" refType="w" fact="0.025"/>
                      <dgm:constr type="w" for="ch" forName="Childtext" refType="w" fact="0.95"/>
                      <dgm:constr type="h" for="ch" forName="Childtext" refType="h" fact="0.35"/>
                      <dgm:constr type="w" for="ch" forName="ConnectLine"/>
                      <dgm:constr type="h" for="ch" forName="ConnectLine" refType="h" fact="0.08"/>
                      <dgm:constr type="t" for="ch" forName="ConnectLine" refType="h" fact="0.37"/>
                      <dgm:constr type="ctrX" for="ch" forName="ConnectLine" refType="w" fact="0.5"/>
                      <dgm:constr type="w" for="ch" forName="ConnectLineEnd" refType="h" fact="0.02"/>
                      <dgm:constr type="h" for="ch" forName="ConnectLineEnd" refType="h" fact="0.02"/>
                      <dgm:constr type="t" for="ch" forName="ConnectLineEnd" refType="h" fact="0.35"/>
                      <dgm:constr type="ctrX" for="ch" forName="ConnectLineEnd" refType="w" fact="0.5"/>
                      <dgm:constr type="w" for="ch" forName="EmptyPane" refType="w"/>
                      <dgm:constr type="t" for="ch" forName="EmptyPane" refType="h" fact="0.55"/>
                      <dgm:constr type="h" for="ch" forName="EmptyPane" refType="h" fact="0.45"/>
                    </dgm:constrLst>
                  </dgm:if>
                  <dgm:else name="ifMoreThanOneNode1">
                    <dgm:constrLst>
                      <dgm:constr type="w" for="ch" forName="parent" refType="w" fact="0.6"/>
                      <dgm:constr type="l" for="ch" forName="parent" refType="w" fact="0.2"/>
                      <dgm:constr type="t" for="ch" forName="parent" refType="h" fact="0.45"/>
                      <dgm:constr type="h" for="ch" forName="parent" refType="h" fact="0.1"/>
                      <dgm:constr type="l" for="ch" forName="Childtext" refType="w" fact="0.2"/>
                      <dgm:constr type="w" for="ch" forName="Childtext" refType="w" fact="0.6"/>
                      <dgm:constr type="h" for="ch" forName="Childtext" refType="h" fact="0.35"/>
                      <dgm:constr type="w" for="ch" forName="ConnectLine"/>
                      <dgm:constr type="h" for="ch" forName="ConnectLine" refType="h" fact="0.08"/>
                      <dgm:constr type="t" for="ch" forName="ConnectLine" refType="h" fact="0.37"/>
                      <dgm:constr type="ctrX" for="ch" forName="ConnectLine" refType="w" fact="0.5"/>
                      <dgm:constr type="w" for="ch" forName="ConnectLineEnd" refType="h" fact="0.02"/>
                      <dgm:constr type="h" for="ch" forName="ConnectLineEnd" refType="h" fact="0.02"/>
                      <dgm:constr type="t" for="ch" forName="ConnectLineEnd" refType="h" fact="0.35"/>
                      <dgm:constr type="ctrX" for="ch" forName="ConnectLineEnd" refType="w" fact="0.5"/>
                      <dgm:constr type="w" for="ch" forName="EmptyPane" refType="w"/>
                      <dgm:constr type="t" for="ch" forName="EmptyPane" refType="h" fact="0.55"/>
                      <dgm:constr type="h" for="ch" forName="EmptyPane" refType="h" fact="0.45"/>
                    </dgm:constrLst>
                  </dgm:else>
                </dgm:choose>
              </dgm:if>
              <dgm:else name="notStartNode1">
                <dgm:constrLst>
                  <dgm:constr type="w" for="ch" forName="parent" refType="w" fact="0.6"/>
                  <dgm:constr type="l" for="ch" forName="parent" refType="w" fact="0.2"/>
                  <dgm:constr type="t" for="ch" forName="parent" refType="h" fact="0.45"/>
                  <dgm:constr type="h" for="ch" forName="parent" refType="h" fact="0.1"/>
                  <dgm:constr type="l" for="ch" forName="Childtext" refType="w" fact="0.2"/>
                  <dgm:constr type="w" for="ch" forName="Childtext" refType="w" fact="0.6"/>
                  <dgm:constr type="h" for="ch" forName="Childtext" refType="h" fact="0.35"/>
                  <dgm:constr type="t" for="ch" forName="Childtext" refType="h" fact="0.65"/>
                  <dgm:constr type="w" for="ch" forName="ConnectLine"/>
                  <dgm:constr type="h" for="ch" forName="ConnectLine" refType="h" fact="0.08"/>
                  <dgm:constr type="t" for="ch" forName="ConnectLine" refType="h" fact="0.55"/>
                  <dgm:constr type="ctrX" for="ch" forName="ConnectLine" refType="w" fact="0.5"/>
                  <dgm:constr type="w" for="ch" forName="ConnectLineEnd" refType="h" fact="0.02"/>
                  <dgm:constr type="h" for="ch" forName="ConnectLineEnd" refType="h" fact="0.02"/>
                  <dgm:constr type="b" for="ch" forName="ConnectLineEnd" refType="h" fact="0.65"/>
                  <dgm:constr type="ctrX" for="ch" forName="ConnectLineEnd" refType="w" fact="0.5"/>
                  <dgm:constr type="w" for="ch" forName="EmptyPane" refType="w"/>
                  <dgm:constr type="h" for="ch" forName="EmptyPane" refType="h" fact="0.45"/>
                </dgm:constrLst>
              </dgm:else>
            </dgm:choose>
            <dgm:layoutNode name="parent" styleLbl="alignNode1">
              <dgm:varLst>
                <dgm:chMax val="1"/>
                <dgm:chPref val="1"/>
                <dgm:bulletEnabled val="1"/>
              </dgm:varLst>
              <dgm:alg type="tx">
                <dgm:param type="txAnchorHorz" val="ctr"/>
                <dgm:param type="txAnchorVert" val="mid"/>
                <dgm:param type="parTxLTRAlign" val="ctr"/>
                <dgm:param type="parTxRTLAlign" val="ctr"/>
              </dgm:alg>
              <dgm:choose name="casesForFirstAndLastNode">
                <dgm:if name="startNode" axis="self" ptType="node" func="pos" op="equ" val="1">
                  <dgm:choose name="removeLineWhenOnlyOneNode">
                    <dgm:if name="ifOnlyOneNode" axis="followSib" ptType="node" func="cnt" op="equ" val="0">
                      <dgm:shape xmlns:r="http://schemas.openxmlformats.org/officeDocument/2006/relationships" type="roundRect" r:blip="">
                        <dgm:adjLst/>
                      </dgm:shape>
                    </dgm:if>
                    <dgm:else name="ifMoreThanOneNode">
                      <dgm:choose name="Name18">
                        <dgm:if name="Name19" func="var" arg="dir" op="equ" val="norm">
                          <dgm:shape xmlns:r="http://schemas.openxmlformats.org/officeDocument/2006/relationships" rot="-90" type="round2SameRect" r:blip="">
                            <dgm:adjLst/>
                          </dgm:shape>
                        </dgm:if>
                        <dgm:else name="Name20">
                          <dgm:shape xmlns:r="http://schemas.openxmlformats.org/officeDocument/2006/relationships" rot="90" type="round2SameRect" r:blip="">
                            <dgm:adjLst/>
                          </dgm:shape>
                        </dgm:else>
                      </dgm:choose>
                    </dgm:else>
                  </dgm:choose>
                </dgm:if>
                <dgm:else name="notStartNode">
                  <dgm:choose name="Name22">
                    <dgm:if name="Name23" axis="self" ptType="node" func="revPos" op="equ" val="1">
                      <dgm:choose name="Name24">
                        <dgm:if name="Name25" func="var" arg="dir" op="equ" val="norm">
                          <dgm:shape xmlns:r="http://schemas.openxmlformats.org/officeDocument/2006/relationships" rot="90" type="round2SameRect" r:blip="">
                            <dgm:adjLst/>
                          </dgm:shape>
                        </dgm:if>
                        <dgm:else name="Name26">
                          <dgm:shape xmlns:r="http://schemas.openxmlformats.org/officeDocument/2006/relationships" rot="-90" type="round2SameRect" r:blip="">
                            <dgm:adjLst/>
                          </dgm:shape>
                        </dgm:else>
                      </dgm:choose>
                    </dgm:if>
                    <dgm:else name="Name27">
                      <dgm:shape xmlns:r="http://schemas.openxmlformats.org/officeDocument/2006/relationships" type="rect" r:blip="">
                        <dgm:adjLst/>
                      </dgm:shape>
                    </dgm:else>
                  </dgm:choose>
                </dgm:else>
              </dgm:choose>
              <dgm:presOf axis="self" ptType="node"/>
              <dgm:constrLst>
                <dgm:constr type="lMarg" refType="primFontSz" fact="0.6"/>
                <dgm:constr type="rMarg" refType="primFontSz" fact="0.6"/>
                <dgm:constr type="tMarg" refType="primFontSz" fact="0.6"/>
                <dgm:constr type="bMarg" refType="primFontSz" fact="0.6"/>
              </dgm:constrLst>
              <dgm:ruleLst>
                <dgm:rule type="primFontSz" val="11" fact="NaN" max="NaN"/>
              </dgm:ruleLst>
            </dgm:layoutNode>
            <dgm:layoutNode name="Childtext" styleLbl="revTx">
              <dgm:varLst>
                <dgm:bulletEnabled val="1"/>
              </dgm:varLst>
              <dgm:choose name="casesForTxtDirLogic">
                <dgm:if name="Name77" axis="self" ptType="node" func="posOdd" op="equ" val="1">
                  <dgm:alg type="tx">
                    <dgm:param type="txAnchorVert" val="b"/>
                    <dgm:param type="txAnchorHorz" val="ctr"/>
                    <dgm:param type="parTxLTRAlign" val="ctr"/>
                    <dgm:param type="parTxRTLAlign" val="ctr"/>
                  </dgm:alg>
                  <dgm:constrLst>
                    <dgm:constr type="lMarg"/>
                    <dgm:constr type="rMarg"/>
                    <dgm:constr type="tMarg"/>
                    <dgm:constr type="bMarg" refType="primFontSz" fact="0.6"/>
                  </dgm:constrLst>
                </dgm:if>
                <dgm:else name="Name88">
                  <dgm:alg type="tx">
                    <dgm:param type="txAnchorVert" val="t"/>
                    <dgm:param type="txAnchorHorz" val="ctr"/>
                    <dgm:param type="parTxLTRAlign" val="ctr"/>
                    <dgm:param type="parTxRTLAlign" val="ctr"/>
                  </dgm:alg>
                  <dgm:constrLst>
                    <dgm:constr type="lMarg"/>
                    <dgm:constr type="rMarg"/>
                    <dgm:constr type="tMarg" refType="primFontSz" fact="0.6"/>
                    <dgm:constr type="bMarg"/>
                  </dgm:constrLst>
                </dgm:else>
              </dgm:choose>
              <dgm:shape xmlns:r="http://schemas.openxmlformats.org/officeDocument/2006/relationships" type="rect" r:blip="">
                <dgm:adjLst/>
              </dgm:shape>
              <dgm:presOf axis="ch" ptType="node"/>
              <dgm:ruleLst>
                <dgm:rule type="primFontSz" val="11" fact="NaN" max="NaN"/>
              </dgm:ruleLst>
            </dgm:layoutNode>
            <dgm:layoutNode name="ConnectLine" styleLbl="sibTrans1D1">
              <dgm:alg type="sp"/>
              <dgm:shape xmlns:r="http://schemas.openxmlformats.org/officeDocument/2006/relationships" type="line" r:blip="">
                <dgm:adjLst/>
                <dgm:extLst>
                  <a:ext uri="{B698B0E9-8C71-41B9-8309-B3DCBF30829C}">
                    <dgm1612:spPr xmlns:dgm1612="http://schemas.microsoft.com/office/drawing/2016/12/diagram" xmlns="">
                      <a:ln>
                        <a:prstDash val="dash"/>
                      </a:ln>
                    </dgm1612:spPr>
                  </a:ext>
                </dgm:extLst>
              </dgm:shape>
              <dgm:presOf/>
              <dgm:constrLst/>
            </dgm:layoutNode>
            <dgm:layoutNode name="ConnectLineEnd" styleLbl="l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/>
            </dgm:layoutNode>
            <dgm:layoutNode name="EmptyPa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</dgm:layoutNode>
          </dgm:layoutNode>
          <dgm:forEach name="Name28" axis="followSib" ptType="sibTrans" cnt="1">
            <dgm:layoutNode name="spaceBetweenRectangle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moreThanTwoNodes">
        <dgm:forEach name="nodesForEach1" axis="ch" ptType="node">
          <dgm:layoutNode name="composite1">
            <dgm:alg type="composite"/>
            <dgm:shape xmlns:r="http://schemas.openxmlformats.org/officeDocument/2006/relationships" r:blip="">
              <dgm:adjLst/>
            </dgm:shape>
            <dgm:choose name="casesForSnakingLogic21">
              <dgm:if name="oddNode21" axis="self" ptType="node" func="posOdd" op="equ" val="1">
                <dgm:constrLst>
                  <dgm:constr type="w" for="ch" forName="parent1" refType="w" fact="0.6"/>
                  <dgm:constr type="l" for="ch" forName="parent1" refType="w" fact="0.2"/>
                  <dgm:constr type="t" for="ch" forName="parent1" refType="h" fact="0.45"/>
                  <dgm:constr type="h" for="ch" forName="parent1" refType="h" fact="0.1"/>
                  <dgm:constr type="w" for="ch" forName="Childtext1" refType="w"/>
                  <dgm:constr type="h" for="ch" forName="Childtext1" refType="h" fact="0.35"/>
                  <dgm:constr type="w" for="ch" forName="ConnectLine1"/>
                  <dgm:constr type="h" for="ch" forName="ConnectLine1" refType="h" fact="0.08"/>
                  <dgm:constr type="t" for="ch" forName="ConnectLine1" refType="h" fact="0.37"/>
                  <dgm:constr type="ctrX" for="ch" forName="ConnectLine1" refType="w" fact="0.5"/>
                  <dgm:constr type="w" for="ch" forName="ConnectLineEnd1" refType="h" fact="0.02"/>
                  <dgm:constr type="h" for="ch" forName="ConnectLineEnd1" refType="h" fact="0.02"/>
                  <dgm:constr type="t" for="ch" forName="ConnectLineEnd1" refType="h" fact="0.35"/>
                  <dgm:constr type="ctrX" for="ch" forName="ConnectLineEnd1" refType="w" fact="0.5"/>
                  <dgm:constr type="w" for="ch" forName="EmptyPane1" refType="w"/>
                  <dgm:constr type="t" for="ch" forName="EmptyPane1" refType="h" fact="0.55"/>
                  <dgm:constr type="h" for="ch" forName="EmptyPane1" refType="h" fact="0.45"/>
                </dgm:constrLst>
              </dgm:if>
              <dgm:else name="evenNode2">
                <dgm:constrLst>
                  <dgm:constr type="w" for="ch" forName="parent1" refType="w" fact="0.6"/>
                  <dgm:constr type="l" for="ch" forName="parent1" refType="w" fact="0.2"/>
                  <dgm:constr type="t" for="ch" forName="parent1" refType="h" fact="0.45"/>
                  <dgm:constr type="h" for="ch" forName="parent1" refType="h" fact="0.1"/>
                  <dgm:constr type="w" for="ch" forName="Childtext1" refType="w"/>
                  <dgm:constr type="h" for="ch" forName="Childtext1" refType="h" fact="0.35"/>
                  <dgm:constr type="t" for="ch" forName="Childtext1" refType="h" fact="0.65"/>
                  <dgm:constr type="w" for="ch" forName="ConnectLine1"/>
                  <dgm:constr type="h" for="ch" forName="ConnectLine1" refType="h" fact="0.08"/>
                  <dgm:constr type="t" for="ch" forName="ConnectLine1" refType="h" fact="0.55"/>
                  <dgm:constr type="ctrX" for="ch" forName="ConnectLine1" refType="w" fact="0.5"/>
                  <dgm:constr type="w" for="ch" forName="ConnectLineEnd1" refType="h" fact="0.02"/>
                  <dgm:constr type="h" for="ch" forName="ConnectLineEnd1" refType="h" fact="0.02"/>
                  <dgm:constr type="b" for="ch" forName="ConnectLineEnd1" refType="h" fact="0.65"/>
                  <dgm:constr type="ctrX" for="ch" forName="ConnectLineEnd1" refType="w" fact="0.5"/>
                  <dgm:constr type="w" for="ch" forName="EmptyPane1" refType="w"/>
                  <dgm:constr type="h" for="ch" forName="EmptyPane1" refType="h" fact="0.45"/>
                </dgm:constrLst>
              </dgm:else>
            </dgm:choose>
            <dgm:layoutNode name="parent1" styleLbl="alignNode1">
              <dgm:varLst>
                <dgm:chMax val="1"/>
                <dgm:chPref val="1"/>
                <dgm:bulletEnabled val="1"/>
              </dgm:varLst>
              <dgm:alg type="tx">
                <dgm:param type="txAnchorHorz" val="ctr"/>
                <dgm:param type="txAnchorVert" val="mid"/>
                <dgm:param type="parTxLTRAlign" val="ctr"/>
                <dgm:param type="parTxRTLAlign" val="ctr"/>
              </dgm:alg>
              <dgm:choose name="casesForFirstAndLastNode12">
                <dgm:if name="startNode12" axis="self" ptType="node" func="pos" op="equ" val="1">
                  <dgm:choose name="removeLineWhenOnlyOneNode12">
                    <dgm:if name="ifOnlyOneNode12" axis="followSib" ptType="node" func="cnt" op="equ" val="0">
                      <dgm:shape xmlns:r="http://schemas.openxmlformats.org/officeDocument/2006/relationships" type="roundRect" r:blip="">
                        <dgm:adjLst/>
                      </dgm:shape>
                    </dgm:if>
                    <dgm:else name="ifMoreThanOneNode12">
                      <dgm:choose name="Name181">
                        <dgm:if name="Name191" func="var" arg="dir" op="equ" val="norm">
                          <dgm:shape xmlns:r="http://schemas.openxmlformats.org/officeDocument/2006/relationships" rot="-90" type="round2SameRect" r:blip="">
                            <dgm:adjLst/>
                          </dgm:shape>
                        </dgm:if>
                        <dgm:else name="Name201">
                          <dgm:shape xmlns:r="http://schemas.openxmlformats.org/officeDocument/2006/relationships" rot="90" type="round2SameRect" r:blip="">
                            <dgm:adjLst/>
                          </dgm:shape>
                        </dgm:else>
                      </dgm:choose>
                    </dgm:else>
                  </dgm:choose>
                </dgm:if>
                <dgm:else name="notStartNode12">
                  <dgm:choose name="Name221">
                    <dgm:if name="Name231" axis="self" ptType="node" func="revPos" op="equ" val="1">
                      <dgm:choose name="Name241">
                        <dgm:if name="Name251" func="var" arg="dir" op="equ" val="norm">
                          <dgm:shape xmlns:r="http://schemas.openxmlformats.org/officeDocument/2006/relationships" rot="90" type="round2SameRect" r:blip="">
                            <dgm:adjLst/>
                          </dgm:shape>
                        </dgm:if>
                        <dgm:else name="Name261">
                          <dgm:shape xmlns:r="http://schemas.openxmlformats.org/officeDocument/2006/relationships" rot="-90" type="round2SameRect" r:blip="">
                            <dgm:adjLst/>
                          </dgm:shape>
                        </dgm:else>
                      </dgm:choose>
                    </dgm:if>
                    <dgm:else name="Name271">
                      <dgm:shape xmlns:r="http://schemas.openxmlformats.org/officeDocument/2006/relationships" type="rect" r:blip="">
                        <dgm:adjLst/>
                      </dgm:shape>
                    </dgm:else>
                  </dgm:choose>
                </dgm:else>
              </dgm:choose>
              <dgm:presOf axis="self" ptType="node"/>
              <dgm:constrLst>
                <dgm:constr type="lMarg" refType="primFontSz" fact="0.6"/>
                <dgm:constr type="rMarg" refType="primFontSz" fact="0.6"/>
                <dgm:constr type="tMarg" refType="primFontSz" fact="0.6"/>
                <dgm:constr type="bMarg" refType="primFontSz" fact="0.6"/>
              </dgm:constrLst>
              <dgm:ruleLst>
                <dgm:rule type="primFontSz" val="11" fact="NaN" max="NaN"/>
              </dgm:ruleLst>
            </dgm:layoutNode>
            <dgm:layoutNode name="Childtext1" styleLbl="revTx">
              <dgm:varLst>
                <dgm:bulletEnabled val="1"/>
              </dgm:varLst>
              <dgm:choose name="casesForTxtDirLogic1">
                <dgm:if name="Name771" axis="self" ptType="node" func="posOdd" op="equ" val="1">
                  <dgm:alg type="tx">
                    <dgm:param type="txAnchorVert" val="b"/>
                    <dgm:param type="txAnchorHorz" val="ctr"/>
                    <dgm:param type="parTxLTRAlign" val="ctr"/>
                    <dgm:param type="parTxRTLAlign" val="ctr"/>
                  </dgm:alg>
                  <dgm:constrLst>
                    <dgm:constr type="lMarg"/>
                    <dgm:constr type="rMarg"/>
                    <dgm:constr type="tMarg"/>
                    <dgm:constr type="bMarg" refType="primFontSz" fact="0.6"/>
                  </dgm:constrLst>
                </dgm:if>
                <dgm:else name="Name881">
                  <dgm:alg type="tx">
                    <dgm:param type="txAnchorVert" val="t"/>
                    <dgm:param type="txAnchorHorz" val="ctr"/>
                    <dgm:param type="parTxLTRAlign" val="ctr"/>
                    <dgm:param type="parTxRTLAlign" val="ctr"/>
                  </dgm:alg>
                  <dgm:constrLst>
                    <dgm:constr type="lMarg"/>
                    <dgm:constr type="rMarg"/>
                    <dgm:constr type="tMarg" refType="primFontSz" fact="0.6"/>
                    <dgm:constr type="bMarg"/>
                  </dgm:constrLst>
                </dgm:else>
              </dgm:choose>
              <dgm:shape xmlns:r="http://schemas.openxmlformats.org/officeDocument/2006/relationships" type="rect" r:blip="">
                <dgm:adjLst/>
              </dgm:shape>
              <dgm:presOf axis="ch" ptType="node"/>
              <dgm:ruleLst>
                <dgm:rule type="primFontSz" val="11" fact="NaN" max="NaN"/>
              </dgm:ruleLst>
            </dgm:layoutNode>
            <dgm:layoutNode name="ConnectLine1" styleLbl="sibTrans1D1">
              <dgm:alg type="sp"/>
              <dgm:shape xmlns:r="http://schemas.openxmlformats.org/officeDocument/2006/relationships" type="line" r:blip="">
                <dgm:adjLst/>
                <dgm:extLst>
                  <a:ext uri="{B698B0E9-8C71-41B9-8309-B3DCBF30829C}">
                    <dgm1612:spPr xmlns:dgm1612="http://schemas.microsoft.com/office/drawing/2016/12/diagram" xmlns="">
                      <a:ln>
                        <a:prstDash val="dash"/>
                      </a:ln>
                    </dgm1612:spPr>
                  </a:ext>
                </dgm:extLst>
              </dgm:shape>
              <dgm:presOf/>
              <dgm:constrLst/>
            </dgm:layoutNode>
            <dgm:layoutNode name="ConnectLineEnd1" styleLbl="l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/>
            </dgm:layoutNode>
            <dgm:layoutNode name="EmptyPane1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</dgm:layoutNode>
          </dgm:layoutNode>
          <dgm:forEach name="Name281" axis="followSib" ptType="sibTrans" cnt="1">
            <dgm:layoutNode name="spaceBetweenRectangles1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6/7/layout/AccentHomeChevronProcess">
  <dgm:title val="Accent Home Chevron Process"/>
  <dgm:desc val="Use to show a progression; a timeline; sequential steps in a task, process, or workflow; or to emphasize movement or direction. Level 1 text appears inside an chevron shape, except the first shape which comes in a home shape, while Level 2 text appears above the invisible rectangle shapes."/>
  <dgm:catLst>
    <dgm:cat type="process" pri="500"/>
    <dgm:cat type="timeline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contrsBasedOnsibTransCount">
      <dgm:if name="oneSibTrans" axis="ch" ptType="sibTrans" func="cnt" op="equ" val="1">
        <dgm:constrLst>
          <dgm:constr type="h" for="ch" forName="composite" refType="h" fact="0.6"/>
          <dgm:constr type="w" for="ch" forName="composite" refType="w"/>
          <dgm:constr type="primFontSz" for="des" forName="parTx" val="20"/>
          <dgm:constr type="primFontSz" for="des" forName="desTx" refType="primFontSz" refFor="des" refForName="parTx" op="lte"/>
          <dgm:constr type="primFontSz" for="des" forName="parTx" op="equ"/>
          <dgm:constr type="primFontSz" for="des" forName="desTx" op="equ"/>
          <dgm:constr type="w" for="ch" forName="space" refType="w" refFor="ch" refForName="composite" fact="-0.02"/>
          <dgm:constr type="w" for="ch" ptType="sibTrans" op="equ"/>
        </dgm:constrLst>
      </dgm:if>
      <dgm:else name="moreThanOneSibTrans">
        <dgm:choose name="contrsForMoreThanOneSibTrans">
          <dgm:if name="twoSibTrans" axis="ch" ptType="sibTrans" func="cnt" op="equ" val="2">
            <dgm:constrLst>
              <dgm:constr type="h" for="ch" forName="composite" refType="h" fact="0.6"/>
              <dgm:constr type="w" for="ch" forName="composite" refType="w"/>
              <dgm:constr type="primFontSz" for="des" forName="parTx" val="20"/>
              <dgm:constr type="primFontSz" for="des" forName="desTx" refType="primFontSz" refFor="des" refForName="parTx" op="lte"/>
              <dgm:constr type="primFontSz" for="des" forName="parTx" op="equ"/>
              <dgm:constr type="primFontSz" for="des" forName="desTx" op="equ"/>
              <dgm:constr type="w" for="ch" forName="space" refType="w" refFor="ch" refForName="composite" fact="-0.03"/>
              <dgm:constr type="w" for="ch" ptType="sibTrans" op="equ"/>
            </dgm:constrLst>
          </dgm:if>
          <dgm:else name="moreThanTwoSibTrans">
            <dgm:choose name="contrsForMoreThanTwoSibTrans">
              <dgm:if name="threeSibTrans" axis="ch" ptType="sibTrans" func="cnt" op="equ" val="3">
                <dgm:constrLst>
                  <dgm:constr type="h" for="ch" forName="composite" refType="h" fact="0.6"/>
                  <dgm:constr type="w" for="ch" forName="composite" refType="w"/>
                  <dgm:constr type="primFontSz" for="des" forName="parTx" val="20"/>
                  <dgm:constr type="primFontSz" for="des" forName="desTx" refType="primFontSz" refFor="des" refForName="parTx" op="lte"/>
                  <dgm:constr type="primFontSz" for="des" forName="parTx" op="equ"/>
                  <dgm:constr type="primFontSz" for="des" forName="desTx" op="equ"/>
                  <dgm:constr type="w" for="ch" forName="space" refType="w" refFor="ch" refForName="composite" fact="-0.04"/>
                  <dgm:constr type="w" for="ch" ptType="sibTrans" op="equ"/>
                </dgm:constrLst>
              </dgm:if>
              <dgm:else name="moreThanThreeSibTrans">
                <dgm:choose name="contrsForMoreThanThreeSibTrans">
                  <dgm:if name="fourToSixSibTrans" axis="ch" ptType="sibTrans" func="cnt" op="lte" val="6">
                    <dgm:constrLst>
                      <dgm:constr type="h" for="ch" forName="composite" refType="h" fact="0.6"/>
                      <dgm:constr type="w" for="ch" forName="composite" refType="w"/>
                      <dgm:constr type="primFontSz" for="des" forName="parTx" val="20"/>
                      <dgm:constr type="primFontSz" for="des" forName="desTx" refType="primFontSz" refFor="des" refForName="parTx" op="lte"/>
                      <dgm:constr type="primFontSz" for="des" forName="parTx" op="equ"/>
                      <dgm:constr type="primFontSz" for="des" forName="desTx" op="equ"/>
                      <dgm:constr type="w" for="ch" forName="space" refType="w" refFor="ch" refForName="composite" fact="-0.05"/>
                      <dgm:constr type="w" for="ch" ptType="sibTrans" op="equ"/>
                    </dgm:constrLst>
                  </dgm:if>
                  <dgm:else name="moreThanSixSibTrans">
                    <dgm:choose name="contrsForMoreThanSixSibTrans">
                      <dgm:if name="sevenToEightSibTrans" axis="ch" ptType="sibTrans" func="cnt" op="lte" val="8">
                        <dgm:constrLst>
                          <dgm:constr type="h" for="ch" forName="composite" refType="h" fact="0.6"/>
                          <dgm:constr type="w" for="ch" forName="composite" refType="w"/>
                          <dgm:constr type="primFontSz" for="des" forName="parTx" val="20"/>
                          <dgm:constr type="primFontSz" for="des" forName="desTx" refType="primFontSz" refFor="des" refForName="parTx" op="lte"/>
                          <dgm:constr type="primFontSz" for="des" forName="parTx" op="equ"/>
                          <dgm:constr type="primFontSz" for="des" forName="desTx" op="equ"/>
                          <dgm:constr type="w" for="ch" forName="space" refType="w" refFor="ch" refForName="composite" fact="-0.07"/>
                          <dgm:constr type="w" for="ch" ptType="sibTrans" op="equ"/>
                        </dgm:constrLst>
                      </dgm:if>
                      <dgm:else name="moreThanEightSibTrans">
                        <dgm:constrLst>
                          <dgm:constr type="h" for="ch" forName="composite" refType="h" fact="0.6"/>
                          <dgm:constr type="w" for="ch" forName="composite" refType="w"/>
                          <dgm:constr type="primFontSz" for="des" forName="parTx" val="20"/>
                          <dgm:constr type="primFontSz" for="des" forName="desTx" refType="primFontSz" refFor="des" refForName="parTx" op="lte"/>
                          <dgm:constr type="primFontSz" for="des" forName="parTx" op="equ"/>
                          <dgm:constr type="primFontSz" for="des" forName="desTx" op="equ"/>
                          <dgm:constr type="w" for="ch" forName="space" refType="w" refFor="ch" refForName="composite" fact="-0.09"/>
                          <dgm:constr type="w" for="ch" ptType="sibTrans" op="equ"/>
                        </dgm:constrLst>
                      </dgm:else>
                    </dgm:choose>
                  </dgm:else>
                </dgm:choose>
              </dgm:else>
            </dgm:choose>
          </dgm:else>
        </dgm:choose>
      </dgm:else>
    </dgm:choose>
    <dgm:ruleLst/>
    <dgm:forEach name="Name6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LayoutLTRorRTL">
          <dgm:if name="LayoutLTR" func="var" arg="dir" op="equ" val="norm">
            <dgm:constrLst>
              <dgm:constr type="w" for="ch" forName="L" refType="w" fact="0.08"/>
              <dgm:constr type="h" for="ch" forName="L" refType="h" fact="0.75"/>
              <dgm:constr type="l" for="ch" forName="L"/>
              <dgm:constr type="l" for="ch" forName="parTx"/>
              <dgm:constr type="w" for="ch" forName="parTx" refType="w"/>
              <dgm:constr type="h" for="ch" forName="parTx" refType="h" fact="0.25"/>
              <dgm:constr type="t" for="ch" forName="parTx" refType="b" refFor="ch" refForName="L"/>
              <dgm:constr type="t" for="ch" forName="desTx" refType="w" refFor="ch" refForName="L" fact="0.6"/>
              <dgm:constr type="b" for="ch" forName="desTx" refType="t" refFor="ch" refForName="EmptyPlaceHolder"/>
              <dgm:constr type="l" for="ch" forName="desTx" refType="r" refFor="ch" refForName="L"/>
              <dgm:constr type="w" for="ch" forName="desTx" refType="w" fact="0.812"/>
              <dgm:constr type="w" for="ch" forName="EmptyPlaceHolder" refType="w" fact="0.82"/>
              <dgm:constr type="l" for="ch" forName="EmptyPlaceHolder" refType="r" refFor="ch" refForName="L"/>
              <dgm:constr type="b" for="ch" forName="EmptyPlaceHolder" refType="b" refFor="ch" refForName="L"/>
              <dgm:constr type="h" for="ch" forName="EmptyPlaceHolder" refType="t" refFor="ch" refForName="desTx"/>
            </dgm:constrLst>
          </dgm:if>
          <dgm:else name="LayoutRTL">
            <dgm:constrLst>
              <dgm:constr type="w" for="ch" forName="L" refType="w" fact="0.08"/>
              <dgm:constr type="h" for="ch" forName="L" refType="h" fact="0.75"/>
              <dgm:constr type="r" for="ch" forName="L" refType="w"/>
              <dgm:constr type="r" for="ch" forName="parTx" refType="w"/>
              <dgm:constr type="w" for="ch" forName="parTx" refType="w"/>
              <dgm:constr type="h" for="ch" forName="parTx" refType="h" fact="0.25"/>
              <dgm:constr type="t" for="ch" forName="parTx" refType="b" refFor="ch" refForName="L"/>
              <dgm:constr type="t" for="ch" forName="desTx" refType="w" refFor="ch" refForName="L" fact="0.6"/>
              <dgm:constr type="b" for="ch" forName="desTx" refType="t" refFor="ch" refForName="EmptyPlaceHolder"/>
              <dgm:constr type="r" for="ch" forName="desTx" refType="l" refFor="ch" refForName="L"/>
              <dgm:constr type="w" for="ch" forName="desTx" refType="w" fact="0.812"/>
              <dgm:constr type="w" for="ch" forName="EmptyPlaceHolder" refType="w" fact="0.82"/>
              <dgm:constr type="h" for="ch" forName="EmptyPlaceHolder" refType="w" refFor="ch" refForName="L" fact="0.6"/>
              <dgm:constr type="b" for="ch" forName="EmptyPlaceHolder" refType="b" refFor="ch" refForName="L"/>
            </dgm:constrLst>
          </dgm:else>
        </dgm:choose>
        <dgm:layoutNode name="L" styleLbl="solidFgAcc1" moveWith="parTx">
          <dgm:varLst>
            <dgm:chMax val="0"/>
            <dgm:chPref val="0"/>
          </dgm:varLst>
          <dgm:alg type="sp"/>
          <dgm:choose name="Name310">
            <dgm:if name="Name311" func="var" arg="dir" op="equ" val="norm">
              <dgm:shape xmlns:r="http://schemas.openxmlformats.org/officeDocument/2006/relationships" rot="90" type="corner" r:blip="">
                <dgm:adjLst>
                  <dgm:adj idx="1" val="0.01"/>
                  <dgm:adj idx="2" val="0.01"/>
                </dgm:adjLst>
              </dgm:shape>
            </dgm:if>
            <dgm:else name="Name312">
              <dgm:shape xmlns:r="http://schemas.openxmlformats.org/officeDocument/2006/relationships" rot="180" type="corner" r:blip="">
                <dgm:adjLst>
                  <dgm:adj idx="1" val="0.01"/>
                  <dgm:adj idx="2" val="0.01"/>
                </dgm:adjLst>
              </dgm:shape>
            </dgm:else>
          </dgm:choose>
          <dgm:presOf/>
          <dgm:constrLst/>
          <dgm:ruleLst/>
        </dgm:layoutNode>
        <dgm:layoutNode name="parTx" styleLbl="alignNode1">
          <dgm:varLst>
            <dgm:chMax val="0"/>
            <dgm:chPref val="0"/>
            <dgm:bulletEnabled val="1"/>
          </dgm:varLst>
          <dgm:alg type="tx">
            <dgm:param type="txAnchorVert" val="mid"/>
            <dgm:param type="parTxLTRAlign" val="ctr"/>
            <dgm:param type="parTxRTLAlign" val="ctr"/>
          </dgm:alg>
          <dgm:choose name="MakeFirstNodeHomePlate">
            <dgm:if name="IfFirstNode" axis="self" ptType="node" func="pos" op="equ" val="1">
              <dgm:choose name="Name110">
                <dgm:if name="Name111" func="var" arg="dir" op="equ" val="norm">
                  <dgm:shape xmlns:r="http://schemas.openxmlformats.org/officeDocument/2006/relationships" type="homePlate" r:blip="">
                    <dgm:adjLst>
                      <dgm:adj idx="1" val="0.25"/>
                    </dgm:adjLst>
                  </dgm:shape>
                </dgm:if>
                <dgm:else name="Name112">
                  <dgm:shape xmlns:r="http://schemas.openxmlformats.org/officeDocument/2006/relationships" rot="180" type="homePlate" r:blip="">
                    <dgm:adjLst>
                      <dgm:adj idx="1" val="0.25"/>
                    </dgm:adjLst>
                  </dgm:shape>
                </dgm:else>
              </dgm:choose>
            </dgm:if>
            <dgm:else name="MakeRestOfNodesChevrons"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>
                      <dgm:adj idx="1" val="0.25"/>
                    </dgm:adjLst>
                  </dgm:shape>
                </dgm:if>
                <dgm:else name="Name12">
                  <dgm:shape xmlns:r="http://schemas.openxmlformats.org/officeDocument/2006/relationships" rot="180" type="chevron" r:blip="">
                    <dgm:adjLst>
                      <dgm:adj idx="1" val="0.25"/>
                    </dgm:adjLst>
                  </dgm:shape>
                </dgm:else>
              </dgm:choose>
            </dgm:else>
          </dgm:choose>
          <dgm:presOf axis="self" ptType="node"/>
          <dgm:constrLst>
            <dgm:constr type="tMarg" refType="primFontSz"/>
            <dgm:constr type="bMarg" refType="primFontSz"/>
            <dgm:constr type="lMarg" refType="primFontSz" fact="0.5"/>
            <dgm:constr type="rMarg" refType="primFontSz" fact="0.5"/>
          </dgm:constrLst>
          <dgm:ruleLst>
            <dgm:rule type="primFontSz" val="13" fact="NaN" max="NaN"/>
          </dgm:ruleLst>
        </dgm:layoutNode>
        <dgm:layoutNode name="desTx" styleLbl="revTx" moveWith="parTx">
          <dgm:varLst>
            <dgm:chMax val="0"/>
            <dgm:chPref val="0"/>
            <dgm:bulletEnabled val="1"/>
          </dgm:varLst>
          <dgm:choose name="Name210">
            <dgm:if name="Name211" func="var" arg="dir" op="equ" val="norm">
              <dgm:alg type="tx">
                <dgm:param type="txAnchorVert" val="t"/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12">
              <dgm:alg type="tx">
                <dgm:param type="txAnchorVert" val="t"/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tMarg"/>
            <dgm:constr type="bMarg"/>
            <dgm:constr type="lMarg"/>
            <dgm:constr type="rMarg"/>
          </dgm:constrLst>
          <dgm:ruleLst>
            <dgm:rule type="primFontSz" val="11" fact="NaN" max="NaN"/>
            <dgm:rule type="secFontSz" val="9" fact="NaN" max="NaN"/>
          </dgm:ruleLst>
        </dgm:layoutNode>
        <dgm:layoutNode name="EmptyPlaceHolder">
          <dgm:alg type="sp"/>
          <dgm:shape xmlns:r="http://schemas.openxmlformats.org/officeDocument/2006/relationships" r:blip="">
            <dgm:adjLst/>
          </dgm:shape>
          <dgm:presOf/>
          <dgm:constrLst/>
        </dgm:layoutNode>
      </dgm:layoutNode>
      <dgm:forEach name="Name19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7/3/layout/HorizontalPathTimeline#2">
  <dgm:title val="Горизонтальная временная шкала с событиями"/>
  <dgm:desc val="Используется для отображения списка событий в хронологическом порядке. Прямоугольная фигура содержит описание, а даты отображаются рядом с круглыми точками. Это идеальный элемент SmartArt для отображения большого количества текста с кратким форматом даты."/>
  <dgm:catLst>
    <dgm:cat type="timeline" pri="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dir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 refType="h" fact="0.04"/>
      <dgm:constr type="ctrY" for="ch" forName="divider" refType="h" fact="0.5"/>
      <dgm:constr type="l" for="ch" forName="divider"/>
      <dgm:constr type="w" for="ch" forName="nodes" refType="w"/>
      <dgm:constr type="h" for="ch" forName="nodes" refType="h"/>
    </dgm:constrLst>
    <dgm:layoutNode name="divider" styleLbl="asst0">
      <dgm:alg type="sp"/>
      <dgm:shape xmlns:r="http://schemas.openxmlformats.org/officeDocument/2006/relationships" type="rect" r:blip="">
        <dgm:adjLst/>
      </dgm:shap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6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</dgm:constrLst>
      <dgm:forEach name="nodesForEach" axis="ch" ptType="node">
        <dgm:layoutNode name="composite">
          <dgm:alg type="composite"/>
          <dgm:shape xmlns:r="http://schemas.openxmlformats.org/officeDocument/2006/relationships" r:blip="">
            <dgm:adjLst/>
          </dgm:shape>
          <dgm:choose name="CaseForPlacingNodesAboveAndBelowDivider">
            <dgm:if name="CaseForPlacingNodeAboveDivider" axis="self" ptType="node" func="posOdd" op="equ" val="1">
              <dgm:constrLst>
                <dgm:constr type="w" for="ch" forName="L2TextContainer" refType="w" fact="0.88"/>
                <dgm:constr type="h" for="ch" forName="L2TextContainer" refType="h" fact="0.15"/>
                <dgm:constr type="h" for="ch" forName="L2TextContainer" refType="h" op="lte" fact="0.31"/>
                <dgm:constr type="b" for="ch" forName="L2TextContainer" refType="h" fact="0.31"/>
                <dgm:constr type="l" for="ch" forName="L2TextContainer" refType="w" fact="0.06"/>
                <dgm:constr type="w" for="ch" forName="ConnectLine"/>
                <dgm:constr type="l" for="ch" forName="ConnectLine" refType="w" fact="0.5"/>
                <dgm:constr type="h" for="ch" forName="ConnectLine" refType="h" fact="0.19"/>
                <dgm:constr type="t" for="ch" forName="ConnectLine" refType="h" fact="0.31"/>
                <dgm:constr type="w" for="ch" forName="FlexibleEmptyPlaceHolder" refType="w"/>
                <dgm:constr type="h" for="ch" forName="FlexibleEmptyPlaceHolder" refType="h" fact="0.16"/>
                <dgm:constr type="h" for="ch" forName="FlexibleEmptyPlaceHolder" refType="h" op="gte" fact="0.005"/>
                <dgm:constr type="t" for="ch" forName="FlexibleEmptyPlaceHolder" refType="h" fact="0"/>
                <dgm:constr type="w" for="ch" forName="ConnectorPoint" refType="h" fact="0.025"/>
                <dgm:constr type="h" for="ch" forName="ConnectorPoint" refType="h" fact="0.025"/>
                <dgm:constr type="ctrX" for="ch" forName="ConnectorPoint" refType="w" fact="0.5"/>
                <dgm:constr type="ctrY" for="ch" forName="ConnectorPoint" refType="h" fact="0.5"/>
                <dgm:constr type="w" for="ch" forName="L1TextContainer" refType="w" fact="0.8"/>
                <dgm:constr type="l" for="ch" forName="L1TextContainer" refType="w" fact="0.1"/>
                <dgm:constr type="t" for="ch" forName="L1TextContainer" refType="h" fact="0.537"/>
                <dgm:constr type="h" for="ch" forName="L1TextContainer" refType="h" fact="0.113"/>
                <dgm:constr type="w" for="ch" forName="EmptyPlaceHolder" refType="w"/>
                <dgm:constr type="t" for="ch" forName="EmptyPlaceHolder" refType="h" fact="0.65"/>
                <dgm:constr type="h" for="ch" forName="EmptyPlaceHolder" refType="h" fact="0.35"/>
              </dgm:constrLst>
            </dgm:if>
            <dgm:else name="CaseForPlacingNodeBelowDivider">
              <dgm:constrLst>
                <dgm:constr type="w" for="ch" forName="EmptyPlaceHolder" refType="w"/>
                <dgm:constr type="h" for="ch" forName="EmptyPlaceHolder" refType="h" fact="0.35"/>
                <dgm:constr type="t" for="ch" forName="EmptyPlaceHolder" refType="h" fact="0"/>
                <dgm:constr type="w" for="ch" forName="FlexibleEmptyPlaceHolder" refType="w"/>
                <dgm:constr type="h" for="ch" forName="FlexibleEmptyPlaceHolder" refType="h" fact="0.16"/>
                <dgm:constr type="h" for="ch" forName="FlexibleEmptyPlaceHolder" refType="h" op="gte" fact="0.005"/>
                <dgm:constr type="b" for="ch" forName="FlexibleEmptyPlaceHolder" refType="h"/>
                <dgm:constr type="w" for="ch" forName="L1TextContainer" refType="w" fact="0.8"/>
                <dgm:constr type="l" for="ch" forName="L1TextContainer" refType="w" fact="0.1"/>
                <dgm:constr type="t" for="ch" forName="L1TextContainer" refType="h" fact="0.35"/>
                <dgm:constr type="h" for="ch" forName="L1TextContainer" refType="h" fact="0.113"/>
                <dgm:constr type="w" for="ch" forName="ConnectorPoint" refType="h" fact="0.025"/>
                <dgm:constr type="h" for="ch" forName="ConnectorPoint" refType="h" fact="0.025"/>
                <dgm:constr type="ctrX" for="ch" forName="ConnectorPoint" refType="w" fact="0.5"/>
                <dgm:constr type="ctrY" for="ch" forName="ConnectorPoint" refType="h" fact="0.5"/>
                <dgm:constr type="w" for="ch" forName="ConnectLine"/>
                <dgm:constr type="l" for="ch" forName="ConnectLine" refType="w" fact="0.5"/>
                <dgm:constr type="h" for="ch" forName="ConnectLine" refType="h" fact="0.19"/>
                <dgm:constr type="t" for="ch" forName="ConnectLine" refType="h" fact="0.5"/>
                <dgm:constr type="w" for="ch" forName="L2TextContainer" refType="w" fact="0.88"/>
                <dgm:constr type="h" for="ch" forName="L2TextContainer" refType="h" fact="0.15"/>
                <dgm:constr type="h" for="ch" forName="L2TextContainer" refType="h" op="lte" fact="0.31"/>
                <dgm:constr type="t" for="ch" forName="L2TextContainer" refType="h" fact="0.69"/>
                <dgm:constr type="l" for="ch" forName="L2TextContainer" refType="w" fact="0.06"/>
              </dgm:constrLst>
            </dgm:else>
          </dgm:choose>
          <dgm:layoutNode name="ConnectorPoint" styleLbl="fgAcc1" moveWith="L2TextContainer">
            <dgm:alg type="sp"/>
            <dgm:shape xmlns:r="http://schemas.openxmlformats.org/officeDocument/2006/relationships" type="ellipse" r:blip="" zOrderOff="10">
              <dgm:adjLst/>
            </dgm:shape>
            <dgm:presOf/>
            <dgm:constrLst/>
          </dgm:layoutNode>
          <dgm:layoutNode name="ConnectLine" styleLbl="alignNode1" moveWith="L2TextContainer">
            <dgm:alg type="sp"/>
            <dgm:shape xmlns:r="http://schemas.openxmlformats.org/officeDocument/2006/relationships" type="line" r:blip="">
              <dgm:adjLst/>
              <dgm:extLst>
                <a:ext uri="{B698B0E9-8C71-41B9-8309-B3DCBF30829C}">
                  <dgm1612:spPr xmlns:dgm1612="http://schemas.microsoft.com/office/drawing/2016/12/diagram" xmlns="">
                    <a:ln>
                      <a:prstDash val="dash"/>
                    </a:ln>
                  </dgm1612:spPr>
                </a:ext>
              </dgm:extLst>
            </dgm:shape>
            <dgm:presOf/>
            <dgm:constrLst/>
          </dgm:layoutNode>
          <dgm:layoutNode name="FlexibleEmptyPlaceHolder">
            <dgm:alg type="sp"/>
            <dgm:shape xmlns:r="http://schemas.openxmlformats.org/officeDocument/2006/relationships" r:blip="">
              <dgm:adjLst/>
            </dgm:shape>
            <dgm:presOf/>
            <dgm:constrLst/>
          </dgm:layoutNode>
          <dgm:layoutNode name="L2TextContainer" styleLbl="bgAcc1">
            <dgm:varLst>
              <dgm:chMax val="0"/>
              <dgm:chPref val="0"/>
              <dgm:bulletEnabled val="1"/>
            </dgm:varLst>
            <dgm:choose name="L2TextContainerAlgo">
              <dgm:if name="L2TextContainerAlgoLTR" func="var" arg="dir" op="equ" val="norm">
                <dgm:alg type="tx">
                  <dgm:param type="txAnchorVert" val="mid"/>
                  <dgm:param type="parTxRTLAlign" val="l"/>
                  <dgm:param type="parTxLTRAlign" val="l"/>
                  <dgm:param type="txAnchorVertCh" val="mid"/>
                  <dgm:param type="shpTxRTLAlignCh" val="l"/>
                  <dgm:param type="shpTxLTRAlignCh" val="l"/>
                </dgm:alg>
              </dgm:if>
              <dgm:else name="L2TextContainerAlgoRTL">
                <dgm:alg type="tx">
                  <dgm:param type="txAnchorVert" val="mid"/>
                  <dgm:param type="parTxRTLAlign" val="r"/>
                  <dgm:param type="parTxLTRAlign" val="r"/>
                  <dgm:param type="txAnchorVertCh" val="mid"/>
                  <dgm:param type="shpTxRTLAlignCh" val="r"/>
                  <dgm:param type="shpTxLTR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w" fact="0.14"/>
              <dgm:constr type="rMarg" refType="w" fact="0.14"/>
              <dgm:constr type="tMarg" refType="h" fact="0.17"/>
              <dgm:constr type="bMarg" refType="h" fact="0.17"/>
            </dgm:constrLst>
            <dgm:ruleLst>
              <dgm:rule type="h" val="INF" fact="NaN" max="NaN"/>
              <dgm:rule type="primFontSz" val="11" fact="NaN" max="NaN"/>
            </dgm:ruleLst>
          </dgm:layoutNode>
          <dgm:layoutNode name="L1TextContainer" styleLbl="revTx">
            <dgm:varLst>
              <dgm:chMax val="1"/>
              <dgm:chPref val="1"/>
              <dgm:bulletEnabled val="1"/>
            </dgm:varLst>
            <dgm:choose name="casesForTxtDirLogic">
              <dgm:if name="Name78" axis="self" ptType="node" func="posOdd" op="equ" val="1">
                <dgm:alg type="tx">
                  <dgm:param type="txAnchorHorz" val="ctr"/>
                  <dgm:param type="txAnchorVert" val="t"/>
                  <dgm:param type="parTxRTLAlign" val="ctr"/>
                  <dgm:param type="parTxRTLAlign" val="ctr"/>
                </dgm:alg>
              </dgm:if>
              <dgm:else name="Name89">
                <dgm:alg type="tx">
                  <dgm:param type="txAnchorHorz" val="ctr"/>
                  <dgm:param type="txAnchorVert" val="b"/>
                  <dgm:param type="parTxRTL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4" fact="NaN" max="NaN"/>
            </dgm:ruleLst>
          </dgm:layoutNode>
          <dgm:layoutNode name="EmptyPlaceHolder">
            <dgm:alg type="sp"/>
            <dgm:shape xmlns:r="http://schemas.openxmlformats.org/officeDocument/2006/relationships" r:blip="">
              <dgm:adjLst/>
            </dgm:shape>
            <dgm:presOf/>
            <dgm:constrLst/>
          </dgm:layoutNode>
        </dgm:layoutNode>
        <dgm:forEach name="Name28" axis="followSib" ptType="sibTrans" cnt="1">
          <dgm:layoutNode name="spaceBetweenRectangle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AFBFDE-E6F1-45CD-BE2D-4164067EB95B}" type="datetime1">
              <a:rPr lang="ru-RU" smtClean="0"/>
              <a:t>07.10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980A1C-6179-4307-B818-A656B4C532C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71544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0-04T05:00:55.540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0 24575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24:34.74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24:45.874"/>
    </inkml:context>
    <inkml:brush xml:id="br0">
      <inkml:brushProperty name="width" value="0.3" units="cm"/>
      <inkml:brushProperty name="height" value="0.6" units="cm"/>
      <inkml:brushProperty name="color" value="#00FD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1,'1'1,"0"0,0 0,0 1,0-1,0 0,0 0,0 0,1 0,-1 0,0-1,0 1,1 0,-1-1,1 1,-1-1,1 1,-1-1,1 0,-1 1,1-1,-1 0,1 0,2 0,0 0,334 39,89-8,-76-8,672 4,-704-29,877 2,-1139-3,-1-2,0-3,67-18,-97 2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24:50.555"/>
    </inkml:context>
    <inkml:brush xml:id="br0">
      <inkml:brushProperty name="width" value="0.3" units="cm"/>
      <inkml:brushProperty name="height" value="0.6" units="cm"/>
      <inkml:brushProperty name="color" value="#00FD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2540'0,"-1791"41,4 1,-94-45,-625 3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25:01.234"/>
    </inkml:context>
    <inkml:brush xml:id="br0">
      <inkml:brushProperty name="width" value="0.3" units="cm"/>
      <inkml:brushProperty name="height" value="0.6" units="cm"/>
      <inkml:brushProperty name="color" value="#00FDFF"/>
      <inkml:brushProperty name="tip" value="rectangle"/>
      <inkml:brushProperty name="rasterOp" value="maskPen"/>
      <inkml:brushProperty name="ignorePressure" value="1"/>
    </inkml:brush>
  </inkml:definitions>
  <inkml:trace contextRef="#ctx0" brushRef="#br0">0 1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25:01.631"/>
    </inkml:context>
    <inkml:brush xml:id="br0">
      <inkml:brushProperty name="width" value="0.3" units="cm"/>
      <inkml:brushProperty name="height" value="0.6" units="cm"/>
      <inkml:brushProperty name="color" value="#00FD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25:02.001"/>
    </inkml:context>
    <inkml:brush xml:id="br0">
      <inkml:brushProperty name="width" value="0.3" units="cm"/>
      <inkml:brushProperty name="height" value="0.6" units="cm"/>
      <inkml:brushProperty name="color" value="#00FDFF"/>
      <inkml:brushProperty name="tip" value="rectangle"/>
      <inkml:brushProperty name="rasterOp" value="maskPen"/>
      <inkml:brushProperty name="ignorePressure" value="1"/>
    </inkml:brush>
  </inkml:definitions>
  <inkml:trace contextRef="#ctx0" brushRef="#br0">1 1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4:46.92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4'0,"7"0,5 0,5 0,-1 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4:50.79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36,'793'0,"-759"-2,59-10,-57 6,53-2,939 8,-457 1,-546-2,0-2,0-1,-1-1,27-9,-23 6,1 2,46-6,136-15,-136 15,140-4,1054 18,-721-3,-524 1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4:56.61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9,'883'0,"-678"-14,0 0,1109 15,-1288 0,0 2,0 1,40 11,42 7,480-10,-337-16,-151 4,-78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01.39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16'1,"0"1,-1 0,18 6,34 4,274 27,166 7,27-49,-504 5,53 9,8 1,538-7,-342-7,533 22,-247-12,-337-10,505 2,-712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0-04T05:00:56.20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0 24575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08.86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1630'0,"-1605"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11.36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35,'9'0,"192"0,255-31,128-41,-470 59,95-5,1022 19,-1171 2,115 21,24 2,-9-25,-138-1,-29-1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14.10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11,'959'-27,"-469"3,-328 18,19-15,-19 0,822 9,-577 15,-313-4,105 3,-127 11,-52-9,-1 0,29 1,407-5,-432 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15.24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56,'3'0,"63"2,0-4,-1-3,86-16,-71 8,1 3,1 4,132 6,-83 2,-109-2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26.37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04,'2119'-54,"-1736"36,120-10,-456 24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27.53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45'13,"2"-3,-1-2,74 4,-39-4,-9 0,1093 87,735-84,-1044-15,-387-25,-420 21,78-25,15-3,-108 29,-5 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31.38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86,'148'-2,"158"5,-304-3,0 0,-1 0,1 0,0 0,0 0,-1 1,1-1,0 0,-1 1,1 0,-1-1,1 1,-1 0,1 0,-1 0,3 2,-3-2,-1-1,0 1,0 0,0-1,1 1,-1 0,0-1,0 1,0 0,0 0,0-1,0 1,-1 0,1-1,0 1,0 0,0-1,-1 1,1 0,0-1,-1 1,1-1,0 1,-1 0,1-1,-1 1,0 0,-4 4,0 0,0 0,-1-1,0 1,0-1,-9 4,-48 19,50-23,-1 1,1 0,0 1,1 1,-1 0,-20 16,32-22,0 0,-1 0,1 0,0 0,0 1,0-1,0 0,0 1,0-1,0 1,0-1,0 1,1-1,-1 1,1 0,-1-1,1 1,0 0,-1-1,1 5,1-5,-1 0,1 0,0 1,-1-1,1 0,0 0,0 0,0 0,0 0,0 0,0 0,0 0,0 0,0 0,0 0,1-1,-1 1,0 0,3 0,4 2,0-1,1 0,-1 0,1-1,-1 0,18-1,2-2,-1-2,1-1,-1-1,47-17,103-54,-52 21,-85 40,180-66,-191 74,-1 1,1 2,-1 1,1 1,1 1,29 2,-38 2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33.09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91,'5'-4,"0"0,0 0,1 1,-1 0,1 0,-1 1,1-1,0 1,12-3,64-8,-52 9,800-83,-384 62,195-3,36 42,9 1,-139-15,-52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39.27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192'0,"687"9,-5 64,-254 24,-606-95,-2 0,0 0,0 1,20 7,-30-9,0 0,1 0,-2 0,1 0,0 0,0 0,0 1,0-1,-1 1,1-1,-1 1,1 0,-1-1,0 1,0 0,1 0,-1 0,-1 0,1 0,0 0,0 0,-1 0,1 1,-1-1,1 4,-2-5,1 1,0-1,0 1,0-1,0 0,0 1,0-1,0 0,1 1,-1-1,0 0,1 1,-1-1,1 0,-1 1,1-1,0 0,-1 0,1 0,0 0,0 0,0 0,0 0,0 0,0 0,0 0,0 0,0 0,2 0,-1-1,1 0,-1 0,1 0,0-1,-1 1,0-1,1 0,-1 1,1-1,-1 0,0-1,0 1,1 0,-1-1,3-2,189-112,-179 108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40.65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09,'3'-2,"0"0,1 0,-1 1,1-1,-1 1,1 0,0 0,0 0,-1 0,1 1,0-1,6 1,2-1,507-13,-345 16,1949-1,-2032-5,-1-5,107-22,-4-1,-100 26,-65 6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0-04T05:00:57.15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 0 24575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44.38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64,'1725'0,"-1308"-16,-245 7,413-50,-539 54,153-26,-95 13,177-8,1052 27,-523 1,-762 1,54 8,46 3,-121-12,0 1,0 1,0 2,46 15,-51-14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46.99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38,'54'-15,"0"2,78-9,113 2,57-7,168-13,3 41,-183 2,2776-3,-3005 0</inkml:trace>
</inkml:ink>
</file>

<file path=ppt/ink/ink3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5:48.74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66,'4'-3,"-1"1,0-1,1 1,-1 0,1 0,0 0,-1 1,1-1,0 1,0 0,0 0,5 0,54-3,-42 4,346-6,1 17,381 60,-557-43,330 5,379-36,-874 1,0-1,0-1,0-1,29-10,56-11,127-21,-199 37,-1-1,63-28,-97 37,17-7</inkml:trace>
</inkml:ink>
</file>

<file path=ppt/ink/ink3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6:36.10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</inkml:trace>
</inkml:ink>
</file>

<file path=ppt/ink/ink3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06:36.77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0-04T05:00:57.60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1 24575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0-04T05:00:58.402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 0 24575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24:20.606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,'1501'0,"-1479"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24:21.46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0-06T04:24:28.76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 56 24575,'2836'0'0,"-2818"-1"0,-1-1 0,1-1 0,-1-1 0,0 0 0,20-8 0,-15 5 0,0 1 0,31-5 0,13 6-1365,-38 4-5461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0-06T04:24:33.79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2381'0,"-2356"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noProof="0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24DCF3-F1D0-40B4-94A5-27B311AB2416}" type="datetime1">
              <a:rPr lang="ru-RU" noProof="0" smtClean="0"/>
              <a:pPr/>
              <a:t>07.10.2022</a:t>
            </a:fld>
            <a:endParaRPr lang="ru-RU" noProof="0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ru-RU" noProof="0" dirty="0"/>
              <a:t>Щелкните, чтобы изменить стили текста образца слайда</a:t>
            </a:r>
          </a:p>
          <a:p>
            <a:pPr lvl="1"/>
            <a:r>
              <a:rPr lang="ru-RU" noProof="0" dirty="0"/>
              <a:t>Второй уровень</a:t>
            </a:r>
          </a:p>
          <a:p>
            <a:pPr lvl="2"/>
            <a:r>
              <a:rPr lang="ru-RU" noProof="0" dirty="0"/>
              <a:t>Третий уровень</a:t>
            </a:r>
          </a:p>
          <a:p>
            <a:pPr lvl="3"/>
            <a:r>
              <a:rPr lang="ru-RU" noProof="0" dirty="0"/>
              <a:t>Четвертый уровень</a:t>
            </a:r>
          </a:p>
          <a:p>
            <a:pPr lvl="4"/>
            <a:r>
              <a:rPr lang="ru-RU" noProof="0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noProof="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3E23B2-AB0A-418E-8392-565540EE3C71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791978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3E23B2-AB0A-418E-8392-565540EE3C71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2990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ED051E4D-7E57-413A-8720-4F166BDFA2F0}" type="slidenum">
              <a:rPr lang="ru-RU" smtClean="0"/>
              <a:pPr rtl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94084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5E4AF-373C-429A-8AD0-F68B6D29149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89878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C8136092-2EDF-47BF-99B1-B87430F95B70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21532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3E23B2-AB0A-418E-8392-565540EE3C71}" type="slidenum">
              <a:rPr lang="ru-RU" smtClean="0"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65444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F07F282E-55F5-4803-B60F-09BA4600E538}" type="slidenum">
              <a:rPr lang="ru-RU" smtClean="0"/>
              <a:t>20</a:t>
            </a:fld>
            <a:endParaRPr lang="ru-RU" dirty="0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3DD0D667-8AD0-4B43-A9CB-F727D6561BA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rtl="0"/>
            <a:fld id="{00CAD059-5FC9-4125-AC3B-C5018339EA16}" type="datetime1">
              <a:rPr lang="ru-RU" smtClean="0"/>
              <a:t>07.10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0697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6DF8F48A-6110-47DA-8521-A1D1FFD22FE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1800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>
            <a:defPPr>
              <a:defRPr lang="ru-RU"/>
            </a:defPPr>
          </a:lstStyle>
          <a:p>
            <a:pPr rtl="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>
            <a:defPPr>
              <a:defRPr lang="ru-RU"/>
            </a:defPPr>
          </a:lstStyle>
          <a:p>
            <a:pPr rtl="0"/>
            <a:fld id="{5A226AB8-ACBE-42E6-92F5-667EDDCD9652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055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7F48DEA9-6F4F-4540-9E5D-C6F39079AF72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953500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>
            <a:defPPr>
              <a:defRPr lang="ru-RU"/>
            </a:defPPr>
          </a:lstStyle>
          <a:p>
            <a:pPr rtl="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>
            <a:defPPr>
              <a:defRPr lang="ru-RU"/>
            </a:defPPr>
          </a:lstStyle>
          <a:p>
            <a:pPr rtl="0"/>
            <a:fld id="{5A226AB8-ACBE-42E6-92F5-667EDDCD9652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80269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>
            <a:defPPr>
              <a:defRPr lang="ru-RU"/>
            </a:defPPr>
          </a:lstStyle>
          <a:p>
            <a:pPr rtl="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>
            <a:defPPr>
              <a:defRPr lang="ru-RU"/>
            </a:defPPr>
          </a:lstStyle>
          <a:p>
            <a:pPr rtl="0"/>
            <a:fld id="{5A226AB8-ACBE-42E6-92F5-667EDDCD9652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15613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9CA004F4-F240-48F9-8AE1-486585C7F00D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28687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DC9BE-8102-4ADA-9C69-422E2361041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01811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B5E4AF-373C-429A-8AD0-F68B6D29149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8987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2.svg"/><Relationship Id="rId18" Type="http://schemas.openxmlformats.org/officeDocument/2006/relationships/image" Target="../media/image9.png"/><Relationship Id="rId26" Type="http://schemas.openxmlformats.org/officeDocument/2006/relationships/image" Target="../media/image13.png"/><Relationship Id="rId3" Type="http://schemas.openxmlformats.org/officeDocument/2006/relationships/image" Target="../media/image2.svg"/><Relationship Id="rId21" Type="http://schemas.openxmlformats.org/officeDocument/2006/relationships/image" Target="../media/image20.svg"/><Relationship Id="rId7" Type="http://schemas.openxmlformats.org/officeDocument/2006/relationships/image" Target="../media/image6.svg"/><Relationship Id="rId12" Type="http://schemas.openxmlformats.org/officeDocument/2006/relationships/image" Target="../media/image6.png"/><Relationship Id="rId17" Type="http://schemas.openxmlformats.org/officeDocument/2006/relationships/image" Target="../media/image16.svg"/><Relationship Id="rId25" Type="http://schemas.openxmlformats.org/officeDocument/2006/relationships/image" Target="../media/image24.svg"/><Relationship Id="rId2" Type="http://schemas.openxmlformats.org/officeDocument/2006/relationships/image" Target="../media/image1.png"/><Relationship Id="rId16" Type="http://schemas.openxmlformats.org/officeDocument/2006/relationships/image" Target="../media/image8.png"/><Relationship Id="rId20" Type="http://schemas.openxmlformats.org/officeDocument/2006/relationships/image" Target="../media/image10.png"/><Relationship Id="rId29" Type="http://schemas.openxmlformats.org/officeDocument/2006/relationships/image" Target="../media/image28.sv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png"/><Relationship Id="rId11" Type="http://schemas.openxmlformats.org/officeDocument/2006/relationships/image" Target="../media/image10.svg"/><Relationship Id="rId24" Type="http://schemas.openxmlformats.org/officeDocument/2006/relationships/image" Target="../media/image12.png"/><Relationship Id="rId5" Type="http://schemas.openxmlformats.org/officeDocument/2006/relationships/image" Target="../media/image4.svg"/><Relationship Id="rId15" Type="http://schemas.openxmlformats.org/officeDocument/2006/relationships/image" Target="../media/image14.svg"/><Relationship Id="rId23" Type="http://schemas.openxmlformats.org/officeDocument/2006/relationships/image" Target="../media/image22.svg"/><Relationship Id="rId28" Type="http://schemas.openxmlformats.org/officeDocument/2006/relationships/image" Target="../media/image14.png"/><Relationship Id="rId10" Type="http://schemas.openxmlformats.org/officeDocument/2006/relationships/image" Target="../media/image5.png"/><Relationship Id="rId19" Type="http://schemas.openxmlformats.org/officeDocument/2006/relationships/image" Target="../media/image18.svg"/><Relationship Id="rId4" Type="http://schemas.openxmlformats.org/officeDocument/2006/relationships/image" Target="../media/image2.png"/><Relationship Id="rId9" Type="http://schemas.openxmlformats.org/officeDocument/2006/relationships/image" Target="../media/image8.svg"/><Relationship Id="rId14" Type="http://schemas.openxmlformats.org/officeDocument/2006/relationships/image" Target="../media/image7.png"/><Relationship Id="rId22" Type="http://schemas.openxmlformats.org/officeDocument/2006/relationships/image" Target="../media/image11.png"/><Relationship Id="rId27" Type="http://schemas.openxmlformats.org/officeDocument/2006/relationships/image" Target="../media/image2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39E3965E-AC41-4711-9D10-E25ABB132D86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rtlCol="0" anchor="b">
            <a:normAutofit/>
          </a:bodyPr>
          <a:lstStyle>
            <a:lvl1pPr algn="l">
              <a:lnSpc>
                <a:spcPct val="90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Подзаголовок 2"/>
          <p:cNvSpPr>
            <a:spLocks noGrp="1"/>
          </p:cNvSpPr>
          <p:nvPr>
            <p:ph type="subTitle" idx="1"/>
          </p:nvPr>
        </p:nvSpPr>
        <p:spPr>
          <a:xfrm>
            <a:off x="1100051" y="4645152"/>
            <a:ext cx="10058400" cy="1143000"/>
          </a:xfrm>
        </p:spPr>
        <p:txBody>
          <a:bodyPr lIns="91440" rIns="91440" rtlCol="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rtl="0"/>
            <a:r>
              <a:rPr lang="ru-RU" noProof="0"/>
              <a:t>Образец подзаголовка</a:t>
            </a:r>
            <a:endParaRPr lang="ru-RU" noProof="0" dirty="0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1F5DC8C3-BA5F-4EED-BB9A-A14272BD82A1}"/>
              </a:ext>
            </a:extLst>
          </p:cNvPr>
          <p:cNvCxnSpPr/>
          <p:nvPr/>
        </p:nvCxnSpPr>
        <p:spPr>
          <a:xfrm>
            <a:off x="1207658" y="4474741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925CCF1-92C0-4AF3-BFAF-4921631915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086D06BF-12B5-4837-9AC0-AE25EDAD8C41}" type="datetime1">
              <a:rPr lang="ru-RU" noProof="0" smtClean="0"/>
              <a:t>07.10.2022</a:t>
            </a:fld>
            <a:endParaRPr lang="ru-RU" noProof="0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051A78A9-3DFF-4937-A9F2-5D8CF495F3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 dirty="0"/>
          </a:p>
        </p:txBody>
      </p:sp>
      <p:sp>
        <p:nvSpPr>
          <p:cNvPr id="6" name="Номер слайда 5">
            <a:extLst>
              <a:ext uri="{FF2B5EF4-FFF2-40B4-BE49-F238E27FC236}">
                <a16:creationId xmlns:a16="http://schemas.microsoft.com/office/drawing/2014/main" xmlns="" id="{5FAEB271-5CC0-4759-BC6E-8BE53AB22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6234375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Временная шка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30FB3D5A-25E2-453F-A78E-0A20BDCE80A2}"/>
              </a:ext>
            </a:extLst>
          </p:cNvPr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28796342-0E80-4F8E-9563-9F5EDFC0DDF2}"/>
              </a:ext>
            </a:extLst>
          </p:cNvPr>
          <p:cNvSpPr/>
          <p:nvPr userDrawn="1"/>
        </p:nvSpPr>
        <p:spPr>
          <a:xfrm>
            <a:off x="1038768" y="-2946"/>
            <a:ext cx="11153231" cy="4727782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C39B2F5D-C3BA-453E-8F4D-97074F48C7AE}"/>
              </a:ext>
            </a:extLst>
          </p:cNvPr>
          <p:cNvSpPr/>
          <p:nvPr userDrawn="1"/>
        </p:nvSpPr>
        <p:spPr>
          <a:xfrm>
            <a:off x="0" y="4724838"/>
            <a:ext cx="12192000" cy="13477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xmlns="" id="{452D50E3-A27A-4AF6-928B-286E7BDB4B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35372" y="4872251"/>
            <a:ext cx="10013709" cy="1030360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ru-RU">
                <a:solidFill>
                  <a:schemeClr val="bg1"/>
                </a:solidFill>
              </a:rPr>
              <a:t>Заголовок слайда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D874FDF0-F4BE-433D-86EE-9E1832D4388B}"/>
              </a:ext>
            </a:extLst>
          </p:cNvPr>
          <p:cNvSpPr/>
          <p:nvPr userDrawn="1"/>
        </p:nvSpPr>
        <p:spPr>
          <a:xfrm>
            <a:off x="-1" y="4790620"/>
            <a:ext cx="1006766" cy="12161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25DFCD07-1301-45ED-B326-449ECFADE70D}"/>
              </a:ext>
            </a:extLst>
          </p:cNvPr>
          <p:cNvSpPr/>
          <p:nvPr userDrawn="1"/>
        </p:nvSpPr>
        <p:spPr>
          <a:xfrm rot="5400000">
            <a:off x="-2390232" y="3396997"/>
            <a:ext cx="6858002" cy="64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xmlns="" id="{BD5DA270-E83F-4CC8-9DA6-27CA3AEC07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35372" y="6309360"/>
            <a:ext cx="4946592" cy="457200"/>
          </a:xfrm>
        </p:spPr>
        <p:txBody>
          <a:bodyPr rtlCol="0"/>
          <a:lstStyle/>
          <a:p>
            <a:pPr rtl="0"/>
            <a:r>
              <a:rPr lang="ru-RU"/>
              <a:t>Название презентации</a:t>
            </a:r>
          </a:p>
        </p:txBody>
      </p:sp>
      <p:sp>
        <p:nvSpPr>
          <p:cNvPr id="9" name="Дата 3">
            <a:extLst>
              <a:ext uri="{FF2B5EF4-FFF2-40B4-BE49-F238E27FC236}">
                <a16:creationId xmlns:a16="http://schemas.microsoft.com/office/drawing/2014/main" xmlns="" id="{57804587-2E59-4D83-B86E-83ADAE4FDC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02168" y="6309360"/>
            <a:ext cx="2148840" cy="457200"/>
          </a:xfrm>
        </p:spPr>
        <p:txBody>
          <a:bodyPr rtlCol="0"/>
          <a:lstStyle/>
          <a:p>
            <a:pPr rtl="0"/>
            <a:r>
              <a:rPr lang="ru-RU"/>
              <a:t>1 февраля 20XX</a:t>
            </a:r>
            <a:endParaRPr lang="ru-RU" dirty="0"/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xmlns="" id="{5339F117-3072-4F0C-8D1D-E5DC918CE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69202" y="6309360"/>
            <a:ext cx="979879" cy="457200"/>
          </a:xfrm>
        </p:spPr>
        <p:txBody>
          <a:bodyPr rtlCol="0"/>
          <a:lstStyle/>
          <a:p>
            <a:pPr rtl="0"/>
            <a:fld id="{FAEF9944-A4F6-4C59-AEBD-678D6480B8E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4307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Текст 16">
            <a:extLst>
              <a:ext uri="{FF2B5EF4-FFF2-40B4-BE49-F238E27FC236}">
                <a16:creationId xmlns:a16="http://schemas.microsoft.com/office/drawing/2014/main" xmlns="" id="{B8498729-8E0E-452C-9DE5-20C4280E68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339" y="5310000"/>
            <a:ext cx="4536000" cy="1548000"/>
          </a:xfrm>
          <a:solidFill>
            <a:schemeClr val="bg1">
              <a:lumMod val="85000"/>
              <a:alpha val="80000"/>
            </a:schemeClr>
          </a:solidFill>
        </p:spPr>
        <p:txBody>
          <a:bodyPr lIns="288000" tIns="252000" rtlCol="0"/>
          <a:lstStyle>
            <a:lvl1pPr marL="0" indent="0">
              <a:spcBef>
                <a:spcPts val="500"/>
              </a:spcBef>
              <a:buNone/>
              <a:defRPr sz="13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500"/>
              </a:spcBef>
              <a:buNone/>
              <a:defRPr sz="1000">
                <a:solidFill>
                  <a:schemeClr val="bg2"/>
                </a:solidFill>
              </a:defRPr>
            </a:lvl2pPr>
          </a:lstStyle>
          <a:p>
            <a:pPr lvl="0" rtl="0"/>
            <a:r>
              <a:rPr lang="ru-RU" noProof="0" dirty="0"/>
              <a:t>Заголовок дополнительного этапа 02</a:t>
            </a:r>
          </a:p>
          <a:p>
            <a:pPr lvl="1" rtl="0"/>
            <a:r>
              <a:rPr lang="ru-RU" noProof="0" dirty="0" err="1"/>
              <a:t>Lorem</a:t>
            </a:r>
            <a:r>
              <a:rPr lang="ru-RU" noProof="0" dirty="0"/>
              <a:t> </a:t>
            </a:r>
            <a:r>
              <a:rPr lang="ru-RU" noProof="0" dirty="0" err="1"/>
              <a:t>ipsum</a:t>
            </a:r>
            <a:r>
              <a:rPr lang="ru-RU" noProof="0" dirty="0"/>
              <a:t> </a:t>
            </a:r>
            <a:r>
              <a:rPr lang="ru-RU" noProof="0" dirty="0" err="1"/>
              <a:t>dolor</a:t>
            </a:r>
            <a:r>
              <a:rPr lang="ru-RU" noProof="0" dirty="0"/>
              <a:t> </a:t>
            </a:r>
            <a:r>
              <a:rPr lang="ru-RU" noProof="0" dirty="0" err="1"/>
              <a:t>sit</a:t>
            </a:r>
            <a:r>
              <a:rPr lang="ru-RU" noProof="0" dirty="0"/>
              <a:t> </a:t>
            </a:r>
            <a:r>
              <a:rPr lang="ru-RU" noProof="0" dirty="0" err="1"/>
              <a:t>amet</a:t>
            </a:r>
            <a:r>
              <a:rPr lang="ru-RU" noProof="0" dirty="0"/>
              <a:t>, </a:t>
            </a:r>
            <a:r>
              <a:rPr lang="ru-RU" noProof="0" dirty="0" err="1"/>
              <a:t>consectetuer</a:t>
            </a:r>
            <a:r>
              <a:rPr lang="ru-RU" noProof="0" dirty="0"/>
              <a:t> </a:t>
            </a:r>
            <a:r>
              <a:rPr lang="ru-RU" noProof="0" dirty="0" err="1"/>
              <a:t>adipiscing</a:t>
            </a:r>
            <a:r>
              <a:rPr lang="ru-RU" noProof="0" dirty="0"/>
              <a:t> </a:t>
            </a:r>
            <a:r>
              <a:rPr lang="ru-RU" noProof="0" dirty="0" err="1"/>
              <a:t>elit</a:t>
            </a:r>
            <a:r>
              <a:rPr lang="ru-RU" noProof="0" dirty="0"/>
              <a:t>, </a:t>
            </a:r>
            <a:r>
              <a:rPr lang="ru-RU" noProof="0" dirty="0" err="1"/>
              <a:t>sed</a:t>
            </a:r>
            <a:r>
              <a:rPr lang="ru-RU" noProof="0" dirty="0"/>
              <a:t> </a:t>
            </a:r>
            <a:r>
              <a:rPr lang="ru-RU" noProof="0" dirty="0" err="1"/>
              <a:t>diam</a:t>
            </a:r>
            <a:r>
              <a:rPr lang="ru-RU" noProof="0" dirty="0"/>
              <a:t> </a:t>
            </a:r>
            <a:r>
              <a:rPr lang="ru-RU" noProof="0" dirty="0" err="1"/>
              <a:t>nonummy</a:t>
            </a:r>
            <a:endParaRPr lang="ru-RU" noProof="0" dirty="0"/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xmlns="" id="{6F6ED01E-03BA-4CB7-BDDB-4A7F0B0DA4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7583" y="5310000"/>
            <a:ext cx="2778470" cy="1548000"/>
          </a:xfrm>
          <a:solidFill>
            <a:schemeClr val="bg1">
              <a:lumMod val="95000"/>
            </a:schemeClr>
          </a:solidFill>
        </p:spPr>
        <p:txBody>
          <a:bodyPr lIns="288000" tIns="252000" rtlCol="0"/>
          <a:lstStyle>
            <a:lvl1pPr marL="0" indent="0">
              <a:spcBef>
                <a:spcPts val="500"/>
              </a:spcBef>
              <a:buNone/>
              <a:defRPr sz="13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500"/>
              </a:spcBef>
              <a:buNone/>
              <a:defRPr sz="1000">
                <a:solidFill>
                  <a:schemeClr val="bg2"/>
                </a:solidFill>
              </a:defRPr>
            </a:lvl2pPr>
          </a:lstStyle>
          <a:p>
            <a:pPr lvl="0" rtl="0"/>
            <a:r>
              <a:rPr lang="ru-RU" noProof="0" dirty="0"/>
              <a:t>Заголовок дополнительного этапа 01</a:t>
            </a:r>
          </a:p>
          <a:p>
            <a:pPr lvl="1" rtl="0"/>
            <a:r>
              <a:rPr lang="ru-RU" noProof="0" dirty="0" err="1"/>
              <a:t>Lorem</a:t>
            </a:r>
            <a:r>
              <a:rPr lang="ru-RU" noProof="0" dirty="0"/>
              <a:t> </a:t>
            </a:r>
            <a:r>
              <a:rPr lang="ru-RU" noProof="0" dirty="0" err="1"/>
              <a:t>ipsum</a:t>
            </a:r>
            <a:r>
              <a:rPr lang="ru-RU" noProof="0" dirty="0"/>
              <a:t> </a:t>
            </a:r>
            <a:r>
              <a:rPr lang="ru-RU" noProof="0" dirty="0" err="1"/>
              <a:t>dolor</a:t>
            </a:r>
            <a:r>
              <a:rPr lang="ru-RU" noProof="0" dirty="0"/>
              <a:t> </a:t>
            </a:r>
            <a:r>
              <a:rPr lang="ru-RU" noProof="0" dirty="0" err="1"/>
              <a:t>sit</a:t>
            </a:r>
            <a:r>
              <a:rPr lang="ru-RU" noProof="0" dirty="0"/>
              <a:t> </a:t>
            </a:r>
            <a:r>
              <a:rPr lang="ru-RU" noProof="0" dirty="0" err="1"/>
              <a:t>amet</a:t>
            </a:r>
            <a:r>
              <a:rPr lang="ru-RU" noProof="0" dirty="0"/>
              <a:t>, </a:t>
            </a:r>
            <a:r>
              <a:rPr lang="ru-RU" noProof="0" dirty="0" err="1"/>
              <a:t>consectetuer</a:t>
            </a:r>
            <a:r>
              <a:rPr lang="ru-RU" noProof="0" dirty="0"/>
              <a:t> </a:t>
            </a:r>
            <a:r>
              <a:rPr lang="ru-RU" noProof="0" dirty="0" err="1"/>
              <a:t>adipiscing</a:t>
            </a:r>
            <a:r>
              <a:rPr lang="ru-RU" noProof="0" dirty="0"/>
              <a:t> </a:t>
            </a:r>
            <a:r>
              <a:rPr lang="ru-RU" noProof="0" dirty="0" err="1"/>
              <a:t>elit</a:t>
            </a:r>
            <a:r>
              <a:rPr lang="ru-RU" noProof="0" dirty="0"/>
              <a:t>, </a:t>
            </a:r>
            <a:r>
              <a:rPr lang="ru-RU" noProof="0" dirty="0" err="1"/>
              <a:t>sed</a:t>
            </a:r>
            <a:r>
              <a:rPr lang="ru-RU" noProof="0" dirty="0"/>
              <a:t> </a:t>
            </a:r>
            <a:r>
              <a:rPr lang="ru-RU" noProof="0" dirty="0" err="1"/>
              <a:t>diam</a:t>
            </a:r>
            <a:r>
              <a:rPr lang="ru-RU" noProof="0" dirty="0"/>
              <a:t> </a:t>
            </a:r>
            <a:r>
              <a:rPr lang="ru-RU" noProof="0" dirty="0" err="1"/>
              <a:t>nonummy</a:t>
            </a:r>
            <a:endParaRPr lang="ru-RU" noProof="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3060639-BF2D-41F8-822B-DED03338D28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80354" y="197121"/>
            <a:ext cx="10711545" cy="1325563"/>
          </a:xfrm>
        </p:spPr>
        <p:txBody>
          <a:bodyPr rtlCol="0">
            <a:normAutofit/>
          </a:bodyPr>
          <a:lstStyle>
            <a:lvl1pPr>
              <a:defRPr sz="3000"/>
            </a:lvl1pPr>
          </a:lstStyle>
          <a:p>
            <a:pPr rtl="0"/>
            <a:r>
              <a:rPr lang="ru-RU" noProof="0" dirty="0"/>
              <a:t>Временная шкала проект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0F474091-9EA2-47C8-AAA9-6DFE207852E4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80354" y="1786436"/>
            <a:ext cx="10711545" cy="3306069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19" name="Текст 16">
            <a:extLst>
              <a:ext uri="{FF2B5EF4-FFF2-40B4-BE49-F238E27FC236}">
                <a16:creationId xmlns:a16="http://schemas.microsoft.com/office/drawing/2014/main" xmlns="" id="{1C51713D-9A60-48EF-A25A-764AEDE9E6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46626" y="5310000"/>
            <a:ext cx="3103200" cy="1548000"/>
          </a:xfrm>
          <a:solidFill>
            <a:schemeClr val="bg1">
              <a:lumMod val="95000"/>
            </a:schemeClr>
          </a:solidFill>
        </p:spPr>
        <p:txBody>
          <a:bodyPr lIns="288000" tIns="252000" rtlCol="0"/>
          <a:lstStyle>
            <a:lvl1pPr marL="0" indent="0">
              <a:spcBef>
                <a:spcPts val="500"/>
              </a:spcBef>
              <a:buNone/>
              <a:defRPr sz="1300" b="1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500"/>
              </a:spcBef>
              <a:buNone/>
              <a:defRPr sz="1000">
                <a:solidFill>
                  <a:schemeClr val="bg2"/>
                </a:solidFill>
              </a:defRPr>
            </a:lvl2pPr>
          </a:lstStyle>
          <a:p>
            <a:pPr lvl="0" rtl="0"/>
            <a:r>
              <a:rPr lang="ru-RU" noProof="0" dirty="0"/>
              <a:t>Заголовок дополнительного этапа 3</a:t>
            </a:r>
          </a:p>
          <a:p>
            <a:pPr lvl="1" rtl="0"/>
            <a:r>
              <a:rPr lang="ru-RU" noProof="0" dirty="0" err="1"/>
              <a:t>Lorem</a:t>
            </a:r>
            <a:r>
              <a:rPr lang="ru-RU" noProof="0" dirty="0"/>
              <a:t> </a:t>
            </a:r>
            <a:r>
              <a:rPr lang="ru-RU" noProof="0" dirty="0" err="1"/>
              <a:t>ipsum</a:t>
            </a:r>
            <a:r>
              <a:rPr lang="ru-RU" noProof="0" dirty="0"/>
              <a:t> </a:t>
            </a:r>
            <a:r>
              <a:rPr lang="ru-RU" noProof="0" dirty="0" err="1"/>
              <a:t>dolor</a:t>
            </a:r>
            <a:r>
              <a:rPr lang="ru-RU" noProof="0" dirty="0"/>
              <a:t> </a:t>
            </a:r>
            <a:r>
              <a:rPr lang="ru-RU" noProof="0" dirty="0" err="1"/>
              <a:t>sit</a:t>
            </a:r>
            <a:r>
              <a:rPr lang="ru-RU" noProof="0" dirty="0"/>
              <a:t> </a:t>
            </a:r>
            <a:r>
              <a:rPr lang="ru-RU" noProof="0" dirty="0" err="1"/>
              <a:t>amet</a:t>
            </a:r>
            <a:r>
              <a:rPr lang="ru-RU" noProof="0" dirty="0"/>
              <a:t>, </a:t>
            </a:r>
            <a:r>
              <a:rPr lang="ru-RU" noProof="0" dirty="0" err="1"/>
              <a:t>consectetuer</a:t>
            </a:r>
            <a:r>
              <a:rPr lang="ru-RU" noProof="0" dirty="0"/>
              <a:t> </a:t>
            </a:r>
            <a:r>
              <a:rPr lang="ru-RU" noProof="0" dirty="0" err="1"/>
              <a:t>adipiscing</a:t>
            </a:r>
            <a:r>
              <a:rPr lang="ru-RU" noProof="0" dirty="0"/>
              <a:t> </a:t>
            </a:r>
            <a:r>
              <a:rPr lang="ru-RU" noProof="0" dirty="0" err="1"/>
              <a:t>elit</a:t>
            </a:r>
            <a:r>
              <a:rPr lang="ru-RU" noProof="0" dirty="0"/>
              <a:t>, </a:t>
            </a:r>
            <a:r>
              <a:rPr lang="ru-RU" noProof="0" dirty="0" err="1"/>
              <a:t>sed</a:t>
            </a:r>
            <a:r>
              <a:rPr lang="ru-RU" noProof="0" dirty="0"/>
              <a:t> </a:t>
            </a:r>
            <a:r>
              <a:rPr lang="ru-RU" noProof="0" dirty="0" err="1"/>
              <a:t>diam</a:t>
            </a:r>
            <a:r>
              <a:rPr lang="ru-RU" noProof="0" dirty="0"/>
              <a:t> </a:t>
            </a:r>
            <a:r>
              <a:rPr lang="ru-RU" noProof="0" dirty="0" err="1"/>
              <a:t>nonummy</a:t>
            </a:r>
            <a:endParaRPr lang="ru-RU" noProof="0" dirty="0"/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303706AB-7768-4239-93C0-28F2AC35B71A}"/>
              </a:ext>
            </a:extLst>
          </p:cNvPr>
          <p:cNvCxnSpPr/>
          <p:nvPr userDrawn="1"/>
        </p:nvCxnSpPr>
        <p:spPr>
          <a:xfrm>
            <a:off x="2473508" y="1181100"/>
            <a:ext cx="5292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7418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олько 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5A01EED-287D-B044-B13E-93334ABA9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717" y="262501"/>
            <a:ext cx="4413016" cy="1227598"/>
          </a:xfrm>
          <a:noFill/>
          <a:ln w="9525">
            <a:noFill/>
            <a:miter lim="800000"/>
            <a:headEnd/>
            <a:tailEnd/>
          </a:ln>
        </p:spPr>
        <p:txBody>
          <a:bodyPr lIns="45720" tIns="18288" rIns="27432" bIns="18288" rtlCol="0"/>
          <a:lstStyle>
            <a:lvl1pPr>
              <a:defRPr lang="en-US" sz="4800">
                <a:latin typeface="+mj-lt"/>
                <a:ea typeface="+mn-ea"/>
                <a:cs typeface="+mn-cs"/>
              </a:defRPr>
            </a:lvl1pPr>
          </a:lstStyle>
          <a:p>
            <a:pPr marL="0" lvl="0" algn="l" rtl="0">
              <a:lnSpc>
                <a:spcPct val="85000"/>
              </a:lnSpc>
              <a:spcBef>
                <a:spcPts val="200"/>
              </a:spcBef>
            </a:pPr>
            <a:r>
              <a:rPr lang="ru-RU" noProof="0"/>
              <a:t>Образец заголовка</a:t>
            </a:r>
          </a:p>
        </p:txBody>
      </p:sp>
      <p:sp>
        <p:nvSpPr>
          <p:cNvPr id="21" name="Текст 20">
            <a:extLst>
              <a:ext uri="{FF2B5EF4-FFF2-40B4-BE49-F238E27FC236}">
                <a16:creationId xmlns:a16="http://schemas.microsoft.com/office/drawing/2014/main" xmlns="" id="{54AD5E24-6241-E249-825D-7358AC3A26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3200" y="6443664"/>
            <a:ext cx="5418667" cy="261937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100" dirty="0" smtClean="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pPr marL="0" lvl="0" rtl="0"/>
            <a:r>
              <a:rPr lang="ru-RU" noProof="0"/>
              <a:t>Образец текста</a:t>
            </a:r>
          </a:p>
        </p:txBody>
      </p:sp>
      <p:sp>
        <p:nvSpPr>
          <p:cNvPr id="40" name="Текст 39">
            <a:extLst>
              <a:ext uri="{FF2B5EF4-FFF2-40B4-BE49-F238E27FC236}">
                <a16:creationId xmlns:a16="http://schemas.microsoft.com/office/drawing/2014/main" xmlns="" id="{AD48FD26-8883-6644-B0FA-A6B92A90D7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0485" y="1660005"/>
            <a:ext cx="4413249" cy="381000"/>
          </a:xfrm>
        </p:spPr>
        <p:txBody>
          <a:bodyPr rtlCol="0"/>
          <a:lstStyle>
            <a:lvl1pPr marL="0" indent="0">
              <a:buNone/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C15D7372-204D-244C-AE20-13C0C616913D}"/>
              </a:ext>
            </a:extLst>
          </p:cNvPr>
          <p:cNvGrpSpPr/>
          <p:nvPr userDrawn="1"/>
        </p:nvGrpSpPr>
        <p:grpSpPr>
          <a:xfrm>
            <a:off x="5486400" y="1899057"/>
            <a:ext cx="4005302" cy="3878149"/>
            <a:chOff x="2133600" y="914400"/>
            <a:chExt cx="4800600" cy="4648200"/>
          </a:xfrm>
        </p:grpSpPr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xmlns="" id="{08F3A33D-4427-F740-882A-2287D2C2E03A}"/>
                </a:ext>
              </a:extLst>
            </p:cNvPr>
            <p:cNvSpPr/>
            <p:nvPr/>
          </p:nvSpPr>
          <p:spPr bwMode="auto">
            <a:xfrm>
              <a:off x="3733800" y="1600200"/>
              <a:ext cx="2133600" cy="2133600"/>
            </a:xfrm>
            <a:prstGeom prst="ellipse">
              <a:avLst/>
            </a:prstGeom>
            <a:solidFill>
              <a:schemeClr val="accent3">
                <a:alpha val="3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noProof="0">
                <a:latin typeface="+mn-lt"/>
              </a:endParaRPr>
            </a:p>
          </p:txBody>
        </p:sp>
        <p:sp>
          <p:nvSpPr>
            <p:cNvPr id="43" name="Овал 42">
              <a:extLst>
                <a:ext uri="{FF2B5EF4-FFF2-40B4-BE49-F238E27FC236}">
                  <a16:creationId xmlns:a16="http://schemas.microsoft.com/office/drawing/2014/main" xmlns="" id="{5E152306-EB00-E241-B70A-4AA581A8850A}"/>
                </a:ext>
              </a:extLst>
            </p:cNvPr>
            <p:cNvSpPr/>
            <p:nvPr/>
          </p:nvSpPr>
          <p:spPr bwMode="auto">
            <a:xfrm>
              <a:off x="4800600" y="3276600"/>
              <a:ext cx="2133600" cy="2133600"/>
            </a:xfrm>
            <a:prstGeom prst="ellipse">
              <a:avLst/>
            </a:prstGeom>
            <a:solidFill>
              <a:schemeClr val="accent5">
                <a:alpha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noProof="0">
                <a:latin typeface="+mn-lt"/>
              </a:endParaRPr>
            </a:p>
          </p:txBody>
        </p:sp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xmlns="" id="{4D8D2E04-E788-5143-9B3F-2AA643E73F3D}"/>
                </a:ext>
              </a:extLst>
            </p:cNvPr>
            <p:cNvSpPr/>
            <p:nvPr/>
          </p:nvSpPr>
          <p:spPr bwMode="auto">
            <a:xfrm>
              <a:off x="2514600" y="1676400"/>
              <a:ext cx="1371600" cy="1371600"/>
            </a:xfrm>
            <a:prstGeom prst="ellipse">
              <a:avLst/>
            </a:prstGeom>
            <a:solidFill>
              <a:schemeClr val="accent6">
                <a:alpha val="3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noProof="0">
                <a:latin typeface="+mn-lt"/>
              </a:endParaRPr>
            </a:p>
          </p:txBody>
        </p:sp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xmlns="" id="{DB0F0F10-D7D8-1640-9A0C-9565AAB0FEFE}"/>
                </a:ext>
              </a:extLst>
            </p:cNvPr>
            <p:cNvSpPr/>
            <p:nvPr/>
          </p:nvSpPr>
          <p:spPr bwMode="auto">
            <a:xfrm>
              <a:off x="2133600" y="2971800"/>
              <a:ext cx="1066800" cy="1066800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noProof="0">
                <a:latin typeface="+mn-lt"/>
              </a:endParaRPr>
            </a:p>
          </p:txBody>
        </p:sp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xmlns="" id="{CE101BB6-2D44-AE47-B636-34B1D3A0968C}"/>
                </a:ext>
              </a:extLst>
            </p:cNvPr>
            <p:cNvSpPr/>
            <p:nvPr/>
          </p:nvSpPr>
          <p:spPr bwMode="auto">
            <a:xfrm>
              <a:off x="5562600" y="1905000"/>
              <a:ext cx="1066800" cy="1066800"/>
            </a:xfrm>
            <a:prstGeom prst="ellipse">
              <a:avLst/>
            </a:prstGeom>
            <a:solidFill>
              <a:schemeClr val="accent4">
                <a:alpha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noProof="0">
                <a:latin typeface="+mn-lt"/>
              </a:endParaRPr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xmlns="" id="{F37AEB84-A496-5C4C-B198-2DC87E4C7369}"/>
                </a:ext>
              </a:extLst>
            </p:cNvPr>
            <p:cNvSpPr/>
            <p:nvPr/>
          </p:nvSpPr>
          <p:spPr bwMode="auto">
            <a:xfrm>
              <a:off x="3733800" y="914400"/>
              <a:ext cx="1066800" cy="1066800"/>
            </a:xfrm>
            <a:prstGeom prst="ellipse">
              <a:avLst/>
            </a:prstGeom>
            <a:solidFill>
              <a:schemeClr val="accent6">
                <a:alpha val="3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noProof="0">
                <a:latin typeface="+mn-lt"/>
              </a:endParaRPr>
            </a:p>
          </p:txBody>
        </p:sp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xmlns="" id="{67DF15DD-D0E7-5B4B-A4A4-9AFEE1F0D51D}"/>
                </a:ext>
              </a:extLst>
            </p:cNvPr>
            <p:cNvSpPr/>
            <p:nvPr/>
          </p:nvSpPr>
          <p:spPr bwMode="auto">
            <a:xfrm>
              <a:off x="2209800" y="3429000"/>
              <a:ext cx="2133600" cy="21336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noProof="0">
                <a:latin typeface="+mn-lt"/>
              </a:endParaRPr>
            </a:p>
          </p:txBody>
        </p:sp>
      </p:grpSp>
      <p:cxnSp>
        <p:nvCxnSpPr>
          <p:cNvPr id="49" name="Соединительная линия уступом 48">
            <a:extLst>
              <a:ext uri="{FF2B5EF4-FFF2-40B4-BE49-F238E27FC236}">
                <a16:creationId xmlns:a16="http://schemas.microsoft.com/office/drawing/2014/main" xmlns="" id="{D86FCA9C-66CC-E04D-B6F2-A3086978BEC9}"/>
              </a:ext>
            </a:extLst>
          </p:cNvPr>
          <p:cNvCxnSpPr/>
          <p:nvPr userDrawn="1"/>
        </p:nvCxnSpPr>
        <p:spPr bwMode="auto">
          <a:xfrm rot="5400000" flipH="1" flipV="1">
            <a:off x="6432407" y="3270702"/>
            <a:ext cx="34669" cy="1418071"/>
          </a:xfrm>
          <a:prstGeom prst="bentConnector4">
            <a:avLst>
              <a:gd name="adj1" fmla="val -659379"/>
              <a:gd name="adj2" fmla="val 74658"/>
            </a:avLst>
          </a:prstGeom>
          <a:solidFill>
            <a:schemeClr val="accent1"/>
          </a:solidFill>
          <a:ln w="152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Соединительная линия уступом 49">
            <a:extLst>
              <a:ext uri="{FF2B5EF4-FFF2-40B4-BE49-F238E27FC236}">
                <a16:creationId xmlns:a16="http://schemas.microsoft.com/office/drawing/2014/main" xmlns="" id="{35AA603F-C4F2-4C46-A0E1-A150163FDCFF}"/>
              </a:ext>
            </a:extLst>
          </p:cNvPr>
          <p:cNvCxnSpPr/>
          <p:nvPr userDrawn="1"/>
        </p:nvCxnSpPr>
        <p:spPr bwMode="auto">
          <a:xfrm rot="16200000" flipH="1">
            <a:off x="6076285" y="3200585"/>
            <a:ext cx="1605231" cy="52800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2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Соединительная линия уступом 50">
            <a:extLst>
              <a:ext uri="{FF2B5EF4-FFF2-40B4-BE49-F238E27FC236}">
                <a16:creationId xmlns:a16="http://schemas.microsoft.com/office/drawing/2014/main" xmlns="" id="{CC21B4BC-9DB1-FB4C-9C05-89636F8E01B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5966653" y="4823563"/>
            <a:ext cx="1398677" cy="38145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2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Соединительная линия уступом 51">
            <a:extLst>
              <a:ext uri="{FF2B5EF4-FFF2-40B4-BE49-F238E27FC236}">
                <a16:creationId xmlns:a16="http://schemas.microsoft.com/office/drawing/2014/main" xmlns="" id="{1B3094BA-AA5F-CA4F-AEC9-1BBAAE31A0AB}"/>
              </a:ext>
            </a:extLst>
          </p:cNvPr>
          <p:cNvCxnSpPr/>
          <p:nvPr userDrawn="1"/>
        </p:nvCxnSpPr>
        <p:spPr bwMode="auto">
          <a:xfrm rot="5400000">
            <a:off x="7494905" y="3145195"/>
            <a:ext cx="1271526" cy="826491"/>
          </a:xfrm>
          <a:prstGeom prst="bentConnector3">
            <a:avLst>
              <a:gd name="adj1" fmla="val 20627"/>
            </a:avLst>
          </a:prstGeom>
          <a:solidFill>
            <a:schemeClr val="accent1"/>
          </a:solidFill>
          <a:ln w="152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Соединительная линия уступом 52">
            <a:extLst>
              <a:ext uri="{FF2B5EF4-FFF2-40B4-BE49-F238E27FC236}">
                <a16:creationId xmlns:a16="http://schemas.microsoft.com/office/drawing/2014/main" xmlns="" id="{9C580634-6DD3-EE42-8DAC-5CE0F95E8234}"/>
              </a:ext>
            </a:extLst>
          </p:cNvPr>
          <p:cNvCxnSpPr/>
          <p:nvPr userDrawn="1"/>
        </p:nvCxnSpPr>
        <p:spPr bwMode="auto">
          <a:xfrm rot="10800000" flipV="1">
            <a:off x="7768375" y="3488462"/>
            <a:ext cx="896836" cy="32153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2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Соединительная линия уступом 53">
            <a:extLst>
              <a:ext uri="{FF2B5EF4-FFF2-40B4-BE49-F238E27FC236}">
                <a16:creationId xmlns:a16="http://schemas.microsoft.com/office/drawing/2014/main" xmlns="" id="{E8DB08B6-890C-F84C-8BE1-1E2B14E38BD2}"/>
              </a:ext>
            </a:extLst>
          </p:cNvPr>
          <p:cNvCxnSpPr/>
          <p:nvPr userDrawn="1"/>
        </p:nvCxnSpPr>
        <p:spPr bwMode="auto">
          <a:xfrm rot="10800000">
            <a:off x="7701598" y="4505681"/>
            <a:ext cx="1335101" cy="508610"/>
          </a:xfrm>
          <a:prstGeom prst="bentConnector3">
            <a:avLst>
              <a:gd name="adj1" fmla="val 25724"/>
            </a:avLst>
          </a:prstGeom>
          <a:solidFill>
            <a:schemeClr val="accent1"/>
          </a:solidFill>
          <a:ln w="152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Соединительная линия уступом 54">
            <a:extLst>
              <a:ext uri="{FF2B5EF4-FFF2-40B4-BE49-F238E27FC236}">
                <a16:creationId xmlns:a16="http://schemas.microsoft.com/office/drawing/2014/main" xmlns="" id="{5E93BED7-1092-3F44-B6D8-149F86101CC4}"/>
              </a:ext>
            </a:extLst>
          </p:cNvPr>
          <p:cNvCxnSpPr/>
          <p:nvPr userDrawn="1"/>
        </p:nvCxnSpPr>
        <p:spPr bwMode="auto">
          <a:xfrm rot="5400000">
            <a:off x="6367419" y="2781536"/>
            <a:ext cx="2441754" cy="23483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52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xmlns="" id="{AD84D262-02D3-1044-8D93-A83A3F0ECFB4}"/>
              </a:ext>
            </a:extLst>
          </p:cNvPr>
          <p:cNvGrpSpPr/>
          <p:nvPr userDrawn="1"/>
        </p:nvGrpSpPr>
        <p:grpSpPr>
          <a:xfrm>
            <a:off x="6673156" y="4112406"/>
            <a:ext cx="1716558" cy="2745594"/>
            <a:chOff x="2435225" y="22552"/>
            <a:chExt cx="4273550" cy="6835448"/>
          </a:xfrm>
          <a:solidFill>
            <a:schemeClr val="tx1"/>
          </a:solidFill>
        </p:grpSpPr>
        <p:sp>
          <p:nvSpPr>
            <p:cNvPr id="57" name="Полилиния 5">
              <a:extLst>
                <a:ext uri="{FF2B5EF4-FFF2-40B4-BE49-F238E27FC236}">
                  <a16:creationId xmlns:a16="http://schemas.microsoft.com/office/drawing/2014/main" xmlns="" id="{CFB55F6E-96AE-224F-81AC-D94D4F08A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3126" y="22552"/>
              <a:ext cx="2317751" cy="634999"/>
            </a:xfrm>
            <a:custGeom>
              <a:avLst/>
              <a:gdLst>
                <a:gd name="T0" fmla="*/ 1460 w 1460"/>
                <a:gd name="T1" fmla="*/ 57 h 400"/>
                <a:gd name="T2" fmla="*/ 1460 w 1460"/>
                <a:gd name="T3" fmla="*/ 57 h 400"/>
                <a:gd name="T4" fmla="*/ 1458 w 1460"/>
                <a:gd name="T5" fmla="*/ 45 h 400"/>
                <a:gd name="T6" fmla="*/ 1454 w 1460"/>
                <a:gd name="T7" fmla="*/ 35 h 400"/>
                <a:gd name="T8" fmla="*/ 1449 w 1460"/>
                <a:gd name="T9" fmla="*/ 24 h 400"/>
                <a:gd name="T10" fmla="*/ 1443 w 1460"/>
                <a:gd name="T11" fmla="*/ 17 h 400"/>
                <a:gd name="T12" fmla="*/ 1434 w 1460"/>
                <a:gd name="T13" fmla="*/ 9 h 400"/>
                <a:gd name="T14" fmla="*/ 1424 w 1460"/>
                <a:gd name="T15" fmla="*/ 4 h 400"/>
                <a:gd name="T16" fmla="*/ 1413 w 1460"/>
                <a:gd name="T17" fmla="*/ 0 h 400"/>
                <a:gd name="T18" fmla="*/ 1402 w 1460"/>
                <a:gd name="T19" fmla="*/ 0 h 400"/>
                <a:gd name="T20" fmla="*/ 58 w 1460"/>
                <a:gd name="T21" fmla="*/ 0 h 400"/>
                <a:gd name="T22" fmla="*/ 58 w 1460"/>
                <a:gd name="T23" fmla="*/ 0 h 400"/>
                <a:gd name="T24" fmla="*/ 47 w 1460"/>
                <a:gd name="T25" fmla="*/ 0 h 400"/>
                <a:gd name="T26" fmla="*/ 35 w 1460"/>
                <a:gd name="T27" fmla="*/ 4 h 400"/>
                <a:gd name="T28" fmla="*/ 26 w 1460"/>
                <a:gd name="T29" fmla="*/ 9 h 400"/>
                <a:gd name="T30" fmla="*/ 17 w 1460"/>
                <a:gd name="T31" fmla="*/ 17 h 400"/>
                <a:gd name="T32" fmla="*/ 11 w 1460"/>
                <a:gd name="T33" fmla="*/ 24 h 400"/>
                <a:gd name="T34" fmla="*/ 4 w 1460"/>
                <a:gd name="T35" fmla="*/ 35 h 400"/>
                <a:gd name="T36" fmla="*/ 2 w 1460"/>
                <a:gd name="T37" fmla="*/ 45 h 400"/>
                <a:gd name="T38" fmla="*/ 0 w 1460"/>
                <a:gd name="T39" fmla="*/ 57 h 400"/>
                <a:gd name="T40" fmla="*/ 0 w 1460"/>
                <a:gd name="T41" fmla="*/ 400 h 400"/>
                <a:gd name="T42" fmla="*/ 1460 w 1460"/>
                <a:gd name="T43" fmla="*/ 400 h 400"/>
                <a:gd name="T44" fmla="*/ 1460 w 1460"/>
                <a:gd name="T45" fmla="*/ 57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60" h="400">
                  <a:moveTo>
                    <a:pt x="1460" y="57"/>
                  </a:moveTo>
                  <a:lnTo>
                    <a:pt x="1460" y="57"/>
                  </a:lnTo>
                  <a:lnTo>
                    <a:pt x="1458" y="45"/>
                  </a:lnTo>
                  <a:lnTo>
                    <a:pt x="1454" y="35"/>
                  </a:lnTo>
                  <a:lnTo>
                    <a:pt x="1449" y="24"/>
                  </a:lnTo>
                  <a:lnTo>
                    <a:pt x="1443" y="17"/>
                  </a:lnTo>
                  <a:lnTo>
                    <a:pt x="1434" y="9"/>
                  </a:lnTo>
                  <a:lnTo>
                    <a:pt x="1424" y="4"/>
                  </a:lnTo>
                  <a:lnTo>
                    <a:pt x="1413" y="0"/>
                  </a:lnTo>
                  <a:lnTo>
                    <a:pt x="1402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47" y="0"/>
                  </a:lnTo>
                  <a:lnTo>
                    <a:pt x="35" y="4"/>
                  </a:lnTo>
                  <a:lnTo>
                    <a:pt x="26" y="9"/>
                  </a:lnTo>
                  <a:lnTo>
                    <a:pt x="17" y="17"/>
                  </a:lnTo>
                  <a:lnTo>
                    <a:pt x="11" y="24"/>
                  </a:lnTo>
                  <a:lnTo>
                    <a:pt x="4" y="35"/>
                  </a:lnTo>
                  <a:lnTo>
                    <a:pt x="2" y="45"/>
                  </a:lnTo>
                  <a:lnTo>
                    <a:pt x="0" y="57"/>
                  </a:lnTo>
                  <a:lnTo>
                    <a:pt x="0" y="400"/>
                  </a:lnTo>
                  <a:lnTo>
                    <a:pt x="1460" y="400"/>
                  </a:lnTo>
                  <a:lnTo>
                    <a:pt x="1460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mv="urn:schemas-microsoft-com:mac:vml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noProof="0">
                <a:latin typeface="+mn-lt"/>
              </a:endParaRPr>
            </a:p>
          </p:txBody>
        </p:sp>
        <p:sp>
          <p:nvSpPr>
            <p:cNvPr id="58" name="Полилиния 6">
              <a:extLst>
                <a:ext uri="{FF2B5EF4-FFF2-40B4-BE49-F238E27FC236}">
                  <a16:creationId xmlns:a16="http://schemas.microsoft.com/office/drawing/2014/main" xmlns="" id="{B690F8CB-3C73-AC4D-8E2B-AF4B84240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5225" y="5880100"/>
              <a:ext cx="4273550" cy="977900"/>
            </a:xfrm>
            <a:custGeom>
              <a:avLst/>
              <a:gdLst>
                <a:gd name="T0" fmla="*/ 2076 w 2692"/>
                <a:gd name="T1" fmla="*/ 4 h 616"/>
                <a:gd name="T2" fmla="*/ 616 w 2692"/>
                <a:gd name="T3" fmla="*/ 0 h 616"/>
                <a:gd name="T4" fmla="*/ 615 w 2692"/>
                <a:gd name="T5" fmla="*/ 32 h 616"/>
                <a:gd name="T6" fmla="*/ 609 w 2692"/>
                <a:gd name="T7" fmla="*/ 94 h 616"/>
                <a:gd name="T8" fmla="*/ 597 w 2692"/>
                <a:gd name="T9" fmla="*/ 154 h 616"/>
                <a:gd name="T10" fmla="*/ 579 w 2692"/>
                <a:gd name="T11" fmla="*/ 212 h 616"/>
                <a:gd name="T12" fmla="*/ 556 w 2692"/>
                <a:gd name="T13" fmla="*/ 267 h 616"/>
                <a:gd name="T14" fmla="*/ 526 w 2692"/>
                <a:gd name="T15" fmla="*/ 320 h 616"/>
                <a:gd name="T16" fmla="*/ 494 w 2692"/>
                <a:gd name="T17" fmla="*/ 369 h 616"/>
                <a:gd name="T18" fmla="*/ 456 w 2692"/>
                <a:gd name="T19" fmla="*/ 414 h 616"/>
                <a:gd name="T20" fmla="*/ 414 w 2692"/>
                <a:gd name="T21" fmla="*/ 456 h 616"/>
                <a:gd name="T22" fmla="*/ 368 w 2692"/>
                <a:gd name="T23" fmla="*/ 494 h 616"/>
                <a:gd name="T24" fmla="*/ 319 w 2692"/>
                <a:gd name="T25" fmla="*/ 527 h 616"/>
                <a:gd name="T26" fmla="*/ 266 w 2692"/>
                <a:gd name="T27" fmla="*/ 556 h 616"/>
                <a:gd name="T28" fmla="*/ 211 w 2692"/>
                <a:gd name="T29" fmla="*/ 579 h 616"/>
                <a:gd name="T30" fmla="*/ 153 w 2692"/>
                <a:gd name="T31" fmla="*/ 597 h 616"/>
                <a:gd name="T32" fmla="*/ 94 w 2692"/>
                <a:gd name="T33" fmla="*/ 610 h 616"/>
                <a:gd name="T34" fmla="*/ 31 w 2692"/>
                <a:gd name="T35" fmla="*/ 616 h 616"/>
                <a:gd name="T36" fmla="*/ 2692 w 2692"/>
                <a:gd name="T37" fmla="*/ 616 h 616"/>
                <a:gd name="T38" fmla="*/ 2660 w 2692"/>
                <a:gd name="T39" fmla="*/ 616 h 616"/>
                <a:gd name="T40" fmla="*/ 2598 w 2692"/>
                <a:gd name="T41" fmla="*/ 610 h 616"/>
                <a:gd name="T42" fmla="*/ 2538 w 2692"/>
                <a:gd name="T43" fmla="*/ 597 h 616"/>
                <a:gd name="T44" fmla="*/ 2480 w 2692"/>
                <a:gd name="T45" fmla="*/ 579 h 616"/>
                <a:gd name="T46" fmla="*/ 2424 w 2692"/>
                <a:gd name="T47" fmla="*/ 556 h 616"/>
                <a:gd name="T48" fmla="*/ 2372 w 2692"/>
                <a:gd name="T49" fmla="*/ 527 h 616"/>
                <a:gd name="T50" fmla="*/ 2323 w 2692"/>
                <a:gd name="T51" fmla="*/ 494 h 616"/>
                <a:gd name="T52" fmla="*/ 2278 w 2692"/>
                <a:gd name="T53" fmla="*/ 456 h 616"/>
                <a:gd name="T54" fmla="*/ 2235 w 2692"/>
                <a:gd name="T55" fmla="*/ 414 h 616"/>
                <a:gd name="T56" fmla="*/ 2198 w 2692"/>
                <a:gd name="T57" fmla="*/ 369 h 616"/>
                <a:gd name="T58" fmla="*/ 2164 w 2692"/>
                <a:gd name="T59" fmla="*/ 320 h 616"/>
                <a:gd name="T60" fmla="*/ 2136 w 2692"/>
                <a:gd name="T61" fmla="*/ 267 h 616"/>
                <a:gd name="T62" fmla="*/ 2113 w 2692"/>
                <a:gd name="T63" fmla="*/ 212 h 616"/>
                <a:gd name="T64" fmla="*/ 2095 w 2692"/>
                <a:gd name="T65" fmla="*/ 154 h 616"/>
                <a:gd name="T66" fmla="*/ 2082 w 2692"/>
                <a:gd name="T67" fmla="*/ 94 h 616"/>
                <a:gd name="T68" fmla="*/ 2076 w 2692"/>
                <a:gd name="T69" fmla="*/ 32 h 616"/>
                <a:gd name="T70" fmla="*/ 2076 w 2692"/>
                <a:gd name="T71" fmla="*/ 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92" h="616">
                  <a:moveTo>
                    <a:pt x="2076" y="0"/>
                  </a:moveTo>
                  <a:lnTo>
                    <a:pt x="2076" y="4"/>
                  </a:lnTo>
                  <a:lnTo>
                    <a:pt x="616" y="4"/>
                  </a:lnTo>
                  <a:lnTo>
                    <a:pt x="616" y="0"/>
                  </a:lnTo>
                  <a:lnTo>
                    <a:pt x="616" y="0"/>
                  </a:lnTo>
                  <a:lnTo>
                    <a:pt x="615" y="32"/>
                  </a:lnTo>
                  <a:lnTo>
                    <a:pt x="613" y="63"/>
                  </a:lnTo>
                  <a:lnTo>
                    <a:pt x="609" y="94"/>
                  </a:lnTo>
                  <a:lnTo>
                    <a:pt x="604" y="125"/>
                  </a:lnTo>
                  <a:lnTo>
                    <a:pt x="597" y="154"/>
                  </a:lnTo>
                  <a:lnTo>
                    <a:pt x="588" y="184"/>
                  </a:lnTo>
                  <a:lnTo>
                    <a:pt x="579" y="212"/>
                  </a:lnTo>
                  <a:lnTo>
                    <a:pt x="567" y="240"/>
                  </a:lnTo>
                  <a:lnTo>
                    <a:pt x="556" y="267"/>
                  </a:lnTo>
                  <a:lnTo>
                    <a:pt x="542" y="294"/>
                  </a:lnTo>
                  <a:lnTo>
                    <a:pt x="526" y="320"/>
                  </a:lnTo>
                  <a:lnTo>
                    <a:pt x="511" y="345"/>
                  </a:lnTo>
                  <a:lnTo>
                    <a:pt x="494" y="369"/>
                  </a:lnTo>
                  <a:lnTo>
                    <a:pt x="475" y="392"/>
                  </a:lnTo>
                  <a:lnTo>
                    <a:pt x="456" y="414"/>
                  </a:lnTo>
                  <a:lnTo>
                    <a:pt x="435" y="436"/>
                  </a:lnTo>
                  <a:lnTo>
                    <a:pt x="414" y="456"/>
                  </a:lnTo>
                  <a:lnTo>
                    <a:pt x="391" y="476"/>
                  </a:lnTo>
                  <a:lnTo>
                    <a:pt x="368" y="494"/>
                  </a:lnTo>
                  <a:lnTo>
                    <a:pt x="345" y="512"/>
                  </a:lnTo>
                  <a:lnTo>
                    <a:pt x="319" y="527"/>
                  </a:lnTo>
                  <a:lnTo>
                    <a:pt x="293" y="543"/>
                  </a:lnTo>
                  <a:lnTo>
                    <a:pt x="266" y="556"/>
                  </a:lnTo>
                  <a:lnTo>
                    <a:pt x="239" y="568"/>
                  </a:lnTo>
                  <a:lnTo>
                    <a:pt x="211" y="579"/>
                  </a:lnTo>
                  <a:lnTo>
                    <a:pt x="183" y="589"/>
                  </a:lnTo>
                  <a:lnTo>
                    <a:pt x="153" y="597"/>
                  </a:lnTo>
                  <a:lnTo>
                    <a:pt x="124" y="604"/>
                  </a:lnTo>
                  <a:lnTo>
                    <a:pt x="94" y="610"/>
                  </a:lnTo>
                  <a:lnTo>
                    <a:pt x="63" y="613"/>
                  </a:lnTo>
                  <a:lnTo>
                    <a:pt x="31" y="616"/>
                  </a:lnTo>
                  <a:lnTo>
                    <a:pt x="0" y="616"/>
                  </a:lnTo>
                  <a:lnTo>
                    <a:pt x="2692" y="616"/>
                  </a:lnTo>
                  <a:lnTo>
                    <a:pt x="2692" y="616"/>
                  </a:lnTo>
                  <a:lnTo>
                    <a:pt x="2660" y="616"/>
                  </a:lnTo>
                  <a:lnTo>
                    <a:pt x="2629" y="613"/>
                  </a:lnTo>
                  <a:lnTo>
                    <a:pt x="2598" y="610"/>
                  </a:lnTo>
                  <a:lnTo>
                    <a:pt x="2567" y="604"/>
                  </a:lnTo>
                  <a:lnTo>
                    <a:pt x="2538" y="597"/>
                  </a:lnTo>
                  <a:lnTo>
                    <a:pt x="2508" y="589"/>
                  </a:lnTo>
                  <a:lnTo>
                    <a:pt x="2480" y="579"/>
                  </a:lnTo>
                  <a:lnTo>
                    <a:pt x="2451" y="568"/>
                  </a:lnTo>
                  <a:lnTo>
                    <a:pt x="2424" y="556"/>
                  </a:lnTo>
                  <a:lnTo>
                    <a:pt x="2399" y="543"/>
                  </a:lnTo>
                  <a:lnTo>
                    <a:pt x="2372" y="527"/>
                  </a:lnTo>
                  <a:lnTo>
                    <a:pt x="2347" y="512"/>
                  </a:lnTo>
                  <a:lnTo>
                    <a:pt x="2323" y="494"/>
                  </a:lnTo>
                  <a:lnTo>
                    <a:pt x="2300" y="476"/>
                  </a:lnTo>
                  <a:lnTo>
                    <a:pt x="2278" y="456"/>
                  </a:lnTo>
                  <a:lnTo>
                    <a:pt x="2256" y="436"/>
                  </a:lnTo>
                  <a:lnTo>
                    <a:pt x="2235" y="414"/>
                  </a:lnTo>
                  <a:lnTo>
                    <a:pt x="2216" y="392"/>
                  </a:lnTo>
                  <a:lnTo>
                    <a:pt x="2198" y="369"/>
                  </a:lnTo>
                  <a:lnTo>
                    <a:pt x="2181" y="345"/>
                  </a:lnTo>
                  <a:lnTo>
                    <a:pt x="2164" y="320"/>
                  </a:lnTo>
                  <a:lnTo>
                    <a:pt x="2150" y="294"/>
                  </a:lnTo>
                  <a:lnTo>
                    <a:pt x="2136" y="267"/>
                  </a:lnTo>
                  <a:lnTo>
                    <a:pt x="2123" y="240"/>
                  </a:lnTo>
                  <a:lnTo>
                    <a:pt x="2113" y="212"/>
                  </a:lnTo>
                  <a:lnTo>
                    <a:pt x="2103" y="184"/>
                  </a:lnTo>
                  <a:lnTo>
                    <a:pt x="2095" y="154"/>
                  </a:lnTo>
                  <a:lnTo>
                    <a:pt x="2088" y="125"/>
                  </a:lnTo>
                  <a:lnTo>
                    <a:pt x="2082" y="94"/>
                  </a:lnTo>
                  <a:lnTo>
                    <a:pt x="2078" y="63"/>
                  </a:lnTo>
                  <a:lnTo>
                    <a:pt x="2076" y="32"/>
                  </a:lnTo>
                  <a:lnTo>
                    <a:pt x="2076" y="0"/>
                  </a:lnTo>
                  <a:lnTo>
                    <a:pt x="20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mv="urn:schemas-microsoft-com:mac:vml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noProof="0">
                <a:latin typeface="+mn-lt"/>
              </a:endParaRPr>
            </a:p>
          </p:txBody>
        </p:sp>
        <p:sp>
          <p:nvSpPr>
            <p:cNvPr id="59" name="Прямоугольник 7">
              <a:extLst>
                <a:ext uri="{FF2B5EF4-FFF2-40B4-BE49-F238E27FC236}">
                  <a16:creationId xmlns:a16="http://schemas.microsoft.com/office/drawing/2014/main" xmlns="" id="{4C3A2CA9-C71F-AD43-9756-904374EFC4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3126" y="646276"/>
              <a:ext cx="2317751" cy="525145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mv="urn:schemas-microsoft-com:mac:vml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noProof="0">
                <a:latin typeface="+mn-lt"/>
              </a:endParaRPr>
            </a:p>
          </p:txBody>
        </p:sp>
      </p:grpSp>
      <p:sp>
        <p:nvSpPr>
          <p:cNvPr id="60" name="Овал 59">
            <a:extLst>
              <a:ext uri="{FF2B5EF4-FFF2-40B4-BE49-F238E27FC236}">
                <a16:creationId xmlns:a16="http://schemas.microsoft.com/office/drawing/2014/main" xmlns="" id="{5487250A-E54A-2C43-AD9C-AD66A266D97E}"/>
              </a:ext>
            </a:extLst>
          </p:cNvPr>
          <p:cNvSpPr/>
          <p:nvPr userDrawn="1"/>
        </p:nvSpPr>
        <p:spPr bwMode="auto">
          <a:xfrm>
            <a:off x="4567976" y="4163924"/>
            <a:ext cx="1398677" cy="1398677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000" noProof="0">
              <a:latin typeface="+mn-lt"/>
            </a:endParaRPr>
          </a:p>
        </p:txBody>
      </p:sp>
      <p:sp>
        <p:nvSpPr>
          <p:cNvPr id="61" name="Овал 60">
            <a:extLst>
              <a:ext uri="{FF2B5EF4-FFF2-40B4-BE49-F238E27FC236}">
                <a16:creationId xmlns:a16="http://schemas.microsoft.com/office/drawing/2014/main" xmlns="" id="{817ACE2F-6065-9749-80C4-B354D9808D0C}"/>
              </a:ext>
            </a:extLst>
          </p:cNvPr>
          <p:cNvSpPr/>
          <p:nvPr userDrawn="1"/>
        </p:nvSpPr>
        <p:spPr bwMode="auto">
          <a:xfrm>
            <a:off x="5041368" y="2598395"/>
            <a:ext cx="1398677" cy="1398677"/>
          </a:xfrm>
          <a:prstGeom prst="ellipse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ru-RU" sz="2000" noProof="0">
              <a:latin typeface="+mn-lt"/>
            </a:endParaRPr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xmlns="" id="{4A4FCCCF-FDB1-1A42-852B-BC84435F4D69}"/>
              </a:ext>
            </a:extLst>
          </p:cNvPr>
          <p:cNvSpPr/>
          <p:nvPr userDrawn="1"/>
        </p:nvSpPr>
        <p:spPr bwMode="auto">
          <a:xfrm>
            <a:off x="8665212" y="2789124"/>
            <a:ext cx="1398677" cy="1398677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ru-RU" sz="2000" noProof="0">
              <a:latin typeface="+mn-lt"/>
            </a:endParaRPr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xmlns="" id="{29CAB780-98D6-FE4E-AAE2-F4E31D2DBC56}"/>
              </a:ext>
            </a:extLst>
          </p:cNvPr>
          <p:cNvSpPr/>
          <p:nvPr userDrawn="1"/>
        </p:nvSpPr>
        <p:spPr bwMode="auto">
          <a:xfrm>
            <a:off x="9036699" y="4314954"/>
            <a:ext cx="1398677" cy="1398677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ru-RU" sz="2000" noProof="0">
              <a:latin typeface="+mn-lt"/>
            </a:endParaRPr>
          </a:p>
        </p:txBody>
      </p:sp>
      <p:sp>
        <p:nvSpPr>
          <p:cNvPr id="64" name="Овал 63">
            <a:extLst>
              <a:ext uri="{FF2B5EF4-FFF2-40B4-BE49-F238E27FC236}">
                <a16:creationId xmlns:a16="http://schemas.microsoft.com/office/drawing/2014/main" xmlns="" id="{819CDF1E-1C86-FA4B-ABCE-DA00BA7A2A86}"/>
              </a:ext>
            </a:extLst>
          </p:cNvPr>
          <p:cNvSpPr/>
          <p:nvPr userDrawn="1"/>
        </p:nvSpPr>
        <p:spPr bwMode="auto">
          <a:xfrm>
            <a:off x="5915560" y="1263295"/>
            <a:ext cx="1398677" cy="1398677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ru-RU" sz="2000" noProof="0">
              <a:latin typeface="+mn-lt"/>
            </a:endParaRPr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xmlns="" id="{0F362301-81AC-1749-8A81-29BA42D903AA}"/>
              </a:ext>
            </a:extLst>
          </p:cNvPr>
          <p:cNvSpPr/>
          <p:nvPr userDrawn="1"/>
        </p:nvSpPr>
        <p:spPr bwMode="auto">
          <a:xfrm>
            <a:off x="7844576" y="1524001"/>
            <a:ext cx="1398677" cy="1398677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ru-RU" sz="2000" noProof="0">
              <a:latin typeface="+mn-lt"/>
            </a:endParaRPr>
          </a:p>
        </p:txBody>
      </p:sp>
      <p:sp>
        <p:nvSpPr>
          <p:cNvPr id="66" name="Овал 65">
            <a:extLst>
              <a:ext uri="{FF2B5EF4-FFF2-40B4-BE49-F238E27FC236}">
                <a16:creationId xmlns:a16="http://schemas.microsoft.com/office/drawing/2014/main" xmlns="" id="{CC61450C-EA2E-6B4F-844E-B306BBD10FF7}"/>
              </a:ext>
            </a:extLst>
          </p:cNvPr>
          <p:cNvSpPr/>
          <p:nvPr userDrawn="1"/>
        </p:nvSpPr>
        <p:spPr bwMode="auto">
          <a:xfrm>
            <a:off x="7006376" y="279401"/>
            <a:ext cx="1398677" cy="1398677"/>
          </a:xfrm>
          <a:prstGeom prst="ellipse">
            <a:avLst/>
          </a:prstGeom>
          <a:solidFill>
            <a:srgbClr val="C9E34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ru-RU" sz="2000" noProof="0">
              <a:latin typeface="+mn-lt"/>
            </a:endParaRPr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xmlns="" id="{61ADC0EC-6490-1840-A8F8-59B4145953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63533" y="4842301"/>
            <a:ext cx="1456267" cy="307777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400" dirty="0" smtClean="0">
                <a:latin typeface="+mn-lt"/>
              </a:defRPr>
            </a:lvl1pPr>
          </a:lstStyle>
          <a:p>
            <a:pPr marL="0" lvl="0" algn="ctr" rtl="0"/>
            <a:r>
              <a:rPr lang="ru-RU" noProof="0"/>
              <a:t>Образец текста</a:t>
            </a:r>
          </a:p>
        </p:txBody>
      </p:sp>
      <p:sp>
        <p:nvSpPr>
          <p:cNvPr id="23" name="Текст 16">
            <a:extLst>
              <a:ext uri="{FF2B5EF4-FFF2-40B4-BE49-F238E27FC236}">
                <a16:creationId xmlns:a16="http://schemas.microsoft.com/office/drawing/2014/main" xmlns="" id="{FCC847DA-25EA-4F4B-9A7E-F7D8C0F229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20733" y="3314076"/>
            <a:ext cx="1456267" cy="307777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400" dirty="0" smtClean="0">
                <a:latin typeface="+mn-lt"/>
              </a:defRPr>
            </a:lvl1pPr>
          </a:lstStyle>
          <a:p>
            <a:pPr marL="0" lvl="0" algn="ctr" rtl="0"/>
            <a:r>
              <a:rPr lang="ru-RU" noProof="0"/>
              <a:t>Образец текста</a:t>
            </a:r>
          </a:p>
        </p:txBody>
      </p:sp>
      <p:sp>
        <p:nvSpPr>
          <p:cNvPr id="25" name="Текст 16">
            <a:extLst>
              <a:ext uri="{FF2B5EF4-FFF2-40B4-BE49-F238E27FC236}">
                <a16:creationId xmlns:a16="http://schemas.microsoft.com/office/drawing/2014/main" xmlns="" id="{2509A5AD-1983-DF46-B2BC-24351BB75A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8933" y="2029336"/>
            <a:ext cx="1456267" cy="307777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400" dirty="0" smtClean="0">
                <a:latin typeface="+mn-lt"/>
              </a:defRPr>
            </a:lvl1pPr>
          </a:lstStyle>
          <a:p>
            <a:pPr marL="0" lvl="0" algn="ctr" rtl="0"/>
            <a:r>
              <a:rPr lang="ru-RU" noProof="0"/>
              <a:t>Образец текста</a:t>
            </a:r>
          </a:p>
        </p:txBody>
      </p:sp>
      <p:sp>
        <p:nvSpPr>
          <p:cNvPr id="27" name="Текст 16">
            <a:extLst>
              <a:ext uri="{FF2B5EF4-FFF2-40B4-BE49-F238E27FC236}">
                <a16:creationId xmlns:a16="http://schemas.microsoft.com/office/drawing/2014/main" xmlns="" id="{B99E3DC2-D51A-3A46-AF04-BCA8C8816B9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34200" y="945921"/>
            <a:ext cx="1456267" cy="307777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400" dirty="0" smtClean="0">
                <a:latin typeface="+mn-lt"/>
              </a:defRPr>
            </a:lvl1pPr>
          </a:lstStyle>
          <a:p>
            <a:pPr marL="0" lvl="0" algn="ctr" rtl="0"/>
            <a:r>
              <a:rPr lang="ru-RU" noProof="0"/>
              <a:t>Образец текста</a:t>
            </a:r>
          </a:p>
        </p:txBody>
      </p:sp>
      <p:sp>
        <p:nvSpPr>
          <p:cNvPr id="29" name="Текст 16">
            <a:extLst>
              <a:ext uri="{FF2B5EF4-FFF2-40B4-BE49-F238E27FC236}">
                <a16:creationId xmlns:a16="http://schemas.microsoft.com/office/drawing/2014/main" xmlns="" id="{DEB6100F-A88E-4044-AABA-AADE6C51103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40133" y="2251501"/>
            <a:ext cx="1456267" cy="307777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400" dirty="0" smtClean="0">
                <a:latin typeface="+mn-lt"/>
              </a:defRPr>
            </a:lvl1pPr>
          </a:lstStyle>
          <a:p>
            <a:pPr marL="0" lvl="0" algn="ctr" rtl="0"/>
            <a:r>
              <a:rPr lang="ru-RU" noProof="0"/>
              <a:t>Образец текста</a:t>
            </a:r>
          </a:p>
        </p:txBody>
      </p:sp>
      <p:sp>
        <p:nvSpPr>
          <p:cNvPr id="31" name="Текст 16">
            <a:extLst>
              <a:ext uri="{FF2B5EF4-FFF2-40B4-BE49-F238E27FC236}">
                <a16:creationId xmlns:a16="http://schemas.microsoft.com/office/drawing/2014/main" xmlns="" id="{5DC2E5E4-0F5B-4C40-9A9C-EA67D97C2DC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610600" y="3546901"/>
            <a:ext cx="1456267" cy="307777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400" dirty="0" smtClean="0">
                <a:latin typeface="+mn-lt"/>
              </a:defRPr>
            </a:lvl1pPr>
          </a:lstStyle>
          <a:p>
            <a:pPr marL="0" lvl="0" algn="ctr" rtl="0"/>
            <a:r>
              <a:rPr lang="ru-RU" noProof="0"/>
              <a:t>Образец текста</a:t>
            </a:r>
          </a:p>
        </p:txBody>
      </p:sp>
      <p:sp>
        <p:nvSpPr>
          <p:cNvPr id="33" name="Текст 16">
            <a:extLst>
              <a:ext uri="{FF2B5EF4-FFF2-40B4-BE49-F238E27FC236}">
                <a16:creationId xmlns:a16="http://schemas.microsoft.com/office/drawing/2014/main" xmlns="" id="{B0D479E3-D54D-E347-92A4-6121706B50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83133" y="4994701"/>
            <a:ext cx="1456267" cy="307777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en-US" sz="1400" dirty="0" smtClean="0">
                <a:latin typeface="+mn-lt"/>
              </a:defRPr>
            </a:lvl1pPr>
          </a:lstStyle>
          <a:p>
            <a:pPr marL="0" lvl="0" algn="ctr" rtl="0"/>
            <a:r>
              <a:rPr lang="ru-RU" noProof="0"/>
              <a:t>Образец текст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xmlns="" id="{093FF101-5280-E843-B4C6-7CDFE363CD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46600" y="5130800"/>
            <a:ext cx="1456267" cy="279400"/>
          </a:xfrm>
          <a:noFill/>
          <a:ln w="9525">
            <a:noFill/>
            <a:miter lim="800000"/>
            <a:headEnd/>
            <a:tailEnd/>
          </a:ln>
        </p:spPr>
        <p:txBody>
          <a:bodyPr lIns="45720" tIns="18288" rIns="27432" bIns="18288" rtlCol="0"/>
          <a:lstStyle>
            <a:lvl1pPr marL="0" indent="0">
              <a:buNone/>
              <a:defRPr lang="en-US" sz="1100" dirty="0" smtClean="0">
                <a:latin typeface="+mn-lt"/>
              </a:defRPr>
            </a:lvl1pPr>
          </a:lstStyle>
          <a:p>
            <a:pPr marL="0" lvl="0" algn="ctr" rtl="0">
              <a:lnSpc>
                <a:spcPct val="85000"/>
              </a:lnSpc>
              <a:spcBef>
                <a:spcPts val="200"/>
              </a:spcBef>
            </a:pPr>
            <a:r>
              <a:rPr lang="ru-RU" noProof="0"/>
              <a:t>Образец текста</a:t>
            </a:r>
          </a:p>
        </p:txBody>
      </p:sp>
      <p:sp>
        <p:nvSpPr>
          <p:cNvPr id="24" name="Текст 18">
            <a:extLst>
              <a:ext uri="{FF2B5EF4-FFF2-40B4-BE49-F238E27FC236}">
                <a16:creationId xmlns:a16="http://schemas.microsoft.com/office/drawing/2014/main" xmlns="" id="{CACF73E7-5838-894B-8D43-F597EA13DA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20733" y="3581400"/>
            <a:ext cx="1456267" cy="279400"/>
          </a:xfrm>
          <a:noFill/>
          <a:ln w="9525">
            <a:noFill/>
            <a:miter lim="800000"/>
            <a:headEnd/>
            <a:tailEnd/>
          </a:ln>
        </p:spPr>
        <p:txBody>
          <a:bodyPr lIns="45720" tIns="18288" rIns="27432" bIns="18288" rtlCol="0"/>
          <a:lstStyle>
            <a:lvl1pPr marL="0" indent="0">
              <a:buNone/>
              <a:defRPr lang="en-US" sz="1100" dirty="0" smtClean="0">
                <a:latin typeface="+mn-lt"/>
              </a:defRPr>
            </a:lvl1pPr>
          </a:lstStyle>
          <a:p>
            <a:pPr marL="0" lvl="0" algn="ctr" rtl="0">
              <a:lnSpc>
                <a:spcPct val="85000"/>
              </a:lnSpc>
              <a:spcBef>
                <a:spcPts val="200"/>
              </a:spcBef>
            </a:pPr>
            <a:r>
              <a:rPr lang="ru-RU" noProof="0"/>
              <a:t>Образец текста</a:t>
            </a:r>
          </a:p>
        </p:txBody>
      </p:sp>
      <p:sp>
        <p:nvSpPr>
          <p:cNvPr id="26" name="Текст 18">
            <a:extLst>
              <a:ext uri="{FF2B5EF4-FFF2-40B4-BE49-F238E27FC236}">
                <a16:creationId xmlns:a16="http://schemas.microsoft.com/office/drawing/2014/main" xmlns="" id="{85B764EF-3461-D744-8CB5-3827CFFACA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58933" y="2286000"/>
            <a:ext cx="1456267" cy="279400"/>
          </a:xfrm>
          <a:noFill/>
          <a:ln w="9525">
            <a:noFill/>
            <a:miter lim="800000"/>
            <a:headEnd/>
            <a:tailEnd/>
          </a:ln>
        </p:spPr>
        <p:txBody>
          <a:bodyPr lIns="45720" tIns="18288" rIns="27432" bIns="18288" rtlCol="0"/>
          <a:lstStyle>
            <a:lvl1pPr marL="0" indent="0">
              <a:buNone/>
              <a:defRPr lang="en-US" sz="1100" dirty="0" smtClean="0">
                <a:latin typeface="+mn-lt"/>
              </a:defRPr>
            </a:lvl1pPr>
          </a:lstStyle>
          <a:p>
            <a:pPr marL="0" lvl="0" algn="ctr" rtl="0">
              <a:lnSpc>
                <a:spcPct val="85000"/>
              </a:lnSpc>
              <a:spcBef>
                <a:spcPts val="200"/>
              </a:spcBef>
            </a:pPr>
            <a:r>
              <a:rPr lang="ru-RU" noProof="0"/>
              <a:t>Образец текста</a:t>
            </a:r>
          </a:p>
        </p:txBody>
      </p:sp>
      <p:sp>
        <p:nvSpPr>
          <p:cNvPr id="28" name="Текст 18">
            <a:extLst>
              <a:ext uri="{FF2B5EF4-FFF2-40B4-BE49-F238E27FC236}">
                <a16:creationId xmlns:a16="http://schemas.microsoft.com/office/drawing/2014/main" xmlns="" id="{5AC1DB57-31F8-2642-8478-66B1F260B71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34200" y="1219200"/>
            <a:ext cx="1456267" cy="279400"/>
          </a:xfrm>
          <a:noFill/>
          <a:ln w="9525">
            <a:noFill/>
            <a:miter lim="800000"/>
            <a:headEnd/>
            <a:tailEnd/>
          </a:ln>
        </p:spPr>
        <p:txBody>
          <a:bodyPr lIns="45720" tIns="18288" rIns="27432" bIns="18288" rtlCol="0"/>
          <a:lstStyle>
            <a:lvl1pPr marL="0" indent="0">
              <a:buNone/>
              <a:defRPr lang="en-US" sz="1100" dirty="0" smtClean="0">
                <a:latin typeface="+mn-lt"/>
              </a:defRPr>
            </a:lvl1pPr>
          </a:lstStyle>
          <a:p>
            <a:pPr marL="0" lvl="0" algn="ctr" rtl="0">
              <a:lnSpc>
                <a:spcPct val="85000"/>
              </a:lnSpc>
              <a:spcBef>
                <a:spcPts val="200"/>
              </a:spcBef>
            </a:pPr>
            <a:r>
              <a:rPr lang="ru-RU" noProof="0"/>
              <a:t>Образец текста</a:t>
            </a:r>
          </a:p>
        </p:txBody>
      </p:sp>
      <p:sp>
        <p:nvSpPr>
          <p:cNvPr id="30" name="Текст 18">
            <a:extLst>
              <a:ext uri="{FF2B5EF4-FFF2-40B4-BE49-F238E27FC236}">
                <a16:creationId xmlns:a16="http://schemas.microsoft.com/office/drawing/2014/main" xmlns="" id="{94AB423B-0440-F94D-BC6D-C0DE9B6040F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48600" y="2540000"/>
            <a:ext cx="1456267" cy="279400"/>
          </a:xfrm>
          <a:noFill/>
          <a:ln w="9525">
            <a:noFill/>
            <a:miter lim="800000"/>
            <a:headEnd/>
            <a:tailEnd/>
          </a:ln>
        </p:spPr>
        <p:txBody>
          <a:bodyPr lIns="45720" tIns="18288" rIns="27432" bIns="18288" rtlCol="0"/>
          <a:lstStyle>
            <a:lvl1pPr marL="0" indent="0">
              <a:buNone/>
              <a:defRPr lang="en-US" sz="1100" dirty="0" smtClean="0">
                <a:latin typeface="+mn-lt"/>
              </a:defRPr>
            </a:lvl1pPr>
          </a:lstStyle>
          <a:p>
            <a:pPr marL="0" lvl="0" algn="ctr" rtl="0">
              <a:lnSpc>
                <a:spcPct val="85000"/>
              </a:lnSpc>
              <a:spcBef>
                <a:spcPts val="200"/>
              </a:spcBef>
            </a:pPr>
            <a:r>
              <a:rPr lang="ru-RU" noProof="0"/>
              <a:t>Образец текста</a:t>
            </a:r>
          </a:p>
        </p:txBody>
      </p:sp>
      <p:sp>
        <p:nvSpPr>
          <p:cNvPr id="32" name="Текст 18">
            <a:extLst>
              <a:ext uri="{FF2B5EF4-FFF2-40B4-BE49-F238E27FC236}">
                <a16:creationId xmlns:a16="http://schemas.microsoft.com/office/drawing/2014/main" xmlns="" id="{21825D6A-077B-C543-9FD9-0BF4439E542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10600" y="3835400"/>
            <a:ext cx="1456267" cy="279400"/>
          </a:xfrm>
          <a:noFill/>
          <a:ln w="9525">
            <a:noFill/>
            <a:miter lim="800000"/>
            <a:headEnd/>
            <a:tailEnd/>
          </a:ln>
        </p:spPr>
        <p:txBody>
          <a:bodyPr lIns="45720" tIns="18288" rIns="27432" bIns="18288" rtlCol="0"/>
          <a:lstStyle>
            <a:lvl1pPr marL="0" indent="0">
              <a:buNone/>
              <a:defRPr lang="en-US" sz="1100" dirty="0" smtClean="0">
                <a:latin typeface="+mn-lt"/>
              </a:defRPr>
            </a:lvl1pPr>
          </a:lstStyle>
          <a:p>
            <a:pPr marL="0" lvl="0" algn="ctr" rtl="0">
              <a:lnSpc>
                <a:spcPct val="85000"/>
              </a:lnSpc>
              <a:spcBef>
                <a:spcPts val="200"/>
              </a:spcBef>
            </a:pPr>
            <a:r>
              <a:rPr lang="ru-RU" noProof="0"/>
              <a:t>Образец текста</a:t>
            </a:r>
          </a:p>
        </p:txBody>
      </p:sp>
      <p:sp>
        <p:nvSpPr>
          <p:cNvPr id="34" name="Текст 18">
            <a:extLst>
              <a:ext uri="{FF2B5EF4-FFF2-40B4-BE49-F238E27FC236}">
                <a16:creationId xmlns:a16="http://schemas.microsoft.com/office/drawing/2014/main" xmlns="" id="{AD95572F-76E9-EE44-8208-F41859309E4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991600" y="5334000"/>
            <a:ext cx="1456267" cy="279400"/>
          </a:xfrm>
          <a:noFill/>
          <a:ln w="9525">
            <a:noFill/>
            <a:miter lim="800000"/>
            <a:headEnd/>
            <a:tailEnd/>
          </a:ln>
        </p:spPr>
        <p:txBody>
          <a:bodyPr lIns="45720" tIns="18288" rIns="27432" bIns="18288" rtlCol="0"/>
          <a:lstStyle>
            <a:lvl1pPr marL="0" indent="0">
              <a:buNone/>
              <a:defRPr lang="en-US" sz="1100" dirty="0" smtClean="0">
                <a:latin typeface="+mn-lt"/>
              </a:defRPr>
            </a:lvl1pPr>
          </a:lstStyle>
          <a:p>
            <a:pPr marL="0" lvl="0" algn="ctr" rtl="0">
              <a:lnSpc>
                <a:spcPct val="85000"/>
              </a:lnSpc>
              <a:spcBef>
                <a:spcPts val="200"/>
              </a:spcBef>
            </a:pPr>
            <a:r>
              <a:rPr lang="ru-RU" noProof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36346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2DF88512-9E62-4695-B350-39488566A1F7}"/>
              </a:ext>
            </a:extLst>
          </p:cNvPr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18CD596D-95F4-4C5C-A0E7-86D747FE70BE}"/>
              </a:ext>
            </a:extLst>
          </p:cNvPr>
          <p:cNvSpPr/>
          <p:nvPr userDrawn="1"/>
        </p:nvSpPr>
        <p:spPr>
          <a:xfrm>
            <a:off x="1038768" y="2130218"/>
            <a:ext cx="11153231" cy="4727782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67553E9F-DCBF-4BEE-A261-5AA97361A0E0}"/>
              </a:ext>
            </a:extLst>
          </p:cNvPr>
          <p:cNvSpPr/>
          <p:nvPr userDrawn="1"/>
        </p:nvSpPr>
        <p:spPr>
          <a:xfrm>
            <a:off x="0" y="896641"/>
            <a:ext cx="12192000" cy="134771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949B0EB0-AEBA-44ED-BC77-4188C74861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35371" y="1044054"/>
            <a:ext cx="10013709" cy="1030360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ru-RU">
                <a:solidFill>
                  <a:schemeClr val="bg1"/>
                </a:solidFill>
              </a:rPr>
              <a:t>Заголовок слайд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7278DD10-67BC-4E87-A788-A45C6093F5F8}"/>
              </a:ext>
            </a:extLst>
          </p:cNvPr>
          <p:cNvSpPr/>
          <p:nvPr userDrawn="1"/>
        </p:nvSpPr>
        <p:spPr>
          <a:xfrm>
            <a:off x="-1" y="962423"/>
            <a:ext cx="1006766" cy="12161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916769F5-486B-4B48-A543-2C70359DF66E}"/>
              </a:ext>
            </a:extLst>
          </p:cNvPr>
          <p:cNvSpPr/>
          <p:nvPr userDrawn="1"/>
        </p:nvSpPr>
        <p:spPr>
          <a:xfrm rot="5400000">
            <a:off x="-2390232" y="3396997"/>
            <a:ext cx="6858002" cy="64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2" name="Нижний колонтитул 4">
            <a:extLst>
              <a:ext uri="{FF2B5EF4-FFF2-40B4-BE49-F238E27FC236}">
                <a16:creationId xmlns:a16="http://schemas.microsoft.com/office/drawing/2014/main" xmlns="" id="{B47BB165-F380-48C4-B95B-C09C91893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35371" y="6309360"/>
            <a:ext cx="5732061" cy="457200"/>
          </a:xfrm>
        </p:spPr>
        <p:txBody>
          <a:bodyPr rtlCol="0"/>
          <a:lstStyle/>
          <a:p>
            <a:pPr rtl="0"/>
            <a:r>
              <a:rPr lang="ru-RU"/>
              <a:t>Название презентации</a:t>
            </a:r>
          </a:p>
        </p:txBody>
      </p:sp>
      <p:sp>
        <p:nvSpPr>
          <p:cNvPr id="13" name="Дата 3">
            <a:extLst>
              <a:ext uri="{FF2B5EF4-FFF2-40B4-BE49-F238E27FC236}">
                <a16:creationId xmlns:a16="http://schemas.microsoft.com/office/drawing/2014/main" xmlns="" id="{49ADD171-0134-4347-A2D8-0B9D7634F1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02168" y="6309360"/>
            <a:ext cx="2148840" cy="457200"/>
          </a:xfrm>
        </p:spPr>
        <p:txBody>
          <a:bodyPr rtlCol="0"/>
          <a:lstStyle/>
          <a:p>
            <a:pPr rtl="0"/>
            <a:r>
              <a:rPr lang="ru-RU"/>
              <a:t>1 февраля 20XX</a:t>
            </a:r>
            <a:endParaRPr lang="ru-RU" dirty="0"/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F0805E9B-6657-4167-BD79-CAC59C0D8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69202" y="6309360"/>
            <a:ext cx="979879" cy="457200"/>
          </a:xfrm>
        </p:spPr>
        <p:txBody>
          <a:bodyPr rtlCol="0"/>
          <a:lstStyle/>
          <a:p>
            <a:pPr rtl="0"/>
            <a:fld id="{FAEF9944-A4F6-4C59-AEBD-678D6480B8E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87406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23DC2F0A-1748-49AE-AF72-D6BBB4F8FEC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 flipH="1">
            <a:off x="0" y="0"/>
            <a:ext cx="1219200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683DF7B1-E0C5-4E09-BB5C-F11EA14D7C9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866789"/>
            <a:ext cx="6833381" cy="25942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BBC678EC-E47C-4AC2-A75A-7022CECD00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34622" y="1138041"/>
            <a:ext cx="4862811" cy="2019488"/>
          </a:xfrm>
        </p:spPr>
        <p:txBody>
          <a:bodyPr rtlCol="0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ru-RU">
                <a:solidFill>
                  <a:schemeClr val="bg1"/>
                </a:solidFill>
              </a:rPr>
              <a:t>ЩЕЛКНИТЕ, ЧТОБЫ ДОБАВИТЬ ЗАГОЛОВОК</a:t>
            </a:r>
          </a:p>
        </p:txBody>
      </p:sp>
      <p:sp>
        <p:nvSpPr>
          <p:cNvPr id="25" name="Рисунок 21">
            <a:extLst>
              <a:ext uri="{FF2B5EF4-FFF2-40B4-BE49-F238E27FC236}">
                <a16:creationId xmlns:a16="http://schemas.microsoft.com/office/drawing/2014/main" xmlns="" id="{8B745891-A8DA-4640-BB3F-1693FC5AC4A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858023" y="4941"/>
            <a:ext cx="5333977" cy="3392053"/>
          </a:xfrm>
        </p:spPr>
        <p:txBody>
          <a:bodyPr rtlCol="0" anchor="t"/>
          <a:lstStyle>
            <a:lvl1pPr algn="ctr">
              <a:defRPr/>
            </a:lvl1pPr>
          </a:lstStyle>
          <a:p>
            <a:pPr rtl="0"/>
            <a:r>
              <a:rPr lang="ru-RU"/>
              <a:t>Щелкните, чтобы добавить фотографию</a:t>
            </a:r>
          </a:p>
        </p:txBody>
      </p:sp>
      <p:sp>
        <p:nvSpPr>
          <p:cNvPr id="24" name="Рисунок 21">
            <a:extLst>
              <a:ext uri="{FF2B5EF4-FFF2-40B4-BE49-F238E27FC236}">
                <a16:creationId xmlns:a16="http://schemas.microsoft.com/office/drawing/2014/main" xmlns="" id="{BC2DF568-4EA5-4F79-980F-47FC90AEA1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67712" y="3461002"/>
            <a:ext cx="5728215" cy="3396997"/>
          </a:xfrm>
        </p:spPr>
        <p:txBody>
          <a:bodyPr rtlCol="0" anchor="t"/>
          <a:lstStyle>
            <a:lvl1pPr algn="ctr">
              <a:defRPr/>
            </a:lvl1pPr>
          </a:lstStyle>
          <a:p>
            <a:pPr rtl="0"/>
            <a:r>
              <a:rPr lang="ru-RU"/>
              <a:t>Щелкните, чтобы добавить фотографию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5E74E69A-5ABD-42DF-A2B0-997A626257D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-3063" y="920164"/>
            <a:ext cx="1070775" cy="24661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EC2B6D0A-4A1F-4B59-B429-AD3FABC74F3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 rot="5400000">
            <a:off x="-2390232" y="3396997"/>
            <a:ext cx="6858002" cy="64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32B66529-F6B7-4C1C-8291-8139628DF6C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848456"/>
            <a:ext cx="6833382" cy="717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872245B9-34B5-4F89-8EA6-C018B9D4FA4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6858023" y="3442673"/>
            <a:ext cx="5333977" cy="341532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690814BE-76E8-43EC-9616-A1F02F053AD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>
            <a:off x="0" y="3396996"/>
            <a:ext cx="12192001" cy="64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6" name="Объект 2">
            <a:extLst>
              <a:ext uri="{FF2B5EF4-FFF2-40B4-BE49-F238E27FC236}">
                <a16:creationId xmlns:a16="http://schemas.microsoft.com/office/drawing/2014/main" xmlns="" id="{F8AAA0A6-9D4B-4AA2-82F0-77E5ECF4B6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386762" y="3928342"/>
            <a:ext cx="4162319" cy="2285000"/>
          </a:xfrm>
        </p:spPr>
        <p:txBody>
          <a:bodyPr rtlCol="0" anchor="t">
            <a:normAutofit/>
          </a:bodyPr>
          <a:lstStyle>
            <a:lvl1pPr>
              <a:lnSpc>
                <a:spcPct val="100000"/>
              </a:lnSpc>
              <a:defRPr sz="2400" b="0"/>
            </a:lvl1pPr>
          </a:lstStyle>
          <a:p>
            <a:pPr rtl="0"/>
            <a:r>
              <a:rPr lang="ru-RU"/>
              <a:t>Текст слайда</a:t>
            </a:r>
          </a:p>
        </p:txBody>
      </p:sp>
      <p:sp>
        <p:nvSpPr>
          <p:cNvPr id="17" name="Нижний колонтитул 12">
            <a:extLst>
              <a:ext uri="{FF2B5EF4-FFF2-40B4-BE49-F238E27FC236}">
                <a16:creationId xmlns:a16="http://schemas.microsoft.com/office/drawing/2014/main" xmlns="" id="{8E3FFD99-95F0-47A4-8642-FB9FECEC4F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5917" y="6309360"/>
            <a:ext cx="4946592" cy="457200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rtl="0"/>
            <a:r>
              <a:rPr lang="ru-RU"/>
              <a:t>Заголовок презентации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94727536-E532-4015-A178-0ABB6B09C66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>
          <a:xfrm rot="5400000">
            <a:off x="3398931" y="3396997"/>
            <a:ext cx="6858002" cy="64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9" name="Дата 11">
            <a:extLst>
              <a:ext uri="{FF2B5EF4-FFF2-40B4-BE49-F238E27FC236}">
                <a16:creationId xmlns:a16="http://schemas.microsoft.com/office/drawing/2014/main" xmlns="" id="{22977876-C29D-4D32-9948-303465AEC3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77730" y="6309360"/>
            <a:ext cx="2736329" cy="457200"/>
          </a:xfrm>
        </p:spPr>
        <p:txBody>
          <a:bodyPr rtlCol="0"/>
          <a:lstStyle/>
          <a:p>
            <a:pPr rtl="0"/>
            <a:r>
              <a:rPr lang="ru-RU"/>
              <a:t>1 февраля 20XX</a:t>
            </a:r>
            <a:endParaRPr lang="ru-RU" dirty="0"/>
          </a:p>
        </p:txBody>
      </p:sp>
      <p:sp>
        <p:nvSpPr>
          <p:cNvPr id="20" name="Номер слайда 15">
            <a:extLst>
              <a:ext uri="{FF2B5EF4-FFF2-40B4-BE49-F238E27FC236}">
                <a16:creationId xmlns:a16="http://schemas.microsoft.com/office/drawing/2014/main" xmlns="" id="{6A7BC11E-2EF0-4989-9A7E-7AB377DB85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69202" y="6309360"/>
            <a:ext cx="979879" cy="457200"/>
          </a:xfrm>
        </p:spPr>
        <p:txBody>
          <a:bodyPr rtlCol="0"/>
          <a:lstStyle/>
          <a:p>
            <a:pPr rtl="0"/>
            <a:fld id="{FAEF9944-A4F6-4C59-AEBD-678D6480B8E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9241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accent1"/>
          </a:solidFill>
          <a:ln w="127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09980" y="882376"/>
            <a:ext cx="9966960" cy="2926080"/>
          </a:xfrm>
        </p:spPr>
        <p:txBody>
          <a:bodyPr rtlCol="0" anchor="b">
            <a:normAutofit/>
          </a:bodyPr>
          <a:lstStyle>
            <a:lvl1pPr algn="ctr">
              <a:lnSpc>
                <a:spcPct val="85000"/>
              </a:lnSpc>
              <a:defRPr sz="7200" b="1" cap="all" baseline="0">
                <a:solidFill>
                  <a:srgbClr val="FFFFFF"/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09530" y="3869634"/>
            <a:ext cx="8767860" cy="1388165"/>
          </a:xfrm>
        </p:spPr>
        <p:txBody>
          <a:bodyPr rtlCol="0">
            <a:normAutofit/>
          </a:bodyPr>
          <a:lstStyle>
            <a:lvl1pPr marL="0" indent="0" algn="ctr">
              <a:buNone/>
              <a:defRPr sz="2200">
                <a:solidFill>
                  <a:srgbClr val="FFFFFF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pPr rtl="0"/>
            <a:r>
              <a:rPr lang="ru-RU" noProof="0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rtl="0"/>
            <a:fld id="{B6C127E4-B48B-4BCC-8744-2EEB0B11A9FE}" type="datetime1">
              <a:rPr lang="ru-RU" noProof="0" smtClean="0"/>
              <a:t>07.10.2022</a:t>
            </a:fld>
            <a:endParaRPr lang="ru-RU" noProof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rtl="0"/>
            <a:endParaRPr lang="ru-RU" noProof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rtl="0"/>
            <a:fld id="{7966EA62-41C5-4F9A-A915-5B0BC739C923}" type="slidenum">
              <a:rPr lang="ru-RU" noProof="0" smtClean="0"/>
              <a:t>‹#›</a:t>
            </a:fld>
            <a:endParaRPr lang="ru-RU" noProof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978660" y="3733800"/>
            <a:ext cx="822960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6180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noProof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/>
        <p:txBody>
          <a:bodyPr rtlCol="0"/>
          <a:lstStyle/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A129027A-82DB-4C1F-9842-2D2AB82FE3DE}" type="datetime1">
              <a:rPr lang="ru-RU" noProof="0" smtClean="0"/>
              <a:t>07.10.2022</a:t>
            </a:fld>
            <a:endParaRPr lang="ru-RU" noProof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966EA62-41C5-4F9A-A915-5B0BC739C923}" type="slidenum">
              <a:rPr lang="ru-RU" noProof="0" smtClean="0"/>
              <a:t>‹#›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7193487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6424" y="1173575"/>
            <a:ext cx="9966960" cy="2926080"/>
          </a:xfrm>
        </p:spPr>
        <p:txBody>
          <a:bodyPr rtlCol="0" anchor="b">
            <a:noAutofit/>
          </a:bodyPr>
          <a:lstStyle>
            <a:lvl1pPr algn="ctr">
              <a:lnSpc>
                <a:spcPct val="85000"/>
              </a:lnSpc>
              <a:defRPr sz="7200" b="0" cap="all" baseline="0"/>
            </a:lvl1pPr>
          </a:lstStyle>
          <a:p>
            <a:pPr rtl="0"/>
            <a:r>
              <a:rPr lang="ru-RU" noProof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1709928" y="4154520"/>
            <a:ext cx="8769096" cy="1363806"/>
          </a:xfrm>
        </p:spPr>
        <p:txBody>
          <a:bodyPr rtlCol="0" anchor="t">
            <a:normAutofit/>
          </a:bodyPr>
          <a:lstStyle>
            <a:lvl1pPr marL="0" indent="0" algn="ctr">
              <a:buNone/>
              <a:defRPr sz="22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66B2FFE7-49FF-4C82-9CEB-046A1449CBB3}" type="datetime1">
              <a:rPr lang="ru-RU" noProof="0" smtClean="0"/>
              <a:t>07.10.2022</a:t>
            </a:fld>
            <a:endParaRPr lang="ru-RU" noProof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966EA62-41C5-4F9A-A915-5B0BC739C923}" type="slidenum">
              <a:rPr lang="ru-RU" noProof="0" smtClean="0"/>
              <a:t>‹#›</a:t>
            </a:fld>
            <a:endParaRPr lang="ru-RU" noProof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981200" y="4020408"/>
            <a:ext cx="822960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43343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 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noProof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 hasCustomPrompt="1"/>
          </p:nvPr>
        </p:nvSpPr>
        <p:spPr>
          <a:xfrm>
            <a:off x="1143000" y="2057399"/>
            <a:ext cx="4754880" cy="4023360"/>
          </a:xfrm>
        </p:spPr>
        <p:txBody>
          <a:bodyPr rtlCol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6267612" y="2057400"/>
            <a:ext cx="4754880" cy="4023360"/>
          </a:xfrm>
        </p:spPr>
        <p:txBody>
          <a:bodyPr rtlCol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2E216838-655E-4714-BB90-EB62A4FACFBA}" type="datetime1">
              <a:rPr lang="ru-RU" noProof="0" smtClean="0"/>
              <a:t>07.10.2022</a:t>
            </a:fld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966EA62-41C5-4F9A-A915-5B0BC739C923}" type="slidenum">
              <a:rPr lang="ru-RU" noProof="0" smtClean="0"/>
              <a:t>‹#›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6912307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noProof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1143000" y="2001511"/>
            <a:ext cx="4754880" cy="777240"/>
          </a:xfrm>
        </p:spPr>
        <p:txBody>
          <a:bodyPr rtlCol="0"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1143000" y="2721483"/>
            <a:ext cx="4754880" cy="3383280"/>
          </a:xfrm>
        </p:spPr>
        <p:txBody>
          <a:bodyPr rtlCol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6269173" y="1999032"/>
            <a:ext cx="4754880" cy="777240"/>
          </a:xfrm>
        </p:spPr>
        <p:txBody>
          <a:bodyPr rtlCol="0"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6269173" y="2719322"/>
            <a:ext cx="4754880" cy="3383280"/>
          </a:xfrm>
        </p:spPr>
        <p:txBody>
          <a:bodyPr rtlCol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276D9FD5-C096-43FE-9082-32D112EA8A25}" type="datetime1">
              <a:rPr lang="ru-RU" noProof="0" smtClean="0"/>
              <a:t>07.10.2022</a:t>
            </a:fld>
            <a:endParaRPr lang="ru-RU" noProof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966EA62-41C5-4F9A-A915-5B0BC739C923}" type="slidenum">
              <a:rPr lang="ru-RU" noProof="0" smtClean="0"/>
              <a:t>‹#›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3316119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 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354D8B55-9EA8-4B81-8E84-9B93B0A27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809450C2-61B8-4832-872F-742B76218E05}" type="datetime1">
              <a:rPr lang="ru-RU" noProof="0" smtClean="0"/>
              <a:t>07.10.2022</a:t>
            </a:fld>
            <a:endParaRPr lang="ru-RU" noProof="0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062CA021-2578-47CB-822C-BDDFF7223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 dirty="0"/>
          </a:p>
        </p:txBody>
      </p:sp>
      <p:sp>
        <p:nvSpPr>
          <p:cNvPr id="9" name="Номер слайда 8">
            <a:extLst>
              <a:ext uri="{FF2B5EF4-FFF2-40B4-BE49-F238E27FC236}">
                <a16:creationId xmlns:a16="http://schemas.microsoft.com/office/drawing/2014/main" xmlns="" id="{C4AAB51D-4141-4682-9375-DAFD5FB9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5404659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noProof="0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1A04434A-06E7-4D38-898C-A93D666DAE6B}" type="datetime1">
              <a:rPr lang="ru-RU" noProof="0" smtClean="0"/>
              <a:t>07.10.2022</a:t>
            </a:fld>
            <a:endParaRPr lang="ru-RU" noProof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966EA62-41C5-4F9A-A915-5B0BC739C923}" type="slidenum">
              <a:rPr lang="ru-RU" noProof="0" smtClean="0"/>
              <a:t>‹#›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8878407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EBF62739-7BB7-4C02-8B43-51B5363FCE6C}" type="datetime1">
              <a:rPr lang="ru-RU" noProof="0" smtClean="0"/>
              <a:t>07.10.2022</a:t>
            </a:fld>
            <a:endParaRPr lang="ru-RU" noProof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966EA62-41C5-4F9A-A915-5B0BC739C923}" type="slidenum">
              <a:rPr lang="ru-RU" noProof="0" smtClean="0"/>
              <a:t>‹#›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434662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rtlCol="0"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pPr rtl="0"/>
            <a:r>
              <a:rPr lang="ru-RU" noProof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852159" y="1097280"/>
            <a:ext cx="5212080" cy="4663440"/>
          </a:xfrm>
        </p:spPr>
        <p:txBody>
          <a:bodyPr rtlCol="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43000" y="2834640"/>
            <a:ext cx="3931920" cy="3017520"/>
          </a:xfrm>
        </p:spPr>
        <p:txBody>
          <a:bodyPr rtlCol="0"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8416BFCA-09DD-40A6-9831-CF1698C0A1D5}" type="datetime1">
              <a:rPr lang="ru-RU" noProof="0" smtClean="0"/>
              <a:t>07.10.2022</a:t>
            </a:fld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966EA62-41C5-4F9A-A915-5B0BC739C923}" type="slidenum">
              <a:rPr lang="ru-RU" noProof="0" smtClean="0"/>
              <a:t>‹#›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5504787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rtlCol="0"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pPr rtl="0"/>
            <a:r>
              <a:rPr lang="ru-RU" noProof="0"/>
              <a:t>Образец заголовк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5413248" y="1069847"/>
            <a:ext cx="6099048" cy="4800600"/>
          </a:xfrm>
        </p:spPr>
        <p:txBody>
          <a:bodyPr lIns="274320" tIns="182880" rtlCol="0" anchor="t"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143000" y="2834640"/>
            <a:ext cx="3931920" cy="2880360"/>
          </a:xfrm>
        </p:spPr>
        <p:txBody>
          <a:bodyPr rtlCol="0"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87BC173A-9BE6-44CE-81ED-0FE7B39A307B}" type="datetime1">
              <a:rPr lang="ru-RU" noProof="0" smtClean="0"/>
              <a:t>07.10.2022</a:t>
            </a:fld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966EA62-41C5-4F9A-A915-5B0BC739C923}" type="slidenum">
              <a:rPr lang="ru-RU" noProof="0" smtClean="0"/>
              <a:t>‹#›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9088960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noProof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 rtlCol="0"/>
          <a:lstStyle/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3D6E254D-15E1-4100-99FD-74B439B32FFB}" type="datetime1">
              <a:rPr lang="ru-RU" noProof="0" smtClean="0"/>
              <a:t>07.10.2022</a:t>
            </a:fld>
            <a:endParaRPr lang="ru-RU" noProof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966EA62-41C5-4F9A-A915-5B0BC739C923}" type="slidenum">
              <a:rPr lang="ru-RU" noProof="0" smtClean="0"/>
              <a:t>‹#›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3352116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762000"/>
            <a:ext cx="2324100" cy="5410200"/>
          </a:xfrm>
        </p:spPr>
        <p:txBody>
          <a:bodyPr vert="eaVert" rtlCol="0"/>
          <a:lstStyle/>
          <a:p>
            <a:pPr rtl="0"/>
            <a:r>
              <a:rPr lang="ru-RU" noProof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1143000" y="762000"/>
            <a:ext cx="7429500" cy="5410200"/>
          </a:xfrm>
        </p:spPr>
        <p:txBody>
          <a:bodyPr vert="eaVert" rtlCol="0"/>
          <a:lstStyle/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1BE68566-CDFB-4047-A48D-85898FD52BF3}" type="datetime1">
              <a:rPr lang="ru-RU" noProof="0" smtClean="0"/>
              <a:t>07.10.2022</a:t>
            </a:fld>
            <a:endParaRPr lang="ru-RU" noProof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966EA62-41C5-4F9A-A915-5B0BC739C923}" type="slidenum">
              <a:rPr lang="ru-RU" noProof="0" smtClean="0"/>
              <a:t>‹#›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12607685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Графический объект 65">
            <a:extLst>
              <a:ext uri="{FF2B5EF4-FFF2-40B4-BE49-F238E27FC236}">
                <a16:creationId xmlns:a16="http://schemas.microsoft.com/office/drawing/2014/main" xmlns="" id="{90B14DE5-DA3D-4674-BF58-3926C8A9DD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V="1">
            <a:off x="9108222" y="5063275"/>
            <a:ext cx="2636800" cy="1606800"/>
          </a:xfrm>
          <a:prstGeom prst="rect">
            <a:avLst/>
          </a:prstGeom>
        </p:spPr>
      </p:pic>
      <p:pic>
        <p:nvPicPr>
          <p:cNvPr id="67" name="Графический объект 66">
            <a:extLst>
              <a:ext uri="{FF2B5EF4-FFF2-40B4-BE49-F238E27FC236}">
                <a16:creationId xmlns:a16="http://schemas.microsoft.com/office/drawing/2014/main" xmlns="" id="{F519C58A-42C2-4EFF-90E4-9A2251618C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flipV="1">
            <a:off x="6213829" y="5063275"/>
            <a:ext cx="2636800" cy="1606800"/>
          </a:xfrm>
          <a:prstGeom prst="rect">
            <a:avLst/>
          </a:prstGeom>
        </p:spPr>
      </p:pic>
      <p:pic>
        <p:nvPicPr>
          <p:cNvPr id="68" name="Графический объект 67">
            <a:extLst>
              <a:ext uri="{FF2B5EF4-FFF2-40B4-BE49-F238E27FC236}">
                <a16:creationId xmlns:a16="http://schemas.microsoft.com/office/drawing/2014/main" xmlns="" id="{82AA0ABF-C12D-46ED-83CE-47F37AC0A87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 flipV="1">
            <a:off x="3319435" y="5063275"/>
            <a:ext cx="2636800" cy="1606800"/>
          </a:xfrm>
          <a:prstGeom prst="rect">
            <a:avLst/>
          </a:prstGeom>
        </p:spPr>
      </p:pic>
      <p:pic>
        <p:nvPicPr>
          <p:cNvPr id="69" name="Графический объект 68">
            <a:extLst>
              <a:ext uri="{FF2B5EF4-FFF2-40B4-BE49-F238E27FC236}">
                <a16:creationId xmlns:a16="http://schemas.microsoft.com/office/drawing/2014/main" xmlns="" id="{9E510651-FA50-4A92-BA3E-CE76CFE11AB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 flipV="1">
            <a:off x="425040" y="5063275"/>
            <a:ext cx="2636800" cy="1606800"/>
          </a:xfrm>
          <a:prstGeom prst="rect">
            <a:avLst/>
          </a:prstGeom>
        </p:spPr>
      </p:pic>
      <p:pic>
        <p:nvPicPr>
          <p:cNvPr id="60" name="Графический объект 59">
            <a:extLst>
              <a:ext uri="{FF2B5EF4-FFF2-40B4-BE49-F238E27FC236}">
                <a16:creationId xmlns:a16="http://schemas.microsoft.com/office/drawing/2014/main" xmlns="" id="{F6C9B6F4-3A93-4DCA-A42A-46222720EF9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9113461" y="1013537"/>
            <a:ext cx="2636800" cy="1606800"/>
          </a:xfrm>
          <a:prstGeom prst="rect">
            <a:avLst/>
          </a:prstGeom>
        </p:spPr>
      </p:pic>
      <p:pic>
        <p:nvPicPr>
          <p:cNvPr id="58" name="Графический объект 57">
            <a:extLst>
              <a:ext uri="{FF2B5EF4-FFF2-40B4-BE49-F238E27FC236}">
                <a16:creationId xmlns:a16="http://schemas.microsoft.com/office/drawing/2014/main" xmlns="" id="{7FB68798-4EF5-491D-BDC4-288D15D2E318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6219068" y="1013537"/>
            <a:ext cx="2636800" cy="1606800"/>
          </a:xfrm>
          <a:prstGeom prst="rect">
            <a:avLst/>
          </a:prstGeom>
        </p:spPr>
      </p:pic>
      <p:pic>
        <p:nvPicPr>
          <p:cNvPr id="55" name="Графический объект 54">
            <a:extLst>
              <a:ext uri="{FF2B5EF4-FFF2-40B4-BE49-F238E27FC236}">
                <a16:creationId xmlns:a16="http://schemas.microsoft.com/office/drawing/2014/main" xmlns="" id="{B4E84C11-C343-4347-A2E3-0B7555BB6422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3324674" y="1013537"/>
            <a:ext cx="2636800" cy="1606800"/>
          </a:xfrm>
          <a:prstGeom prst="rect">
            <a:avLst/>
          </a:prstGeom>
        </p:spPr>
      </p:pic>
      <p:pic>
        <p:nvPicPr>
          <p:cNvPr id="53" name="Графический объект 52">
            <a:extLst>
              <a:ext uri="{FF2B5EF4-FFF2-40B4-BE49-F238E27FC236}">
                <a16:creationId xmlns:a16="http://schemas.microsoft.com/office/drawing/2014/main" xmlns="" id="{D4AA3417-388D-4F52-A85A-B359D84DCD79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430279" y="1013537"/>
            <a:ext cx="2636800" cy="1606800"/>
          </a:xfrm>
          <a:prstGeom prst="rect">
            <a:avLst/>
          </a:prstGeom>
        </p:spPr>
      </p:pic>
      <p:pic>
        <p:nvPicPr>
          <p:cNvPr id="82" name="Графический объект 81">
            <a:extLst>
              <a:ext uri="{FF2B5EF4-FFF2-40B4-BE49-F238E27FC236}">
                <a16:creationId xmlns:a16="http://schemas.microsoft.com/office/drawing/2014/main" xmlns="" id="{D1B1C02E-9F07-4E40-BE13-F802E6138A66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1259840" y="2490832"/>
            <a:ext cx="10059932" cy="2750058"/>
          </a:xfrm>
          <a:prstGeom prst="rect">
            <a:avLst/>
          </a:prstGeom>
        </p:spPr>
      </p:pic>
      <p:pic>
        <p:nvPicPr>
          <p:cNvPr id="13" name="Графический объект 12">
            <a:extLst>
              <a:ext uri="{FF2B5EF4-FFF2-40B4-BE49-F238E27FC236}">
                <a16:creationId xmlns:a16="http://schemas.microsoft.com/office/drawing/2014/main" xmlns="" id="{D8D41EC6-1A3C-43A4-A1A5-C4D0F47ADF66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xmlns="" r:embed="rId21"/>
              </a:ext>
            </a:extLst>
          </a:blip>
          <a:stretch>
            <a:fillRect/>
          </a:stretch>
        </p:blipFill>
        <p:spPr>
          <a:xfrm>
            <a:off x="3706368" y="2822947"/>
            <a:ext cx="4779264" cy="2016252"/>
          </a:xfrm>
          <a:prstGeom prst="rect">
            <a:avLst/>
          </a:prstGeom>
        </p:spPr>
      </p:pic>
      <p:pic>
        <p:nvPicPr>
          <p:cNvPr id="56" name="Графический объект 55">
            <a:extLst>
              <a:ext uri="{FF2B5EF4-FFF2-40B4-BE49-F238E27FC236}">
                <a16:creationId xmlns:a16="http://schemas.microsoft.com/office/drawing/2014/main" xmlns="" id="{56C7FDEA-6D60-408B-BB92-E0FB7E8FAE5B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3948800" y="2930702"/>
            <a:ext cx="4294400" cy="1811700"/>
          </a:xfrm>
          <a:prstGeom prst="rect">
            <a:avLst/>
          </a:prstGeom>
        </p:spPr>
      </p:pic>
      <p:pic>
        <p:nvPicPr>
          <p:cNvPr id="3" name="Графический объект 2">
            <a:extLst>
              <a:ext uri="{FF2B5EF4-FFF2-40B4-BE49-F238E27FC236}">
                <a16:creationId xmlns:a16="http://schemas.microsoft.com/office/drawing/2014/main" xmlns="" id="{3643133D-031F-4AB9-8E35-810217F817BA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96DAC541-7B7A-43D3-8B79-37D633B846F1}">
                <asvg:svgBlip xmlns:asvg="http://schemas.microsoft.com/office/drawing/2016/SVG/main" xmlns="" r:embed="rId25"/>
              </a:ext>
            </a:extLst>
          </a:blip>
          <a:stretch>
            <a:fillRect/>
          </a:stretch>
        </p:blipFill>
        <p:spPr>
          <a:xfrm>
            <a:off x="441738" y="188759"/>
            <a:ext cx="11308524" cy="658368"/>
          </a:xfrm>
          <a:prstGeom prst="rect">
            <a:avLst/>
          </a:prstGeom>
        </p:spPr>
      </p:pic>
      <p:pic>
        <p:nvPicPr>
          <p:cNvPr id="5" name="Графический объект 4">
            <a:extLst>
              <a:ext uri="{FF2B5EF4-FFF2-40B4-BE49-F238E27FC236}">
                <a16:creationId xmlns:a16="http://schemas.microsoft.com/office/drawing/2014/main" xmlns="" id="{CAD03BDB-FEE2-49F5-A811-E7AE127D7B18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96DAC541-7B7A-43D3-8B79-37D633B846F1}">
                <asvg:svgBlip xmlns:asvg="http://schemas.microsoft.com/office/drawing/2016/SVG/main" xmlns="" r:embed="rId27"/>
              </a:ext>
            </a:extLst>
          </a:blip>
          <a:stretch>
            <a:fillRect/>
          </a:stretch>
        </p:blipFill>
        <p:spPr>
          <a:xfrm>
            <a:off x="2089963" y="188759"/>
            <a:ext cx="67579" cy="665226"/>
          </a:xfrm>
          <a:prstGeom prst="rect">
            <a:avLst/>
          </a:prstGeom>
        </p:spPr>
      </p:pic>
      <p:pic>
        <p:nvPicPr>
          <p:cNvPr id="70" name="Графический объект 69">
            <a:extLst>
              <a:ext uri="{FF2B5EF4-FFF2-40B4-BE49-F238E27FC236}">
                <a16:creationId xmlns:a16="http://schemas.microsoft.com/office/drawing/2014/main" xmlns="" id="{3EB0F26B-EF67-45AE-B9D7-F16CE8D76004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449863" y="1566976"/>
            <a:ext cx="2617216" cy="9518"/>
          </a:xfrm>
          <a:prstGeom prst="rect">
            <a:avLst/>
          </a:prstGeom>
        </p:spPr>
      </p:pic>
      <p:pic>
        <p:nvPicPr>
          <p:cNvPr id="72" name="Графический объект 71">
            <a:extLst>
              <a:ext uri="{FF2B5EF4-FFF2-40B4-BE49-F238E27FC236}">
                <a16:creationId xmlns:a16="http://schemas.microsoft.com/office/drawing/2014/main" xmlns="" id="{47995016-D4D8-4808-8CD3-32F79B0239A5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3347929" y="1566976"/>
            <a:ext cx="2617216" cy="9518"/>
          </a:xfrm>
          <a:prstGeom prst="rect">
            <a:avLst/>
          </a:prstGeom>
        </p:spPr>
      </p:pic>
      <p:pic>
        <p:nvPicPr>
          <p:cNvPr id="73" name="Графический объект 72">
            <a:extLst>
              <a:ext uri="{FF2B5EF4-FFF2-40B4-BE49-F238E27FC236}">
                <a16:creationId xmlns:a16="http://schemas.microsoft.com/office/drawing/2014/main" xmlns="" id="{EE35787E-99B0-40C6-9105-C83783287C85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6237867" y="1566976"/>
            <a:ext cx="2617216" cy="9518"/>
          </a:xfrm>
          <a:prstGeom prst="rect">
            <a:avLst/>
          </a:prstGeom>
        </p:spPr>
      </p:pic>
      <p:pic>
        <p:nvPicPr>
          <p:cNvPr id="74" name="Графический объект 73">
            <a:extLst>
              <a:ext uri="{FF2B5EF4-FFF2-40B4-BE49-F238E27FC236}">
                <a16:creationId xmlns:a16="http://schemas.microsoft.com/office/drawing/2014/main" xmlns="" id="{54E4CDFC-F54D-4B24-A397-95EED4412D74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9127806" y="1566976"/>
            <a:ext cx="2617216" cy="9518"/>
          </a:xfrm>
          <a:prstGeom prst="rect">
            <a:avLst/>
          </a:prstGeom>
        </p:spPr>
      </p:pic>
      <p:pic>
        <p:nvPicPr>
          <p:cNvPr id="76" name="Графический объект 75">
            <a:extLst>
              <a:ext uri="{FF2B5EF4-FFF2-40B4-BE49-F238E27FC236}">
                <a16:creationId xmlns:a16="http://schemas.microsoft.com/office/drawing/2014/main" xmlns="" id="{2C796C20-C435-47D1-A39F-36774906D447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461319" y="6107341"/>
            <a:ext cx="2617216" cy="9518"/>
          </a:xfrm>
          <a:prstGeom prst="rect">
            <a:avLst/>
          </a:prstGeom>
        </p:spPr>
      </p:pic>
      <p:pic>
        <p:nvPicPr>
          <p:cNvPr id="77" name="Графический объект 76">
            <a:extLst>
              <a:ext uri="{FF2B5EF4-FFF2-40B4-BE49-F238E27FC236}">
                <a16:creationId xmlns:a16="http://schemas.microsoft.com/office/drawing/2014/main" xmlns="" id="{CC37E82C-07E7-4BD1-87B9-433A58C888EF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3350148" y="6107341"/>
            <a:ext cx="2617216" cy="9518"/>
          </a:xfrm>
          <a:prstGeom prst="rect">
            <a:avLst/>
          </a:prstGeom>
        </p:spPr>
      </p:pic>
      <p:pic>
        <p:nvPicPr>
          <p:cNvPr id="78" name="Графический объект 77">
            <a:extLst>
              <a:ext uri="{FF2B5EF4-FFF2-40B4-BE49-F238E27FC236}">
                <a16:creationId xmlns:a16="http://schemas.microsoft.com/office/drawing/2014/main" xmlns="" id="{84AEA474-6D1D-4F34-A07A-9A080818AFFD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6238976" y="6107341"/>
            <a:ext cx="2617216" cy="9518"/>
          </a:xfrm>
          <a:prstGeom prst="rect">
            <a:avLst/>
          </a:prstGeom>
        </p:spPr>
      </p:pic>
      <p:pic>
        <p:nvPicPr>
          <p:cNvPr id="79" name="Графический объект 78">
            <a:extLst>
              <a:ext uri="{FF2B5EF4-FFF2-40B4-BE49-F238E27FC236}">
                <a16:creationId xmlns:a16="http://schemas.microsoft.com/office/drawing/2014/main" xmlns="" id="{D5CF3E23-E5D2-4FB2-B1D6-C5C92BC809F7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9127806" y="6107341"/>
            <a:ext cx="2617216" cy="9518"/>
          </a:xfrm>
          <a:prstGeom prst="rect">
            <a:avLst/>
          </a:prstGeom>
        </p:spPr>
      </p:pic>
      <p:sp>
        <p:nvSpPr>
          <p:cNvPr id="83" name="Заголовок 82">
            <a:extLst>
              <a:ext uri="{FF2B5EF4-FFF2-40B4-BE49-F238E27FC236}">
                <a16:creationId xmlns:a16="http://schemas.microsoft.com/office/drawing/2014/main" xmlns="" id="{B5AE010A-EACD-440E-AC17-9004D712CB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83390" y="208720"/>
            <a:ext cx="9229810" cy="667094"/>
          </a:xfrm>
        </p:spPr>
        <p:txBody>
          <a:bodyPr lIns="0" tIns="0" rIns="0" bIns="0" rtlCol="0">
            <a:noAutofit/>
          </a:bodyPr>
          <a:lstStyle>
            <a:lvl1pPr>
              <a:defRPr sz="4125" b="1">
                <a:solidFill>
                  <a:srgbClr val="105A46"/>
                </a:solidFill>
              </a:defRPr>
            </a:lvl1pPr>
          </a:lstStyle>
          <a:p>
            <a:pPr rtl="0"/>
            <a:r>
              <a:rPr lang="ru-RU" noProof="0"/>
              <a:t>ЭКОНОМИТЬ ДЕНГИ</a:t>
            </a:r>
          </a:p>
        </p:txBody>
      </p:sp>
      <p:sp>
        <p:nvSpPr>
          <p:cNvPr id="86" name="Текст 85">
            <a:extLst>
              <a:ext uri="{FF2B5EF4-FFF2-40B4-BE49-F238E27FC236}">
                <a16:creationId xmlns:a16="http://schemas.microsoft.com/office/drawing/2014/main" xmlns="" id="{0AD73A12-94F1-4703-97C7-FD47449AAA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705" y="1059386"/>
            <a:ext cx="2088444" cy="475415"/>
          </a:xfrm>
        </p:spPr>
        <p:txBody>
          <a:bodyPr lIns="0" tIns="0" rIns="0" bIns="0" rtlCol="0" anchor="ctr" anchorCtr="0">
            <a:noAutofit/>
          </a:bodyPr>
          <a:lstStyle>
            <a:lvl1pPr marL="0" indent="0">
              <a:buNone/>
              <a:defRPr sz="675">
                <a:solidFill>
                  <a:srgbClr val="1A1A1A"/>
                </a:solidFill>
                <a:latin typeface="+mn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87" name="Текст 85">
            <a:extLst>
              <a:ext uri="{FF2B5EF4-FFF2-40B4-BE49-F238E27FC236}">
                <a16:creationId xmlns:a16="http://schemas.microsoft.com/office/drawing/2014/main" xmlns="" id="{7B4ECFC7-29BF-4BDC-BB76-B9AF9F9359E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03645" y="1059386"/>
            <a:ext cx="2088444" cy="475415"/>
          </a:xfrm>
        </p:spPr>
        <p:txBody>
          <a:bodyPr lIns="0" tIns="0" rIns="0" bIns="0" rtlCol="0" anchor="ctr" anchorCtr="0">
            <a:noAutofit/>
          </a:bodyPr>
          <a:lstStyle>
            <a:lvl1pPr marL="0" indent="0">
              <a:buNone/>
              <a:defRPr sz="675">
                <a:solidFill>
                  <a:srgbClr val="1A1A1A"/>
                </a:solidFill>
                <a:latin typeface="+mn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88" name="Текст 85">
            <a:extLst>
              <a:ext uri="{FF2B5EF4-FFF2-40B4-BE49-F238E27FC236}">
                <a16:creationId xmlns:a16="http://schemas.microsoft.com/office/drawing/2014/main" xmlns="" id="{EFB943BD-1D3A-4EE2-A63D-3C5C2B531EA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18352" y="1059386"/>
            <a:ext cx="2088444" cy="475415"/>
          </a:xfrm>
        </p:spPr>
        <p:txBody>
          <a:bodyPr lIns="0" tIns="0" rIns="0" bIns="0" rtlCol="0" anchor="ctr" anchorCtr="0">
            <a:noAutofit/>
          </a:bodyPr>
          <a:lstStyle>
            <a:lvl1pPr marL="0" indent="0">
              <a:buNone/>
              <a:defRPr sz="675">
                <a:solidFill>
                  <a:srgbClr val="1A1A1A"/>
                </a:solidFill>
                <a:latin typeface="+mn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89" name="Текст 85">
            <a:extLst>
              <a:ext uri="{FF2B5EF4-FFF2-40B4-BE49-F238E27FC236}">
                <a16:creationId xmlns:a16="http://schemas.microsoft.com/office/drawing/2014/main" xmlns="" id="{323428F7-951E-4CF8-8B74-3ECD1B3BCD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0999" y="1059386"/>
            <a:ext cx="2088444" cy="475415"/>
          </a:xfrm>
        </p:spPr>
        <p:txBody>
          <a:bodyPr lIns="0" tIns="0" rIns="0" bIns="0" rtlCol="0" anchor="ctr" anchorCtr="0">
            <a:noAutofit/>
          </a:bodyPr>
          <a:lstStyle>
            <a:lvl1pPr marL="0" indent="0">
              <a:buNone/>
              <a:defRPr sz="675">
                <a:solidFill>
                  <a:srgbClr val="1A1A1A"/>
                </a:solidFill>
                <a:latin typeface="+mn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90" name="Текст 85">
            <a:extLst>
              <a:ext uri="{FF2B5EF4-FFF2-40B4-BE49-F238E27FC236}">
                <a16:creationId xmlns:a16="http://schemas.microsoft.com/office/drawing/2014/main" xmlns="" id="{B2E76416-7D8D-4677-8085-9B92E21A87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5705" y="6150179"/>
            <a:ext cx="2088444" cy="475200"/>
          </a:xfrm>
        </p:spPr>
        <p:txBody>
          <a:bodyPr lIns="0" tIns="0" rIns="0" bIns="0" rtlCol="0" anchor="ctr" anchorCtr="0">
            <a:noAutofit/>
          </a:bodyPr>
          <a:lstStyle>
            <a:lvl1pPr marL="0" indent="0">
              <a:buNone/>
              <a:defRPr sz="675">
                <a:solidFill>
                  <a:srgbClr val="1A1A1A"/>
                </a:solidFill>
                <a:latin typeface="+mn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91" name="Текст 85">
            <a:extLst>
              <a:ext uri="{FF2B5EF4-FFF2-40B4-BE49-F238E27FC236}">
                <a16:creationId xmlns:a16="http://schemas.microsoft.com/office/drawing/2014/main" xmlns="" id="{6A62EDE6-A234-48FA-845B-EF410E9C549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03645" y="6150179"/>
            <a:ext cx="2088444" cy="475200"/>
          </a:xfrm>
        </p:spPr>
        <p:txBody>
          <a:bodyPr lIns="0" tIns="0" rIns="0" bIns="0" rtlCol="0" anchor="ctr" anchorCtr="0">
            <a:noAutofit/>
          </a:bodyPr>
          <a:lstStyle>
            <a:lvl1pPr marL="0" indent="0">
              <a:buNone/>
              <a:defRPr sz="675">
                <a:solidFill>
                  <a:srgbClr val="1A1A1A"/>
                </a:solidFill>
                <a:latin typeface="+mn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92" name="Текст 85">
            <a:extLst>
              <a:ext uri="{FF2B5EF4-FFF2-40B4-BE49-F238E27FC236}">
                <a16:creationId xmlns:a16="http://schemas.microsoft.com/office/drawing/2014/main" xmlns="" id="{E1DD0CE4-601F-414D-8E56-61DA84EB7D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18352" y="6150179"/>
            <a:ext cx="2088444" cy="475200"/>
          </a:xfrm>
        </p:spPr>
        <p:txBody>
          <a:bodyPr lIns="0" tIns="0" rIns="0" bIns="0" rtlCol="0" anchor="ctr" anchorCtr="0">
            <a:noAutofit/>
          </a:bodyPr>
          <a:lstStyle>
            <a:lvl1pPr marL="0" indent="0">
              <a:buNone/>
              <a:defRPr sz="675">
                <a:solidFill>
                  <a:srgbClr val="1A1A1A"/>
                </a:solidFill>
                <a:latin typeface="+mn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93" name="Текст 85">
            <a:extLst>
              <a:ext uri="{FF2B5EF4-FFF2-40B4-BE49-F238E27FC236}">
                <a16:creationId xmlns:a16="http://schemas.microsoft.com/office/drawing/2014/main" xmlns="" id="{BC27ED56-2E02-4ABC-A4FB-BCFC447DEF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10999" y="6150179"/>
            <a:ext cx="2088444" cy="475200"/>
          </a:xfrm>
        </p:spPr>
        <p:txBody>
          <a:bodyPr lIns="0" tIns="0" rIns="0" bIns="0" rtlCol="0" anchor="ctr" anchorCtr="0">
            <a:noAutofit/>
          </a:bodyPr>
          <a:lstStyle>
            <a:lvl1pPr marL="0" indent="0">
              <a:buNone/>
              <a:defRPr sz="675">
                <a:solidFill>
                  <a:srgbClr val="1A1A1A"/>
                </a:solidFill>
                <a:latin typeface="+mn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94" name="Текст 85">
            <a:extLst>
              <a:ext uri="{FF2B5EF4-FFF2-40B4-BE49-F238E27FC236}">
                <a16:creationId xmlns:a16="http://schemas.microsoft.com/office/drawing/2014/main" xmlns="" id="{73A5BBB8-A715-40B2-9039-A2FFED2EDA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1730" y="1575568"/>
            <a:ext cx="2636800" cy="312000"/>
          </a:xfrm>
        </p:spPr>
        <p:txBody>
          <a:bodyPr lIns="0" tIns="0" rIns="0" bIns="0" rtlCol="0" anchor="ctr" anchorCtr="0">
            <a:noAutofit/>
          </a:bodyPr>
          <a:lstStyle>
            <a:lvl1pPr marL="0" indent="0" algn="ctr">
              <a:buNone/>
              <a:defRPr sz="1350" b="1">
                <a:solidFill>
                  <a:schemeClr val="accent2">
                    <a:lumMod val="75000"/>
                  </a:schemeClr>
                </a:solidFill>
                <a:latin typeface="+mj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ПРОДУКТЫ</a:t>
            </a:r>
          </a:p>
        </p:txBody>
      </p:sp>
      <p:sp>
        <p:nvSpPr>
          <p:cNvPr id="95" name="Текст 85">
            <a:extLst>
              <a:ext uri="{FF2B5EF4-FFF2-40B4-BE49-F238E27FC236}">
                <a16:creationId xmlns:a16="http://schemas.microsoft.com/office/drawing/2014/main" xmlns="" id="{A7434300-ECE1-491F-B604-D20F99F4B7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19669" y="1575568"/>
            <a:ext cx="2636800" cy="312000"/>
          </a:xfrm>
        </p:spPr>
        <p:txBody>
          <a:bodyPr lIns="0" tIns="0" rIns="0" bIns="0" rtlCol="0" anchor="ctr" anchorCtr="0">
            <a:noAutofit/>
          </a:bodyPr>
          <a:lstStyle>
            <a:lvl1pPr marL="0" indent="0" algn="ctr">
              <a:buNone/>
              <a:defRPr sz="1350" b="1">
                <a:solidFill>
                  <a:schemeClr val="accent5">
                    <a:lumMod val="75000"/>
                  </a:schemeClr>
                </a:solidFill>
                <a:latin typeface="+mj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ЗДОРОВЬЕ</a:t>
            </a:r>
          </a:p>
        </p:txBody>
      </p:sp>
      <p:sp>
        <p:nvSpPr>
          <p:cNvPr id="96" name="Текст 85">
            <a:extLst>
              <a:ext uri="{FF2B5EF4-FFF2-40B4-BE49-F238E27FC236}">
                <a16:creationId xmlns:a16="http://schemas.microsoft.com/office/drawing/2014/main" xmlns="" id="{313E782D-6914-4FCB-9365-C17D54EC56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34377" y="1575568"/>
            <a:ext cx="2636800" cy="312000"/>
          </a:xfrm>
        </p:spPr>
        <p:txBody>
          <a:bodyPr lIns="0" tIns="0" rIns="0" bIns="0" rtlCol="0" anchor="ctr" anchorCtr="0">
            <a:noAutofit/>
          </a:bodyPr>
          <a:lstStyle>
            <a:lvl1pPr marL="0" indent="0" algn="ctr">
              <a:buNone/>
              <a:defRPr sz="1350" b="1">
                <a:solidFill>
                  <a:schemeClr val="accent3">
                    <a:lumMod val="75000"/>
                  </a:schemeClr>
                </a:solidFill>
                <a:latin typeface="+mj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АВТОМОБИЛЬ</a:t>
            </a:r>
          </a:p>
        </p:txBody>
      </p:sp>
      <p:sp>
        <p:nvSpPr>
          <p:cNvPr id="97" name="Текст 85">
            <a:extLst>
              <a:ext uri="{FF2B5EF4-FFF2-40B4-BE49-F238E27FC236}">
                <a16:creationId xmlns:a16="http://schemas.microsoft.com/office/drawing/2014/main" xmlns="" id="{7E1859DC-708F-42EE-A251-AC9E306F58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27024" y="1575568"/>
            <a:ext cx="2636800" cy="312000"/>
          </a:xfrm>
        </p:spPr>
        <p:txBody>
          <a:bodyPr lIns="0" tIns="0" rIns="0" bIns="0" rtlCol="0" anchor="ctr" anchorCtr="0">
            <a:noAutofit/>
          </a:bodyPr>
          <a:lstStyle>
            <a:lvl1pPr marL="0" indent="0" algn="ctr">
              <a:buNone/>
              <a:defRPr sz="1350" b="1">
                <a:solidFill>
                  <a:schemeClr val="accent4">
                    <a:lumMod val="75000"/>
                  </a:schemeClr>
                </a:solidFill>
                <a:latin typeface="+mj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ДОМ</a:t>
            </a:r>
          </a:p>
        </p:txBody>
      </p:sp>
      <p:sp>
        <p:nvSpPr>
          <p:cNvPr id="98" name="Текст 85">
            <a:extLst>
              <a:ext uri="{FF2B5EF4-FFF2-40B4-BE49-F238E27FC236}">
                <a16:creationId xmlns:a16="http://schemas.microsoft.com/office/drawing/2014/main" xmlns="" id="{9997C069-92D8-49B8-B0C5-F6218F5EAA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1731" y="5798950"/>
            <a:ext cx="2626569" cy="312000"/>
          </a:xfrm>
        </p:spPr>
        <p:txBody>
          <a:bodyPr lIns="0" tIns="0" rIns="0" bIns="0" rtlCol="0" anchor="ctr" anchorCtr="0">
            <a:noAutofit/>
          </a:bodyPr>
          <a:lstStyle>
            <a:lvl1pPr marL="0" indent="0" algn="ctr">
              <a:buNone/>
              <a:defRPr sz="1350" b="1">
                <a:solidFill>
                  <a:schemeClr val="accent6">
                    <a:lumMod val="75000"/>
                  </a:schemeClr>
                </a:solidFill>
                <a:latin typeface="+mj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ТЕЛЕФОН</a:t>
            </a:r>
          </a:p>
        </p:txBody>
      </p:sp>
      <p:sp>
        <p:nvSpPr>
          <p:cNvPr id="99" name="Текст 85">
            <a:extLst>
              <a:ext uri="{FF2B5EF4-FFF2-40B4-BE49-F238E27FC236}">
                <a16:creationId xmlns:a16="http://schemas.microsoft.com/office/drawing/2014/main" xmlns="" id="{97C4DC24-F704-41E4-89E3-9CAE2B8941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19669" y="5798950"/>
            <a:ext cx="2636800" cy="312000"/>
          </a:xfrm>
        </p:spPr>
        <p:txBody>
          <a:bodyPr lIns="0" tIns="0" rIns="0" bIns="0" rtlCol="0" anchor="ctr" anchorCtr="0">
            <a:noAutofit/>
          </a:bodyPr>
          <a:lstStyle>
            <a:lvl1pPr marL="0" indent="0" algn="ctr">
              <a:buNone/>
              <a:defRPr sz="135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ПОКУПКИ</a:t>
            </a:r>
          </a:p>
        </p:txBody>
      </p:sp>
      <p:sp>
        <p:nvSpPr>
          <p:cNvPr id="100" name="Текст 85">
            <a:extLst>
              <a:ext uri="{FF2B5EF4-FFF2-40B4-BE49-F238E27FC236}">
                <a16:creationId xmlns:a16="http://schemas.microsoft.com/office/drawing/2014/main" xmlns="" id="{12183DE9-8DA4-4F5F-B7F0-8AD42E8696D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23744" y="5798950"/>
            <a:ext cx="2636800" cy="312000"/>
          </a:xfrm>
        </p:spPr>
        <p:txBody>
          <a:bodyPr lIns="0" tIns="0" rIns="0" bIns="0" rtlCol="0" anchor="ctr" anchorCtr="0">
            <a:noAutofit/>
          </a:bodyPr>
          <a:lstStyle>
            <a:lvl1pPr marL="0" indent="0" algn="ctr">
              <a:buNone/>
              <a:defRPr sz="1350" b="1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КРЕДИТНЫЕ СРЕДСТВА</a:t>
            </a:r>
          </a:p>
        </p:txBody>
      </p:sp>
      <p:sp>
        <p:nvSpPr>
          <p:cNvPr id="101" name="Текст 85">
            <a:extLst>
              <a:ext uri="{FF2B5EF4-FFF2-40B4-BE49-F238E27FC236}">
                <a16:creationId xmlns:a16="http://schemas.microsoft.com/office/drawing/2014/main" xmlns="" id="{EEBCEA7E-7C4E-4A62-ACA4-F1D7BEDBBE1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5984" y="5798950"/>
            <a:ext cx="2636800" cy="312000"/>
          </a:xfrm>
        </p:spPr>
        <p:txBody>
          <a:bodyPr lIns="0" tIns="0" rIns="0" bIns="0" rtlCol="0" anchor="ctr" anchorCtr="0">
            <a:noAutofit/>
          </a:bodyPr>
          <a:lstStyle>
            <a:lvl1pPr marL="0" indent="0" algn="ctr">
              <a:buNone/>
              <a:defRPr sz="1350" b="1">
                <a:solidFill>
                  <a:schemeClr val="tx1">
                    <a:lumMod val="75000"/>
                  </a:schemeClr>
                </a:solidFill>
                <a:latin typeface="+mj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НАЛОГИ</a:t>
            </a:r>
          </a:p>
        </p:txBody>
      </p:sp>
      <p:sp>
        <p:nvSpPr>
          <p:cNvPr id="107" name="Текст 85">
            <a:extLst>
              <a:ext uri="{FF2B5EF4-FFF2-40B4-BE49-F238E27FC236}">
                <a16:creationId xmlns:a16="http://schemas.microsoft.com/office/drawing/2014/main" xmlns="" id="{87B2A277-9AB7-40AD-A27E-3FE3EF51FAB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85658" y="3946874"/>
            <a:ext cx="2820688" cy="475200"/>
          </a:xfrm>
        </p:spPr>
        <p:txBody>
          <a:bodyPr lIns="0" tIns="0" rIns="0" bIns="0" rtlCol="0" anchor="ctr" anchorCtr="0">
            <a:noAutofit/>
          </a:bodyPr>
          <a:lstStyle>
            <a:lvl1pPr marL="0" indent="0" algn="ctr">
              <a:buNone/>
              <a:defRPr sz="675">
                <a:solidFill>
                  <a:srgbClr val="1A1A1A"/>
                </a:solidFill>
                <a:latin typeface="+mn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108" name="Текст 85">
            <a:extLst>
              <a:ext uri="{FF2B5EF4-FFF2-40B4-BE49-F238E27FC236}">
                <a16:creationId xmlns:a16="http://schemas.microsoft.com/office/drawing/2014/main" xmlns="" id="{4498D6A6-0661-4FA5-BECE-0C362D1D4C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55923" y="3722798"/>
            <a:ext cx="3280158" cy="224298"/>
          </a:xfrm>
        </p:spPr>
        <p:txBody>
          <a:bodyPr lIns="0" tIns="0" rIns="0" bIns="0" rtlCol="0" anchor="ctr" anchorCtr="0">
            <a:noAutofit/>
          </a:bodyPr>
          <a:lstStyle>
            <a:lvl1pPr marL="0" indent="0" algn="ctr">
              <a:buNone/>
              <a:defRPr sz="1350" b="1">
                <a:solidFill>
                  <a:srgbClr val="105A46"/>
                </a:solidFill>
                <a:latin typeface="+mj-lt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ВАШИ СБЕРЕЖЕНИЯ</a:t>
            </a:r>
          </a:p>
        </p:txBody>
      </p:sp>
      <p:sp>
        <p:nvSpPr>
          <p:cNvPr id="110" name="Рисунок 109">
            <a:extLst>
              <a:ext uri="{FF2B5EF4-FFF2-40B4-BE49-F238E27FC236}">
                <a16:creationId xmlns:a16="http://schemas.microsoft.com/office/drawing/2014/main" xmlns="" id="{06083CEF-ECD1-4365-AB24-1D824EFEB0F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136396" y="1853413"/>
            <a:ext cx="1363134" cy="575072"/>
          </a:xfrm>
        </p:spPr>
        <p:txBody>
          <a:bodyPr rtlCol="0" anchor="ctr" anchorCtr="0">
            <a:noAutofit/>
          </a:bodyPr>
          <a:lstStyle>
            <a:lvl1pPr marL="0" indent="0" algn="ctr">
              <a:buNone/>
              <a:defRPr sz="900">
                <a:solidFill>
                  <a:srgbClr val="1A1A1A"/>
                </a:solidFill>
              </a:defRPr>
            </a:lvl1pPr>
          </a:lstStyle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11" name="Рисунок 109">
            <a:extLst>
              <a:ext uri="{FF2B5EF4-FFF2-40B4-BE49-F238E27FC236}">
                <a16:creationId xmlns:a16="http://schemas.microsoft.com/office/drawing/2014/main" xmlns="" id="{85018C4A-F08C-4F16-B90A-46776FF3E45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013030" y="1853413"/>
            <a:ext cx="1363134" cy="575072"/>
          </a:xfrm>
        </p:spPr>
        <p:txBody>
          <a:bodyPr rtlCol="0" anchor="ctr" anchorCtr="0">
            <a:noAutofit/>
          </a:bodyPr>
          <a:lstStyle>
            <a:lvl1pPr marL="0" indent="0" algn="ctr">
              <a:buNone/>
              <a:defRPr sz="900">
                <a:solidFill>
                  <a:srgbClr val="1A1A1A"/>
                </a:solidFill>
              </a:defRPr>
            </a:lvl1pPr>
          </a:lstStyle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12" name="Рисунок 109">
            <a:extLst>
              <a:ext uri="{FF2B5EF4-FFF2-40B4-BE49-F238E27FC236}">
                <a16:creationId xmlns:a16="http://schemas.microsoft.com/office/drawing/2014/main" xmlns="" id="{B84B31EE-1F0D-4395-95C9-C9868F843191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889665" y="1853413"/>
            <a:ext cx="1363134" cy="575072"/>
          </a:xfrm>
        </p:spPr>
        <p:txBody>
          <a:bodyPr rtlCol="0" anchor="ctr" anchorCtr="0">
            <a:noAutofit/>
          </a:bodyPr>
          <a:lstStyle>
            <a:lvl1pPr marL="0" indent="0" algn="ctr">
              <a:buNone/>
              <a:defRPr sz="900">
                <a:solidFill>
                  <a:srgbClr val="1A1A1A"/>
                </a:solidFill>
              </a:defRPr>
            </a:lvl1pPr>
          </a:lstStyle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13" name="Рисунок 109">
            <a:extLst>
              <a:ext uri="{FF2B5EF4-FFF2-40B4-BE49-F238E27FC236}">
                <a16:creationId xmlns:a16="http://schemas.microsoft.com/office/drawing/2014/main" xmlns="" id="{2DB88BB7-5150-4EFE-B70B-25624E357735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9766300" y="1853413"/>
            <a:ext cx="1363134" cy="575072"/>
          </a:xfrm>
        </p:spPr>
        <p:txBody>
          <a:bodyPr rtlCol="0" anchor="ctr" anchorCtr="0">
            <a:noAutofit/>
          </a:bodyPr>
          <a:lstStyle>
            <a:lvl1pPr marL="0" indent="0" algn="ctr">
              <a:buNone/>
              <a:defRPr sz="900">
                <a:solidFill>
                  <a:srgbClr val="1A1A1A"/>
                </a:solidFill>
              </a:defRPr>
            </a:lvl1pPr>
          </a:lstStyle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14" name="Рисунок 109">
            <a:extLst>
              <a:ext uri="{FF2B5EF4-FFF2-40B4-BE49-F238E27FC236}">
                <a16:creationId xmlns:a16="http://schemas.microsoft.com/office/drawing/2014/main" xmlns="" id="{9E569632-68D6-4361-A151-463135D4D90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1136396" y="5234082"/>
            <a:ext cx="1363134" cy="575072"/>
          </a:xfrm>
        </p:spPr>
        <p:txBody>
          <a:bodyPr rtlCol="0" anchor="ctr" anchorCtr="0">
            <a:noAutofit/>
          </a:bodyPr>
          <a:lstStyle>
            <a:lvl1pPr marL="0" indent="0" algn="ctr">
              <a:buNone/>
              <a:defRPr sz="900">
                <a:solidFill>
                  <a:srgbClr val="1A1A1A"/>
                </a:solidFill>
              </a:defRPr>
            </a:lvl1pPr>
          </a:lstStyle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15" name="Рисунок 109">
            <a:extLst>
              <a:ext uri="{FF2B5EF4-FFF2-40B4-BE49-F238E27FC236}">
                <a16:creationId xmlns:a16="http://schemas.microsoft.com/office/drawing/2014/main" xmlns="" id="{134D31B6-DB70-45DB-8B41-2452E78771D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013030" y="5234082"/>
            <a:ext cx="1363134" cy="575072"/>
          </a:xfrm>
        </p:spPr>
        <p:txBody>
          <a:bodyPr rtlCol="0" anchor="ctr" anchorCtr="0">
            <a:noAutofit/>
          </a:bodyPr>
          <a:lstStyle>
            <a:lvl1pPr marL="0" indent="0" algn="ctr">
              <a:buNone/>
              <a:defRPr sz="900">
                <a:solidFill>
                  <a:srgbClr val="1A1A1A"/>
                </a:solidFill>
              </a:defRPr>
            </a:lvl1pPr>
          </a:lstStyle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16" name="Рисунок 109">
            <a:extLst>
              <a:ext uri="{FF2B5EF4-FFF2-40B4-BE49-F238E27FC236}">
                <a16:creationId xmlns:a16="http://schemas.microsoft.com/office/drawing/2014/main" xmlns="" id="{1876A071-8A78-485C-B7B6-BE2DA1B6BC4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889665" y="5234082"/>
            <a:ext cx="1363134" cy="575072"/>
          </a:xfrm>
        </p:spPr>
        <p:txBody>
          <a:bodyPr rtlCol="0" anchor="ctr" anchorCtr="0">
            <a:noAutofit/>
          </a:bodyPr>
          <a:lstStyle>
            <a:lvl1pPr marL="0" indent="0" algn="ctr">
              <a:buNone/>
              <a:defRPr sz="900">
                <a:solidFill>
                  <a:srgbClr val="1A1A1A"/>
                </a:solidFill>
              </a:defRPr>
            </a:lvl1pPr>
          </a:lstStyle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17" name="Рисунок 109">
            <a:extLst>
              <a:ext uri="{FF2B5EF4-FFF2-40B4-BE49-F238E27FC236}">
                <a16:creationId xmlns:a16="http://schemas.microsoft.com/office/drawing/2014/main" xmlns="" id="{DDE92D22-D301-4319-9160-33D66BFE436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66300" y="5234082"/>
            <a:ext cx="1363134" cy="575072"/>
          </a:xfrm>
        </p:spPr>
        <p:txBody>
          <a:bodyPr rtlCol="0" anchor="ctr" anchorCtr="0">
            <a:noAutofit/>
          </a:bodyPr>
          <a:lstStyle>
            <a:lvl1pPr marL="0" indent="0" algn="ctr">
              <a:buNone/>
              <a:defRPr sz="900">
                <a:solidFill>
                  <a:srgbClr val="1A1A1A"/>
                </a:solidFill>
              </a:defRPr>
            </a:lvl1pPr>
          </a:lstStyle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  <p:sp>
        <p:nvSpPr>
          <p:cNvPr id="124" name="Текст 85">
            <a:extLst>
              <a:ext uri="{FF2B5EF4-FFF2-40B4-BE49-F238E27FC236}">
                <a16:creationId xmlns:a16="http://schemas.microsoft.com/office/drawing/2014/main" xmlns="" id="{A40A1A0C-6733-452E-8FCB-D325D91C7CB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 rot="16200000">
            <a:off x="1029098" y="-145783"/>
            <a:ext cx="610487" cy="1327451"/>
          </a:xfrm>
        </p:spPr>
        <p:txBody>
          <a:bodyPr lIns="0" tIns="0" rIns="0" bIns="0" rtlCol="0" anchor="ctr" anchorCtr="0">
            <a:noAutofit/>
          </a:bodyPr>
          <a:lstStyle>
            <a:lvl1pPr marL="0" indent="0" algn="ctr">
              <a:buNone/>
              <a:defRPr lang="en-US" sz="1725" b="1" kern="120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2pPr>
            <a:lvl3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3pPr>
            <a:lvl4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4pPr>
            <a:lvl5pPr>
              <a:defRPr sz="675">
                <a:solidFill>
                  <a:schemeClr val="bg2"/>
                </a:solidFill>
                <a:latin typeface="Arial Narrow" panose="020B0606020202030204" pitchFamily="34" charset="0"/>
              </a:defRPr>
            </a:lvl5pPr>
          </a:lstStyle>
          <a:p>
            <a:pPr lvl="0" rtl="0"/>
            <a:r>
              <a:rPr lang="ru-RU" noProof="0"/>
              <a:t>КАК</a:t>
            </a:r>
            <a:br>
              <a:rPr lang="ru-RU" noProof="0"/>
            </a:br>
            <a:r>
              <a:rPr lang="ru-RU" noProof="0"/>
              <a:t>.</a:t>
            </a:r>
          </a:p>
        </p:txBody>
      </p:sp>
      <p:sp>
        <p:nvSpPr>
          <p:cNvPr id="125" name="Рисунок 109">
            <a:extLst>
              <a:ext uri="{FF2B5EF4-FFF2-40B4-BE49-F238E27FC236}">
                <a16:creationId xmlns:a16="http://schemas.microsoft.com/office/drawing/2014/main" xmlns="" id="{508071EB-230E-46A4-80EF-3A63549DF028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5414435" y="3103538"/>
            <a:ext cx="1363134" cy="575072"/>
          </a:xfrm>
        </p:spPr>
        <p:txBody>
          <a:bodyPr rtlCol="0" anchor="ctr" anchorCtr="0">
            <a:noAutofit/>
          </a:bodyPr>
          <a:lstStyle>
            <a:lvl1pPr marL="0" indent="0" algn="ctr">
              <a:buNone/>
              <a:defRPr sz="900">
                <a:solidFill>
                  <a:srgbClr val="1A1A1A"/>
                </a:solidFill>
              </a:defRPr>
            </a:lvl1pPr>
          </a:lstStyle>
          <a:p>
            <a:pPr rtl="0"/>
            <a:r>
              <a:rPr lang="ru-RU" noProof="0"/>
              <a:t>Щелкните значок, чтобы добавить фото</a:t>
            </a:r>
          </a:p>
        </p:txBody>
      </p:sp>
    </p:spTree>
    <p:extLst>
      <p:ext uri="{BB962C8B-B14F-4D97-AF65-F5344CB8AC3E}">
        <p14:creationId xmlns:p14="http://schemas.microsoft.com/office/powerpoint/2010/main" val="2065319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3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A585C21A-8B93-4657-B5DF-7EAEAD3BE127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rtlCol="0" anchor="b" anchorCtr="0">
            <a:normAutofit/>
          </a:bodyPr>
          <a:lstStyle>
            <a:lvl1pPr>
              <a:lnSpc>
                <a:spcPct val="90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97280" y="4663440"/>
            <a:ext cx="10058400" cy="1143000"/>
          </a:xfrm>
        </p:spPr>
        <p:txBody>
          <a:bodyPr lIns="91440" rIns="91440" rtlCol="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459DE2C1-4C52-40A3-8959-27B2C1BEBFF6}"/>
              </a:ext>
            </a:extLst>
          </p:cNvPr>
          <p:cNvCxnSpPr/>
          <p:nvPr/>
        </p:nvCxnSpPr>
        <p:spPr>
          <a:xfrm>
            <a:off x="1207658" y="4485132"/>
            <a:ext cx="987552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AAF2E137-EC28-48F8-9198-1F0253902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51B1CFE7-90A8-4F94-9002-31F2C21E0F77}" type="datetime1">
              <a:rPr lang="ru-RU" noProof="0" smtClean="0"/>
              <a:t>07.10.2022</a:t>
            </a:fld>
            <a:endParaRPr lang="ru-RU" noProof="0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189422CD-6F62-4DD6-89EF-07A60B42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 dirty="0"/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xmlns="" id="{69C6AFF8-42B4-4D05-969B-9F5FB3355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7627835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 rtlCol="0"/>
          <a:lstStyle/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97280" y="2120900"/>
            <a:ext cx="4639736" cy="3748193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515944" y="2120900"/>
            <a:ext cx="4639736" cy="3748194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5782D47D-B0DC-4C40-BCC6-BBBA32584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809DA663-16DF-4B6A-9F56-C8FA223C61D4}" type="datetime1">
              <a:rPr lang="ru-RU" noProof="0" smtClean="0"/>
              <a:t>07.10.2022</a:t>
            </a:fld>
            <a:endParaRPr lang="ru-RU" noProof="0" dirty="0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xmlns="" id="{4690D34E-7EBD-44B2-83CA-4C126A18D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 dirty="0"/>
          </a:p>
        </p:txBody>
      </p:sp>
      <p:sp>
        <p:nvSpPr>
          <p:cNvPr id="10" name="Номер слайда 9">
            <a:extLst>
              <a:ext uri="{FF2B5EF4-FFF2-40B4-BE49-F238E27FC236}">
                <a16:creationId xmlns:a16="http://schemas.microsoft.com/office/drawing/2014/main" xmlns="" id="{2AC511A1-9BBD-42DE-92FB-2AF44F8E9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5883595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 rtlCol="0"/>
          <a:lstStyle/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97280" y="2057400"/>
            <a:ext cx="4639736" cy="736282"/>
          </a:xfrm>
        </p:spPr>
        <p:txBody>
          <a:bodyPr lIns="91440" rIns="91440" rtlCol="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097280" y="2958274"/>
            <a:ext cx="4639736" cy="2910821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515944" y="2057400"/>
            <a:ext cx="4639736" cy="736282"/>
          </a:xfrm>
        </p:spPr>
        <p:txBody>
          <a:bodyPr lIns="91440" rIns="91440" rtlCol="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515944" y="2958273"/>
            <a:ext cx="4639736" cy="2910821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8AF8A515-AA94-45D1-9223-5C2272618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C67D7163-7BB1-40E5-A055-54D863064C15}" type="datetime1">
              <a:rPr lang="ru-RU" noProof="0" smtClean="0"/>
              <a:t>07.10.2022</a:t>
            </a:fld>
            <a:endParaRPr lang="ru-RU" noProof="0" dirty="0"/>
          </a:p>
        </p:txBody>
      </p:sp>
      <p:sp>
        <p:nvSpPr>
          <p:cNvPr id="11" name="Нижний колонтитул 10">
            <a:extLst>
              <a:ext uri="{FF2B5EF4-FFF2-40B4-BE49-F238E27FC236}">
                <a16:creationId xmlns:a16="http://schemas.microsoft.com/office/drawing/2014/main" xmlns="" id="{D052F5BC-98E0-4D60-AD67-9547738B7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 dirty="0"/>
          </a:p>
        </p:txBody>
      </p:sp>
      <p:sp>
        <p:nvSpPr>
          <p:cNvPr id="12" name="Номер слайда 11">
            <a:extLst>
              <a:ext uri="{FF2B5EF4-FFF2-40B4-BE49-F238E27FC236}">
                <a16:creationId xmlns:a16="http://schemas.microsoft.com/office/drawing/2014/main" xmlns="" id="{A38552DC-952E-41EA-AAAF-C2187523C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9639257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 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6" name="Дата 5">
            <a:extLst>
              <a:ext uri="{FF2B5EF4-FFF2-40B4-BE49-F238E27FC236}">
                <a16:creationId xmlns:a16="http://schemas.microsoft.com/office/drawing/2014/main" xmlns="" id="{7392073F-158F-44A3-8913-917AFFC1B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DA9E162B-A683-4119-B754-5CE0DAC58973}" type="datetime1">
              <a:rPr lang="ru-RU" noProof="0" smtClean="0"/>
              <a:t>07.10.2022</a:t>
            </a:fld>
            <a:endParaRPr lang="ru-RU" noProof="0" dirty="0"/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xmlns="" id="{EED72207-24CA-42B7-A975-2F8E41CBA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 dirty="0"/>
          </a:p>
        </p:txBody>
      </p:sp>
      <p:sp>
        <p:nvSpPr>
          <p:cNvPr id="8" name="Номер слайда 7">
            <a:extLst>
              <a:ext uri="{FF2B5EF4-FFF2-40B4-BE49-F238E27FC236}">
                <a16:creationId xmlns:a16="http://schemas.microsoft.com/office/drawing/2014/main" xmlns="" id="{D01080F2-251A-4B88-9A62-16F46D724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42685433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A8E9C91B-7EAD-4562-AB0E-DFB9663AECE3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3523340A-4F88-44E0-BAFE-523D50865DBC}" type="datetime1">
              <a:rPr lang="ru-RU" noProof="0" smtClean="0"/>
              <a:t>07.10.2022</a:t>
            </a:fld>
            <a:endParaRPr lang="ru-RU" noProof="0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 noProof="0" dirty="0"/>
          </a:p>
        </p:txBody>
      </p:sp>
      <p:sp>
        <p:nvSpPr>
          <p:cNvPr id="4" name="Номер слайда 3">
            <a:extLst>
              <a:ext uri="{FF2B5EF4-FFF2-40B4-BE49-F238E27FC236}">
                <a16:creationId xmlns:a16="http://schemas.microsoft.com/office/drawing/2014/main" xmlns="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333937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 7">
            <a:extLst>
              <a:ext uri="{FF2B5EF4-FFF2-40B4-BE49-F238E27FC236}">
                <a16:creationId xmlns:a16="http://schemas.microsoft.com/office/drawing/2014/main" xmlns="" id="{16D90D66-BCB9-4229-A829-628874352AC0}"/>
              </a:ext>
            </a:extLst>
          </p:cNvPr>
          <p:cNvSpPr/>
          <p:nvPr/>
        </p:nvSpPr>
        <p:spPr>
          <a:xfrm>
            <a:off x="16" y="0"/>
            <a:ext cx="4654296" cy="68580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Заголовок 1"/>
          <p:cNvSpPr>
            <a:spLocks noGrp="1"/>
          </p:cNvSpPr>
          <p:nvPr>
            <p:ph type="title"/>
          </p:nvPr>
        </p:nvSpPr>
        <p:spPr>
          <a:xfrm>
            <a:off x="643466" y="786383"/>
            <a:ext cx="3517567" cy="2093975"/>
          </a:xfrm>
        </p:spPr>
        <p:txBody>
          <a:bodyPr rtlCol="0" anchor="b">
            <a:normAutofit/>
          </a:bodyPr>
          <a:lstStyle>
            <a:lvl1pPr>
              <a:lnSpc>
                <a:spcPct val="90000"/>
              </a:lnSpc>
              <a:defRPr sz="3600" b="0">
                <a:solidFill>
                  <a:srgbClr val="FFFFFF"/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458984" y="812799"/>
            <a:ext cx="5928344" cy="5294757"/>
          </a:xfrm>
        </p:spPr>
        <p:txBody>
          <a:bodyPr rtlCol="0"/>
          <a:lstStyle/>
          <a:p>
            <a:pPr lvl="0" rtl="0"/>
            <a:r>
              <a:rPr lang="ru-RU" noProof="0"/>
              <a:t>Образец текст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43465" y="3043050"/>
            <a:ext cx="3517567" cy="3064505"/>
          </a:xfrm>
        </p:spPr>
        <p:txBody>
          <a:bodyPr lIns="91440" rIns="91440" rtlCol="0">
            <a:normAutofit/>
          </a:bodyPr>
          <a:lstStyle>
            <a:lvl1pPr marL="0" indent="0" rtl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rtl="0"/>
            <a:r>
              <a:rPr lang="ru-RU" noProof="0" dirty="0"/>
              <a:t>Щелкните, чтобы изменить стили текста образца слайд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43464" y="6446520"/>
            <a:ext cx="3517568" cy="365125"/>
          </a:xfrm>
        </p:spPr>
        <p:txBody>
          <a:bodyPr rtlCol="0"/>
          <a:lstStyle>
            <a:lvl1pPr algn="l">
              <a:defRPr/>
            </a:lvl1pPr>
          </a:lstStyle>
          <a:p>
            <a:pPr rtl="0"/>
            <a:fld id="{3083C884-9A1F-4CC5-84BA-4B728568F267}" type="datetime1">
              <a:rPr lang="ru-RU" noProof="0" smtClean="0"/>
              <a:t>07.10.2022</a:t>
            </a:fld>
            <a:endParaRPr lang="ru-RU" noProof="0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5458983" y="6446520"/>
            <a:ext cx="5334019" cy="365125"/>
          </a:xfrm>
        </p:spPr>
        <p:txBody>
          <a:bodyPr rtlCol="0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ru-RU" noProof="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rtl="0"/>
            <a:fld id="{3A98EE3D-8CD1-4C3F-BD1C-C98C9596463C}" type="slidenum">
              <a:rPr lang="ru-RU" noProof="0" smtClean="0"/>
              <a:pPr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7711844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DA134939-39C0-4522-A125-A13DFDA66490}"/>
              </a:ext>
            </a:extLst>
          </p:cNvPr>
          <p:cNvSpPr/>
          <p:nvPr/>
        </p:nvSpPr>
        <p:spPr>
          <a:xfrm>
            <a:off x="0" y="4578350"/>
            <a:ext cx="12188825" cy="227965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Рисунок 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578350"/>
          </a:xfrm>
          <a:solidFill>
            <a:schemeClr val="bg1">
              <a:lumMod val="85000"/>
            </a:schemeClr>
          </a:solidFill>
        </p:spPr>
        <p:txBody>
          <a:bodyPr lIns="457200" tIns="457200" rtlCol="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2" name="Заголовок 1"/>
          <p:cNvSpPr>
            <a:spLocks noGrp="1"/>
          </p:cNvSpPr>
          <p:nvPr>
            <p:ph type="title"/>
          </p:nvPr>
        </p:nvSpPr>
        <p:spPr>
          <a:xfrm>
            <a:off x="1097279" y="4799362"/>
            <a:ext cx="10113645" cy="743682"/>
          </a:xfrm>
        </p:spPr>
        <p:txBody>
          <a:bodyPr tIns="0" bIns="0" rtlCol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pPr rtl="0"/>
            <a:r>
              <a:rPr lang="ru-RU" noProof="0"/>
              <a:t>Образец заголов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097279" y="5715000"/>
            <a:ext cx="10113264" cy="609600"/>
          </a:xfrm>
        </p:spPr>
        <p:txBody>
          <a:bodyPr lIns="91440" tIns="0" rIns="91440" bIns="0" rtlCol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rtl="0"/>
            <a:r>
              <a:rPr lang="ru-RU" noProof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fld id="{5D4E77FC-F644-41FF-A704-56C6DF8A6E44}" type="datetime1">
              <a:rPr lang="ru-RU" noProof="0" smtClean="0"/>
              <a:t>07.10.2022</a:t>
            </a:fld>
            <a:endParaRPr lang="ru-RU" noProof="0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1097279" y="6446838"/>
            <a:ext cx="6818262" cy="365125"/>
          </a:xfrm>
        </p:spPr>
        <p:txBody>
          <a:bodyPr rtlCol="0"/>
          <a:lstStyle/>
          <a:p>
            <a:pPr algn="l" rtl="0"/>
            <a:endParaRPr lang="ru-RU" noProof="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A98EE3D-8CD1-4C3F-BD1C-C98C9596463C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201613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416A0E3C-60E6-4F39-BC55-5F7C224E1F7C}"/>
              </a:ext>
            </a:extLst>
          </p:cNvPr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rtl="0"/>
            <a:r>
              <a:rPr lang="ru-RU" noProof="0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97280" y="2108201"/>
            <a:ext cx="10058400" cy="3760891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 rtl="0"/>
            <a:r>
              <a:rPr lang="ru-RU" noProof="0" dirty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 dirty="0"/>
              <a:t>Второй уровень</a:t>
            </a:r>
          </a:p>
          <a:p>
            <a:pPr lvl="2" rtl="0"/>
            <a:r>
              <a:rPr lang="ru-RU" noProof="0" dirty="0"/>
              <a:t>Третий уровень</a:t>
            </a:r>
          </a:p>
          <a:p>
            <a:pPr lvl="3" rtl="0"/>
            <a:r>
              <a:rPr lang="ru-RU" noProof="0" dirty="0"/>
              <a:t>Четвертый уровень</a:t>
            </a:r>
          </a:p>
          <a:p>
            <a:pPr lvl="4" rtl="0"/>
            <a:r>
              <a:rPr lang="ru-RU" noProof="0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218426" y="6446838"/>
            <a:ext cx="2584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FFFFFF"/>
                </a:solidFill>
              </a:defRPr>
            </a:lvl1pPr>
          </a:lstStyle>
          <a:p>
            <a:pPr rtl="0"/>
            <a:fld id="{E179D4C7-B5FC-4C54-AC87-C102B717EABF}" type="datetime1">
              <a:rPr lang="ru-RU" noProof="0" smtClean="0"/>
              <a:t>07.10.2022</a:t>
            </a:fld>
            <a:endParaRPr lang="ru-RU" noProof="0" dirty="0"/>
          </a:p>
        </p:txBody>
      </p:sp>
      <p:sp>
        <p:nvSpPr>
          <p:cNvPr id="5" name="Нижний колонтитул 4"/>
          <p:cNvSpPr>
            <a:spLocks noGrp="1"/>
          </p:cNvSpPr>
          <p:nvPr>
            <p:ph type="ftr" sz="quarter" idx="3"/>
          </p:nvPr>
        </p:nvSpPr>
        <p:spPr>
          <a:xfrm>
            <a:off x="1097279" y="6446838"/>
            <a:ext cx="68182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cap="all" baseline="0">
                <a:solidFill>
                  <a:srgbClr val="FFFFFF"/>
                </a:solidFill>
              </a:defRPr>
            </a:lvl1pPr>
          </a:lstStyle>
          <a:p>
            <a:pPr rtl="0"/>
            <a:endParaRPr lang="ru-RU" noProof="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0993582" y="6446838"/>
            <a:ext cx="7800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FFFFFF"/>
                </a:solidFill>
              </a:defRPr>
            </a:lvl1pPr>
          </a:lstStyle>
          <a:p>
            <a:pPr rtl="0"/>
            <a:fld id="{3A98EE3D-8CD1-4C3F-BD1C-C98C9596463C}" type="slidenum">
              <a:rPr lang="ru-RU" noProof="0" smtClean="0"/>
              <a:t>‹#›</a:t>
            </a:fld>
            <a:endParaRPr lang="ru-RU" noProof="0" dirty="0"/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C5025DAC-8B93-4160-B017-3A274A5828C0}"/>
              </a:ext>
            </a:extLst>
          </p:cNvPr>
          <p:cNvCxnSpPr/>
          <p:nvPr/>
        </p:nvCxnSpPr>
        <p:spPr>
          <a:xfrm>
            <a:off x="1193532" y="1897380"/>
            <a:ext cx="9966960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603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83" r:id="rId10"/>
    <p:sldLayoutId id="2147483684" r:id="rId11"/>
    <p:sldLayoutId id="2147483686" r:id="rId12"/>
    <p:sldLayoutId id="2147483688" r:id="rId13"/>
    <p:sldLayoutId id="2147483689" r:id="rId1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700" i="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11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1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Tx/>
        <a:buFont typeface="Calibri" pitchFamily="34" charset="0"/>
        <a:buChar char="◦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ru-RU" noProof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43000" y="2057400"/>
            <a:ext cx="9872871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ru-RU" noProof="0"/>
              <a:t>Щелкните, чтобы изменить стили текста образца слайда</a:t>
            </a:r>
          </a:p>
          <a:p>
            <a:pPr lvl="1" rtl="0"/>
            <a:r>
              <a:rPr lang="ru-RU" noProof="0"/>
              <a:t>Второй уровень</a:t>
            </a:r>
          </a:p>
          <a:p>
            <a:pPr lvl="2" rtl="0"/>
            <a:r>
              <a:rPr lang="ru-RU" noProof="0"/>
              <a:t>Третий уровень</a:t>
            </a:r>
          </a:p>
          <a:p>
            <a:pPr lvl="3" rtl="0"/>
            <a:r>
              <a:rPr lang="ru-RU" noProof="0"/>
              <a:t>Четвертый уровень</a:t>
            </a:r>
          </a:p>
          <a:p>
            <a:pPr lvl="4" rtl="0"/>
            <a:r>
              <a:rPr lang="ru-RU" noProof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42996" y="6223828"/>
            <a:ext cx="23290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pPr rtl="0"/>
            <a:fld id="{F6FB43BA-46BB-423F-8395-5D8696CE3908}" type="datetime1">
              <a:rPr lang="ru-RU" noProof="0" smtClean="0"/>
              <a:t>07.10.2022</a:t>
            </a:fld>
            <a:endParaRPr lang="ru-RU" noProof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949148" y="6223828"/>
            <a:ext cx="47177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pPr rtl="0"/>
            <a:endParaRPr lang="ru-RU" noProof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329530" y="6223828"/>
            <a:ext cx="17062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pPr rtl="0"/>
            <a:fld id="{7966EA62-41C5-4F9A-A915-5B0BC739C923}" type="slidenum">
              <a:rPr lang="ru-RU" noProof="0" smtClean="0"/>
              <a:t>‹#›</a:t>
            </a:fld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877918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7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182880" algn="l" defTabSz="914400" rtl="0" eaLnBrk="1" latinLnBrk="0" hangingPunct="1">
        <a:lnSpc>
          <a:spcPct val="90000"/>
        </a:lnSpc>
        <a:spcBef>
          <a:spcPts val="1400"/>
        </a:spcBef>
        <a:buClr>
          <a:schemeClr val="accent1"/>
        </a:buClr>
        <a:buSzPct val="80000"/>
        <a:buFont typeface="Corbe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46.svg"/><Relationship Id="rId18" Type="http://schemas.openxmlformats.org/officeDocument/2006/relationships/image" Target="../media/image51.sv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25.png"/><Relationship Id="rId17" Type="http://schemas.openxmlformats.org/officeDocument/2006/relationships/image" Target="../media/image50.sv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44.sv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48.svg"/><Relationship Id="rId10" Type="http://schemas.openxmlformats.org/officeDocument/2006/relationships/image" Target="../media/image24.png"/><Relationship Id="rId19" Type="http://schemas.openxmlformats.org/officeDocument/2006/relationships/image" Target="../media/image52.svg"/><Relationship Id="rId4" Type="http://schemas.openxmlformats.org/officeDocument/2006/relationships/diagramLayout" Target="../diagrams/layout2.xml"/><Relationship Id="rId9" Type="http://schemas.openxmlformats.org/officeDocument/2006/relationships/image" Target="../media/image42.svg"/><Relationship Id="rId1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ustomXml" Target="../ink/ink5.xml"/><Relationship Id="rId3" Type="http://schemas.openxmlformats.org/officeDocument/2006/relationships/customXml" Target="../ink/ink1.xml"/><Relationship Id="rId7" Type="http://schemas.openxmlformats.org/officeDocument/2006/relationships/customXml" Target="../ink/ink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customXml" Target="../ink/ink3.xml"/><Relationship Id="rId5" Type="http://schemas.openxmlformats.org/officeDocument/2006/relationships/customXml" Target="../ink/ink2.xml"/><Relationship Id="rId4" Type="http://schemas.openxmlformats.org/officeDocument/2006/relationships/image" Target="../media/image44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13" Type="http://schemas.openxmlformats.org/officeDocument/2006/relationships/customXml" Target="../ink/ink8.xml"/><Relationship Id="rId18" Type="http://schemas.openxmlformats.org/officeDocument/2006/relationships/customXml" Target="../ink/ink11.xml"/><Relationship Id="rId3" Type="http://schemas.openxmlformats.org/officeDocument/2006/relationships/image" Target="../media/image28.png"/><Relationship Id="rId21" Type="http://schemas.openxmlformats.org/officeDocument/2006/relationships/image" Target="../media/image63.png"/><Relationship Id="rId7" Type="http://schemas.openxmlformats.org/officeDocument/2006/relationships/image" Target="../media/image30.png"/><Relationship Id="rId12" Type="http://schemas.openxmlformats.org/officeDocument/2006/relationships/image" Target="../media/image59.png"/><Relationship Id="rId17" Type="http://schemas.openxmlformats.org/officeDocument/2006/relationships/customXml" Target="../ink/ink10.xml"/><Relationship Id="rId25" Type="http://schemas.openxmlformats.org/officeDocument/2006/relationships/customXml" Target="../ink/ink15.xml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61.png"/><Relationship Id="rId20" Type="http://schemas.openxmlformats.org/officeDocument/2006/relationships/customXml" Target="../ink/ink1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56.svg"/><Relationship Id="rId11" Type="http://schemas.openxmlformats.org/officeDocument/2006/relationships/customXml" Target="../ink/ink7.xml"/><Relationship Id="rId24" Type="http://schemas.openxmlformats.org/officeDocument/2006/relationships/customXml" Target="../ink/ink14.xml"/><Relationship Id="rId5" Type="http://schemas.openxmlformats.org/officeDocument/2006/relationships/image" Target="../media/image29.png"/><Relationship Id="rId15" Type="http://schemas.openxmlformats.org/officeDocument/2006/relationships/customXml" Target="../ink/ink9.xml"/><Relationship Id="rId23" Type="http://schemas.openxmlformats.org/officeDocument/2006/relationships/image" Target="../media/image64.png"/><Relationship Id="rId10" Type="http://schemas.openxmlformats.org/officeDocument/2006/relationships/image" Target="../media/image58.png"/><Relationship Id="rId19" Type="http://schemas.openxmlformats.org/officeDocument/2006/relationships/image" Target="../media/image62.png"/><Relationship Id="rId4" Type="http://schemas.openxmlformats.org/officeDocument/2006/relationships/image" Target="../media/image54.svg"/><Relationship Id="rId9" Type="http://schemas.openxmlformats.org/officeDocument/2006/relationships/customXml" Target="../ink/ink6.xml"/><Relationship Id="rId14" Type="http://schemas.openxmlformats.org/officeDocument/2006/relationships/image" Target="../media/image60.png"/><Relationship Id="rId22" Type="http://schemas.openxmlformats.org/officeDocument/2006/relationships/customXml" Target="../ink/ink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ustomXml" Target="../ink/ink18.xml"/><Relationship Id="rId13" Type="http://schemas.openxmlformats.org/officeDocument/2006/relationships/image" Target="../media/image69.png"/><Relationship Id="rId18" Type="http://schemas.openxmlformats.org/officeDocument/2006/relationships/customXml" Target="../ink/ink23.xml"/><Relationship Id="rId26" Type="http://schemas.openxmlformats.org/officeDocument/2006/relationships/customXml" Target="../ink/ink27.xml"/><Relationship Id="rId39" Type="http://schemas.openxmlformats.org/officeDocument/2006/relationships/image" Target="../media/image59.png"/><Relationship Id="rId3" Type="http://schemas.openxmlformats.org/officeDocument/2006/relationships/notesSlide" Target="../notesSlides/notesSlide13.xml"/><Relationship Id="rId21" Type="http://schemas.openxmlformats.org/officeDocument/2006/relationships/image" Target="../media/image73.png"/><Relationship Id="rId34" Type="http://schemas.openxmlformats.org/officeDocument/2006/relationships/customXml" Target="../ink/ink31.xml"/><Relationship Id="rId7" Type="http://schemas.openxmlformats.org/officeDocument/2006/relationships/image" Target="../media/image66.png"/><Relationship Id="rId12" Type="http://schemas.openxmlformats.org/officeDocument/2006/relationships/customXml" Target="../ink/ink20.xml"/><Relationship Id="rId17" Type="http://schemas.openxmlformats.org/officeDocument/2006/relationships/image" Target="../media/image71.png"/><Relationship Id="rId25" Type="http://schemas.openxmlformats.org/officeDocument/2006/relationships/image" Target="../media/image75.png"/><Relationship Id="rId33" Type="http://schemas.openxmlformats.org/officeDocument/2006/relationships/image" Target="../media/image79.png"/><Relationship Id="rId38" Type="http://schemas.openxmlformats.org/officeDocument/2006/relationships/customXml" Target="../ink/ink33.xml"/><Relationship Id="rId2" Type="http://schemas.openxmlformats.org/officeDocument/2006/relationships/slideLayout" Target="../slideLayouts/slideLayout2.xml"/><Relationship Id="rId16" Type="http://schemas.openxmlformats.org/officeDocument/2006/relationships/customXml" Target="../ink/ink22.xml"/><Relationship Id="rId20" Type="http://schemas.openxmlformats.org/officeDocument/2006/relationships/customXml" Target="../ink/ink24.xml"/><Relationship Id="rId29" Type="http://schemas.openxmlformats.org/officeDocument/2006/relationships/image" Target="../media/image77.png"/><Relationship Id="rId1" Type="http://schemas.openxmlformats.org/officeDocument/2006/relationships/themeOverride" Target="../theme/themeOverride2.xml"/><Relationship Id="rId6" Type="http://schemas.openxmlformats.org/officeDocument/2006/relationships/customXml" Target="../ink/ink17.xml"/><Relationship Id="rId11" Type="http://schemas.openxmlformats.org/officeDocument/2006/relationships/image" Target="../media/image68.png"/><Relationship Id="rId24" Type="http://schemas.openxmlformats.org/officeDocument/2006/relationships/customXml" Target="../ink/ink26.xml"/><Relationship Id="rId32" Type="http://schemas.openxmlformats.org/officeDocument/2006/relationships/customXml" Target="../ink/ink30.xml"/><Relationship Id="rId37" Type="http://schemas.openxmlformats.org/officeDocument/2006/relationships/image" Target="../media/image81.png"/><Relationship Id="rId40" Type="http://schemas.openxmlformats.org/officeDocument/2006/relationships/customXml" Target="../ink/ink34.xml"/><Relationship Id="rId5" Type="http://schemas.openxmlformats.org/officeDocument/2006/relationships/image" Target="../media/image65.png"/><Relationship Id="rId15" Type="http://schemas.openxmlformats.org/officeDocument/2006/relationships/image" Target="../media/image70.png"/><Relationship Id="rId23" Type="http://schemas.openxmlformats.org/officeDocument/2006/relationships/image" Target="../media/image74.png"/><Relationship Id="rId28" Type="http://schemas.openxmlformats.org/officeDocument/2006/relationships/customXml" Target="../ink/ink28.xml"/><Relationship Id="rId36" Type="http://schemas.openxmlformats.org/officeDocument/2006/relationships/customXml" Target="../ink/ink32.xml"/><Relationship Id="rId10" Type="http://schemas.openxmlformats.org/officeDocument/2006/relationships/customXml" Target="../ink/ink19.xml"/><Relationship Id="rId19" Type="http://schemas.openxmlformats.org/officeDocument/2006/relationships/image" Target="../media/image72.png"/><Relationship Id="rId31" Type="http://schemas.openxmlformats.org/officeDocument/2006/relationships/image" Target="../media/image78.png"/><Relationship Id="rId4" Type="http://schemas.openxmlformats.org/officeDocument/2006/relationships/customXml" Target="../ink/ink16.xml"/><Relationship Id="rId9" Type="http://schemas.openxmlformats.org/officeDocument/2006/relationships/image" Target="../media/image67.png"/><Relationship Id="rId14" Type="http://schemas.openxmlformats.org/officeDocument/2006/relationships/customXml" Target="../ink/ink21.xml"/><Relationship Id="rId22" Type="http://schemas.openxmlformats.org/officeDocument/2006/relationships/customXml" Target="../ink/ink25.xml"/><Relationship Id="rId27" Type="http://schemas.openxmlformats.org/officeDocument/2006/relationships/image" Target="../media/image76.png"/><Relationship Id="rId30" Type="http://schemas.openxmlformats.org/officeDocument/2006/relationships/customXml" Target="../ink/ink29.xml"/><Relationship Id="rId35" Type="http://schemas.openxmlformats.org/officeDocument/2006/relationships/image" Target="../media/image8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1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1.xml"/><Relationship Id="rId5" Type="http://schemas.openxmlformats.org/officeDocument/2006/relationships/image" Target="../media/image33.sv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9.sv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1.png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AB2EA78-AEB3-469B-9025-3B17201A4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560" y="786383"/>
            <a:ext cx="4127383" cy="2093975"/>
          </a:xfrm>
        </p:spPr>
        <p:txBody>
          <a:bodyPr rtlCol="0" anchor="b">
            <a:normAutofit/>
          </a:bodyPr>
          <a:lstStyle/>
          <a:p>
            <a:r>
              <a:rPr lang="ru-RU" sz="2300" dirty="0"/>
              <a:t>Развитие  парадигм цифровых  налоговых сервисов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255E1F2F-E259-4EA8-9FFD-3A10AF5418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45376" y="3793495"/>
            <a:ext cx="3517567" cy="3064505"/>
          </a:xfrm>
        </p:spPr>
        <p:txBody>
          <a:bodyPr rtlCol="0">
            <a:normAutofit/>
          </a:bodyPr>
          <a:lstStyle/>
          <a:p>
            <a:pPr rtl="0"/>
            <a:r>
              <a:rPr lang="ru-RU" dirty="0"/>
              <a:t>Налоговый комитет при Правительстве Республики Таджикистан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32149CB0-9444-2680-7A44-0482997C86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81056" y="18472"/>
            <a:ext cx="751094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439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Объект 6" descr="Руки людей">
            <a:extLst>
              <a:ext uri="{FF2B5EF4-FFF2-40B4-BE49-F238E27FC236}">
                <a16:creationId xmlns:a16="http://schemas.microsoft.com/office/drawing/2014/main" xmlns="" id="{7D87B918-371C-4B31-9C7A-1D9A08C8A3BB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00" y="0"/>
            <a:ext cx="12189600" cy="6856650"/>
          </a:xfrm>
        </p:spPr>
      </p:pic>
      <p:sp>
        <p:nvSpPr>
          <p:cNvPr id="8" name="объект 3" descr="Синий прямоугольник">
            <a:extLst>
              <a:ext uri="{FF2B5EF4-FFF2-40B4-BE49-F238E27FC236}">
                <a16:creationId xmlns:a16="http://schemas.microsoft.com/office/drawing/2014/main" xmlns="" id="{A277388B-76FD-44C4-B506-F8A157E57C65}"/>
              </a:ext>
            </a:extLst>
          </p:cNvPr>
          <p:cNvSpPr/>
          <p:nvPr/>
        </p:nvSpPr>
        <p:spPr>
          <a:xfrm>
            <a:off x="2400" y="0"/>
            <a:ext cx="12189600" cy="6858000"/>
          </a:xfrm>
          <a:custGeom>
            <a:avLst/>
            <a:gdLst/>
            <a:ahLst/>
            <a:cxnLst/>
            <a:rect l="l" t="t" r="r" b="b"/>
            <a:pathLst>
              <a:path w="12189460" h="6858000">
                <a:moveTo>
                  <a:pt x="0" y="6858000"/>
                </a:moveTo>
                <a:lnTo>
                  <a:pt x="12188952" y="6858000"/>
                </a:lnTo>
                <a:lnTo>
                  <a:pt x="1218895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>
              <a:alpha val="69999"/>
            </a:schemeClr>
          </a:solidFill>
        </p:spPr>
        <p:txBody>
          <a:bodyPr wrap="square" lIns="0" tIns="0" rIns="0" bIns="0" rtlCol="0"/>
          <a:lstStyle/>
          <a:p>
            <a:pPr rtl="0"/>
            <a:endParaRPr lang="ru-RU" dirty="0"/>
          </a:p>
        </p:txBody>
      </p:sp>
      <p:sp>
        <p:nvSpPr>
          <p:cNvPr id="9" name="Овал 8" descr="Бежевый овал">
            <a:extLst>
              <a:ext uri="{FF2B5EF4-FFF2-40B4-BE49-F238E27FC236}">
                <a16:creationId xmlns:a16="http://schemas.microsoft.com/office/drawing/2014/main" xmlns="" id="{1191A09B-8CB4-416A-B1F9-ABC3B476DE1F}"/>
              </a:ext>
            </a:extLst>
          </p:cNvPr>
          <p:cNvSpPr/>
          <p:nvPr/>
        </p:nvSpPr>
        <p:spPr>
          <a:xfrm>
            <a:off x="11562237" y="6227432"/>
            <a:ext cx="266400" cy="266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4D00B79-44BB-4D5F-B51D-2270A854D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5001" y="196185"/>
            <a:ext cx="10515600" cy="930518"/>
          </a:xfrm>
        </p:spPr>
        <p:txBody>
          <a:bodyPr rtlCol="0">
            <a:normAutofit/>
          </a:bodyPr>
          <a:lstStyle/>
          <a:p>
            <a:pPr rtl="0"/>
            <a:r>
              <a:rPr lang="ru-RU" sz="2400" b="1" dirty="0">
                <a:solidFill>
                  <a:schemeClr val="bg1"/>
                </a:solidFill>
              </a:rPr>
              <a:t>Этапы реформирования налогового администрирования Республики Таджикистан </a:t>
            </a:r>
            <a:endParaRPr lang="ru-RU" sz="2400" b="1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CDF3C1EE-D9A0-406A-9A3A-75C82527E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82EE24B5-652C-4DB5-B7C3-B5BBEC1280B1}" type="slidenum">
              <a:rPr lang="ru-RU" smtClean="0"/>
              <a:t>10</a:t>
            </a:fld>
            <a:endParaRPr lang="ru-RU" dirty="0"/>
          </a:p>
        </p:txBody>
      </p:sp>
      <p:graphicFrame>
        <p:nvGraphicFramePr>
          <p:cNvPr id="13" name="Объект 12" descr="Таблица">
            <a:extLst>
              <a:ext uri="{FF2B5EF4-FFF2-40B4-BE49-F238E27FC236}">
                <a16:creationId xmlns:a16="http://schemas.microsoft.com/office/drawing/2014/main" xmlns="" id="{1D6AB21B-0AB3-44DD-AD8E-D2EDD77DEA42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660043822"/>
              </p:ext>
            </p:extLst>
          </p:nvPr>
        </p:nvGraphicFramePr>
        <p:xfrm>
          <a:off x="898603" y="1596171"/>
          <a:ext cx="10473092" cy="2804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4618">
                  <a:extLst>
                    <a:ext uri="{9D8B030D-6E8A-4147-A177-3AD203B41FA5}">
                      <a16:colId xmlns:a16="http://schemas.microsoft.com/office/drawing/2014/main" xmlns="" val="3572385518"/>
                    </a:ext>
                  </a:extLst>
                </a:gridCol>
                <a:gridCol w="2266676">
                  <a:extLst>
                    <a:ext uri="{9D8B030D-6E8A-4147-A177-3AD203B41FA5}">
                      <a16:colId xmlns:a16="http://schemas.microsoft.com/office/drawing/2014/main" xmlns="" val="1440817424"/>
                    </a:ext>
                  </a:extLst>
                </a:gridCol>
                <a:gridCol w="1922562">
                  <a:extLst>
                    <a:ext uri="{9D8B030D-6E8A-4147-A177-3AD203B41FA5}">
                      <a16:colId xmlns:a16="http://schemas.microsoft.com/office/drawing/2014/main" xmlns="" val="1835666774"/>
                    </a:ext>
                  </a:extLst>
                </a:gridCol>
                <a:gridCol w="2094618">
                  <a:extLst>
                    <a:ext uri="{9D8B030D-6E8A-4147-A177-3AD203B41FA5}">
                      <a16:colId xmlns:a16="http://schemas.microsoft.com/office/drawing/2014/main" xmlns="" val="3312468757"/>
                    </a:ext>
                  </a:extLst>
                </a:gridCol>
                <a:gridCol w="2094618">
                  <a:extLst>
                    <a:ext uri="{9D8B030D-6E8A-4147-A177-3AD203B41FA5}">
                      <a16:colId xmlns:a16="http://schemas.microsoft.com/office/drawing/2014/main" xmlns="" val="388103177"/>
                    </a:ext>
                  </a:extLst>
                </a:gridCol>
              </a:tblGrid>
              <a:tr h="442680">
                <a:tc>
                  <a:txBody>
                    <a:bodyPr/>
                    <a:lstStyle/>
                    <a:p>
                      <a:pPr algn="ctr" rtl="0"/>
                      <a:r>
                        <a:rPr lang="ru" sz="3200" b="1" noProof="0" dirty="0">
                          <a:solidFill>
                            <a:schemeClr val="accent1"/>
                          </a:solidFill>
                          <a:latin typeface="+mj-lt"/>
                        </a:rPr>
                        <a:t>2021-2022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" sz="3200" b="1" noProof="0" dirty="0">
                          <a:solidFill>
                            <a:schemeClr val="accent1"/>
                          </a:solidFill>
                          <a:latin typeface="+mj-lt"/>
                        </a:rPr>
                        <a:t>2020-2023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" sz="3200" b="1" noProof="0" dirty="0">
                          <a:solidFill>
                            <a:schemeClr val="accent1"/>
                          </a:solidFill>
                          <a:latin typeface="+mj-lt"/>
                        </a:rPr>
                        <a:t>2020-2023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" sz="3200" b="1" noProof="0" dirty="0">
                          <a:solidFill>
                            <a:schemeClr val="accent1"/>
                          </a:solidFill>
                          <a:latin typeface="+mj-lt"/>
                        </a:rPr>
                        <a:t>2020-2026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" sz="3200" b="1" noProof="0" dirty="0">
                          <a:solidFill>
                            <a:schemeClr val="accent1"/>
                          </a:solidFill>
                          <a:latin typeface="+mj-lt"/>
                        </a:rPr>
                        <a:t>2020-20...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88120738"/>
                  </a:ext>
                </a:extLst>
              </a:tr>
              <a:tr h="100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1" kern="1200" spc="-25" noProof="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О</a:t>
                      </a:r>
                      <a:r>
                        <a:rPr lang="ru" sz="1800" i="1" kern="1200" spc="-25" noProof="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бновленный Налоговый Кодекс РТ</a:t>
                      </a:r>
                      <a:endParaRPr lang="en-US" sz="1800" i="1" kern="1200" spc="-25" noProof="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1" kern="1200" spc="-25" noProof="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Комплексные информационные системы управления налогами/человеческими ресурсами </a:t>
                      </a:r>
                      <a:endParaRPr lang="en-US" sz="1800" i="1" kern="1200" spc="-25" noProof="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800" b="0" i="1" u="none" strike="noStrike" kern="1200" cap="none" spc="-25" normalizeH="0" noProof="0" dirty="0">
                          <a:ln>
                            <a:noFill/>
                          </a:ln>
                          <a:solidFill>
                            <a:srgbClr val="64B2C1">
                              <a:lumMod val="20000"/>
                              <a:lumOff val="80000"/>
                            </a:srgbClr>
                          </a:solidFill>
                          <a:effectLst/>
                          <a:uLnTx/>
                          <a:uFillTx/>
                          <a:latin typeface="Arial "/>
                          <a:ea typeface="+mn-ea"/>
                          <a:cs typeface="Arial"/>
                        </a:rPr>
                        <a:t>Развитие налоговых сервисов: более 70 цифровых налоговых услуг</a:t>
                      </a:r>
                      <a:endParaRPr lang="en-US" sz="1800" i="1" kern="1200" spc="-25" noProof="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1" kern="1200" spc="-25" noProof="0" dirty="0">
                          <a:solidFill>
                            <a:schemeClr val="bg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Arial"/>
                        </a:rPr>
                        <a:t>Повышение качества налогового обслуживания</a:t>
                      </a:r>
                      <a:endParaRPr lang="en-US" sz="1800" i="1" kern="1200" spc="-25" noProof="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1" u="none" strike="noStrike" kern="1200" cap="none" spc="-25" normalizeH="0" noProof="0" dirty="0">
                          <a:ln>
                            <a:noFill/>
                          </a:ln>
                          <a:solidFill>
                            <a:srgbClr val="64B2C1">
                              <a:lumMod val="20000"/>
                              <a:lumOff val="80000"/>
                            </a:srgbClr>
                          </a:solidFill>
                          <a:effectLst/>
                          <a:uLnTx/>
                          <a:uFillTx/>
                          <a:latin typeface="Arial "/>
                          <a:ea typeface="+mn-ea"/>
                          <a:cs typeface="Arial"/>
                        </a:rPr>
                        <a:t>Ц</a:t>
                      </a:r>
                      <a:r>
                        <a:rPr lang="ru" sz="1800" b="0" i="1" u="none" strike="noStrike" kern="1200" cap="none" spc="-25" normalizeH="0" noProof="0" dirty="0">
                          <a:ln>
                            <a:noFill/>
                          </a:ln>
                          <a:solidFill>
                            <a:srgbClr val="64B2C1">
                              <a:lumMod val="20000"/>
                              <a:lumOff val="80000"/>
                            </a:srgbClr>
                          </a:solidFill>
                          <a:effectLst/>
                          <a:uLnTx/>
                          <a:uFillTx/>
                          <a:latin typeface="Arial "/>
                          <a:ea typeface="+mn-ea"/>
                          <a:cs typeface="Arial"/>
                        </a:rPr>
                        <a:t>ифровизация налогового администрирования</a:t>
                      </a:r>
                      <a:endParaRPr lang="en-US" sz="1800" i="1" kern="1200" spc="-25" noProof="0" dirty="0">
                        <a:solidFill>
                          <a:schemeClr val="bg2">
                            <a:lumMod val="20000"/>
                            <a:lumOff val="80000"/>
                          </a:schemeClr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95001753"/>
                  </a:ext>
                </a:extLst>
              </a:tr>
            </a:tbl>
          </a:graphicData>
        </a:graphic>
      </p:graphicFrame>
      <p:sp>
        <p:nvSpPr>
          <p:cNvPr id="11" name="объект 5" descr="Бежевый прямоугольник">
            <a:extLst>
              <a:ext uri="{FF2B5EF4-FFF2-40B4-BE49-F238E27FC236}">
                <a16:creationId xmlns:a16="http://schemas.microsoft.com/office/drawing/2014/main" xmlns="" id="{B07BA1F9-2C19-4C07-B29B-18B9FBCC4755}"/>
              </a:ext>
            </a:extLst>
          </p:cNvPr>
          <p:cNvSpPr/>
          <p:nvPr/>
        </p:nvSpPr>
        <p:spPr>
          <a:xfrm>
            <a:off x="915637" y="1309144"/>
            <a:ext cx="2880000" cy="0"/>
          </a:xfrm>
          <a:custGeom>
            <a:avLst/>
            <a:gdLst/>
            <a:ahLst/>
            <a:cxnLst/>
            <a:rect l="l" t="t" r="r" b="b"/>
            <a:pathLst>
              <a:path w="3931920">
                <a:moveTo>
                  <a:pt x="0" y="0"/>
                </a:moveTo>
                <a:lnTo>
                  <a:pt x="3931920" y="0"/>
                </a:lnTo>
              </a:path>
            </a:pathLst>
          </a:custGeom>
          <a:ln w="54864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 rtl="0"/>
            <a:endParaRPr lang="ru-RU" dirty="0"/>
          </a:p>
        </p:txBody>
      </p:sp>
      <p:cxnSp>
        <p:nvCxnSpPr>
          <p:cNvPr id="10" name="Прямая соединительная линия 9" descr="Линия">
            <a:extLst>
              <a:ext uri="{FF2B5EF4-FFF2-40B4-BE49-F238E27FC236}">
                <a16:creationId xmlns:a16="http://schemas.microsoft.com/office/drawing/2014/main" xmlns="" id="{4C3F4FC5-0C01-4592-9483-D476EA2BDF93}"/>
              </a:ext>
            </a:extLst>
          </p:cNvPr>
          <p:cNvCxnSpPr/>
          <p:nvPr/>
        </p:nvCxnSpPr>
        <p:spPr>
          <a:xfrm>
            <a:off x="6135149" y="4674651"/>
            <a:ext cx="0" cy="396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2470199D-DDAE-4D88-9F00-88EB8E080218}"/>
              </a:ext>
            </a:extLst>
          </p:cNvPr>
          <p:cNvSpPr/>
          <p:nvPr/>
        </p:nvSpPr>
        <p:spPr>
          <a:xfrm>
            <a:off x="4692964" y="5070651"/>
            <a:ext cx="3024187" cy="647700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 anchorCtr="0">
            <a:noAutofit/>
          </a:bodyPr>
          <a:lstStyle/>
          <a:p>
            <a:pPr algn="ctr" rtl="0">
              <a:lnSpc>
                <a:spcPct val="100000"/>
              </a:lnSpc>
              <a:spcBef>
                <a:spcPts val="1055"/>
              </a:spcBef>
            </a:pPr>
            <a:r>
              <a:rPr lang="ru-RU" sz="3000" dirty="0">
                <a:solidFill>
                  <a:schemeClr val="tx2"/>
                </a:solidFill>
                <a:latin typeface="+mj-lt"/>
              </a:rPr>
              <a:t>Реформы </a:t>
            </a:r>
          </a:p>
        </p:txBody>
      </p:sp>
    </p:spTree>
    <p:extLst>
      <p:ext uri="{BB962C8B-B14F-4D97-AF65-F5344CB8AC3E}">
        <p14:creationId xmlns:p14="http://schemas.microsoft.com/office/powerpoint/2010/main" val="22632158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descr="Графический элемент SmartArt для изображения схемы процесса">
            <a:extLst>
              <a:ext uri="{FF2B5EF4-FFF2-40B4-BE49-F238E27FC236}">
                <a16:creationId xmlns:a16="http://schemas.microsoft.com/office/drawing/2014/main" xmlns="" id="{703FAB33-C653-48B0-9838-6BDC8704C1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7865995"/>
              </p:ext>
            </p:extLst>
          </p:nvPr>
        </p:nvGraphicFramePr>
        <p:xfrm>
          <a:off x="789873" y="894186"/>
          <a:ext cx="10753200" cy="540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Текст 1">
            <a:extLst>
              <a:ext uri="{FF2B5EF4-FFF2-40B4-BE49-F238E27FC236}">
                <a16:creationId xmlns:a16="http://schemas.microsoft.com/office/drawing/2014/main" xmlns="" id="{DC6585CB-312C-4D99-8A71-22BECD2130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38338" y="5310000"/>
            <a:ext cx="5086211" cy="1104033"/>
          </a:xfrm>
        </p:spPr>
        <p:txBody>
          <a:bodyPr rtlCol="0">
            <a:noAutofit/>
          </a:bodyPr>
          <a:lstStyle/>
          <a:p>
            <a:pPr algn="ctr" rtl="0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логовый мониторинг. Налоговое администрирование, основанное на «горизонтальном» взаимодействии. Расширение информационного взаимодействия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обратной связи с налогоплательщиком.</a:t>
            </a:r>
            <a:endParaRPr lang="ru-RU" b="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2A5D41C1-17EE-441C-A604-3FDE978E56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7582" y="5340282"/>
            <a:ext cx="2850753" cy="1028483"/>
          </a:xfrm>
        </p:spPr>
        <p:txBody>
          <a:bodyPr rtlCol="0">
            <a:normAutofit/>
          </a:bodyPr>
          <a:lstStyle/>
          <a:p>
            <a:pPr algn="ctr" rtl="0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адиционный налоговый контроль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2D15B7BD-52A2-46CD-9905-39068311BC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dirty="0"/>
              <a:t>Эволюция понятий </a:t>
            </a:r>
            <a:r>
              <a:rPr lang="en-US" dirty="0"/>
              <a:t>@</a:t>
            </a:r>
            <a:r>
              <a:rPr lang="ru-RU" dirty="0"/>
              <a:t>налоговый сервис  и </a:t>
            </a:r>
            <a:r>
              <a:rPr lang="en-US" dirty="0"/>
              <a:t>@</a:t>
            </a:r>
            <a:r>
              <a:rPr lang="ru-RU" dirty="0"/>
              <a:t>налоговая услуг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710D3D6B-80DD-4821-B86D-75FFA8C446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24550" y="5310000"/>
            <a:ext cx="2818522" cy="1104033"/>
          </a:xfr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/>
          <a:p>
            <a:pPr rtl="0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логовый сервис как результат идеологической и  цифровой трансформации. Расширение функционала и интеграция функций </a:t>
            </a:r>
            <a:endParaRPr lang="ru-RU" sz="1100" b="0" dirty="0">
              <a:solidFill>
                <a:schemeClr val="bg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 descr="Красный квадрат">
            <a:extLst>
              <a:ext uri="{FF2B5EF4-FFF2-40B4-BE49-F238E27FC236}">
                <a16:creationId xmlns:a16="http://schemas.microsoft.com/office/drawing/2014/main" xmlns="" id="{A12CC26A-5315-4976-ADC0-5433567BBAE9}"/>
              </a:ext>
            </a:extLst>
          </p:cNvPr>
          <p:cNvSpPr/>
          <p:nvPr/>
        </p:nvSpPr>
        <p:spPr>
          <a:xfrm>
            <a:off x="790594" y="1892518"/>
            <a:ext cx="688931" cy="68893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Прямоугольник 12" descr="Оранжевый квадрат">
            <a:extLst>
              <a:ext uri="{FF2B5EF4-FFF2-40B4-BE49-F238E27FC236}">
                <a16:creationId xmlns:a16="http://schemas.microsoft.com/office/drawing/2014/main" xmlns="" id="{1930D93D-7C86-4A0B-AC32-322C4830B011}"/>
              </a:ext>
            </a:extLst>
          </p:cNvPr>
          <p:cNvSpPr/>
          <p:nvPr/>
        </p:nvSpPr>
        <p:spPr>
          <a:xfrm>
            <a:off x="3719355" y="1922799"/>
            <a:ext cx="688931" cy="688931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Прямоугольник 13" descr="Оранжевый квадрат">
            <a:extLst>
              <a:ext uri="{FF2B5EF4-FFF2-40B4-BE49-F238E27FC236}">
                <a16:creationId xmlns:a16="http://schemas.microsoft.com/office/drawing/2014/main" xmlns="" id="{3465B29B-8058-46D1-9660-8E77A907D117}"/>
              </a:ext>
            </a:extLst>
          </p:cNvPr>
          <p:cNvSpPr/>
          <p:nvPr/>
        </p:nvSpPr>
        <p:spPr>
          <a:xfrm>
            <a:off x="6374440" y="1892518"/>
            <a:ext cx="688931" cy="67169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Прямоугольник 15" descr="Желтый квадрат">
            <a:extLst>
              <a:ext uri="{FF2B5EF4-FFF2-40B4-BE49-F238E27FC236}">
                <a16:creationId xmlns:a16="http://schemas.microsoft.com/office/drawing/2014/main" xmlns="" id="{5B34B083-2C6A-4916-B16C-EEDE2F7E0A91}"/>
              </a:ext>
            </a:extLst>
          </p:cNvPr>
          <p:cNvSpPr/>
          <p:nvPr/>
        </p:nvSpPr>
        <p:spPr>
          <a:xfrm>
            <a:off x="9076941" y="1883899"/>
            <a:ext cx="688931" cy="688931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Графический объект 17" descr="Часы">
            <a:extLst>
              <a:ext uri="{FF2B5EF4-FFF2-40B4-BE49-F238E27FC236}">
                <a16:creationId xmlns:a16="http://schemas.microsoft.com/office/drawing/2014/main" xmlns="" id="{429D621D-3AC8-4789-B37A-514D514B81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915048" y="2012365"/>
            <a:ext cx="432000" cy="432000"/>
          </a:xfrm>
          <a:prstGeom prst="rect">
            <a:avLst/>
          </a:prstGeom>
        </p:spPr>
      </p:pic>
      <p:pic>
        <p:nvPicPr>
          <p:cNvPr id="19" name="Графический объект 18" descr="Цель">
            <a:extLst>
              <a:ext uri="{FF2B5EF4-FFF2-40B4-BE49-F238E27FC236}">
                <a16:creationId xmlns:a16="http://schemas.microsoft.com/office/drawing/2014/main" xmlns="" id="{9FBDC2B8-6333-4FE7-85AE-BAA8AC47534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2845177" y="1992709"/>
            <a:ext cx="432000" cy="432000"/>
          </a:xfrm>
          <a:prstGeom prst="rect">
            <a:avLst/>
          </a:prstGeom>
        </p:spPr>
      </p:pic>
      <p:pic>
        <p:nvPicPr>
          <p:cNvPr id="24" name="Графический объект 23" descr="Исследования">
            <a:extLst>
              <a:ext uri="{FF2B5EF4-FFF2-40B4-BE49-F238E27FC236}">
                <a16:creationId xmlns:a16="http://schemas.microsoft.com/office/drawing/2014/main" xmlns="" id="{B3B066BF-DC70-46FA-B9ED-2111EF601BA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5188959" y="2012365"/>
            <a:ext cx="432000" cy="432000"/>
          </a:xfrm>
          <a:prstGeom prst="rect">
            <a:avLst/>
          </a:prstGeom>
        </p:spPr>
      </p:pic>
      <p:pic>
        <p:nvPicPr>
          <p:cNvPr id="25" name="Графический объект 24" descr="Перекидной календарь">
            <a:extLst>
              <a:ext uri="{FF2B5EF4-FFF2-40B4-BE49-F238E27FC236}">
                <a16:creationId xmlns:a16="http://schemas.microsoft.com/office/drawing/2014/main" xmlns="" id="{8E331209-A339-4EA7-9A9C-60B841670A3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7305283" y="2012365"/>
            <a:ext cx="432000" cy="432000"/>
          </a:xfrm>
          <a:prstGeom prst="rect">
            <a:avLst/>
          </a:prstGeom>
        </p:spPr>
      </p:pic>
      <p:pic>
        <p:nvPicPr>
          <p:cNvPr id="26" name="Графический объект 25" descr="Презентация с линейчатой диаграммой">
            <a:extLst>
              <a:ext uri="{FF2B5EF4-FFF2-40B4-BE49-F238E27FC236}">
                <a16:creationId xmlns:a16="http://schemas.microsoft.com/office/drawing/2014/main" xmlns="" id="{E30E2A91-829E-4A17-993C-634E1C3B822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9205406" y="2051265"/>
            <a:ext cx="432000" cy="432000"/>
          </a:xfrm>
          <a:prstGeom prst="rect">
            <a:avLst/>
          </a:prstGeom>
        </p:spPr>
      </p:pic>
      <p:pic>
        <p:nvPicPr>
          <p:cNvPr id="5" name="Графический объект 18" descr="Цель">
            <a:extLst>
              <a:ext uri="{FF2B5EF4-FFF2-40B4-BE49-F238E27FC236}">
                <a16:creationId xmlns:a16="http://schemas.microsoft.com/office/drawing/2014/main" xmlns="" id="{5413FAC6-5B48-2DCA-7F63-5CEFC94781F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6505680" y="2003748"/>
            <a:ext cx="432000" cy="432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7DE5AEA-D6EB-31F7-8A3E-EC430E083569}"/>
              </a:ext>
            </a:extLst>
          </p:cNvPr>
          <p:cNvSpPr txBox="1"/>
          <p:nvPr/>
        </p:nvSpPr>
        <p:spPr>
          <a:xfrm>
            <a:off x="6291743" y="2692866"/>
            <a:ext cx="2306973" cy="1234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1500"/>
              </a:lnSpc>
              <a:tabLst>
                <a:tab pos="457200" algn="l"/>
              </a:tabLst>
            </a:pPr>
            <a:r>
              <a:rPr lang="ru-RU" sz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Формирование принципа «налоговое обслуживание».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>
              <a:lnSpc>
                <a:spcPts val="1500"/>
              </a:lnSpc>
              <a:tabLst>
                <a:tab pos="457200" algn="l"/>
              </a:tabLst>
            </a:pPr>
            <a:r>
              <a:rPr lang="ru-RU" sz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Налоговое консультирование и обмен информацией.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>
              <a:lnSpc>
                <a:spcPts val="1500"/>
              </a:lnSpc>
              <a:tabLst>
                <a:tab pos="457200" algn="l"/>
              </a:tabLst>
            </a:pPr>
            <a:r>
              <a:rPr lang="ru-RU" sz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Ориентация на добровольность исполнения обязательств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9" name="Графический объект 25" descr="Презентация с линейчатой диаграммой">
            <a:extLst>
              <a:ext uri="{FF2B5EF4-FFF2-40B4-BE49-F238E27FC236}">
                <a16:creationId xmlns:a16="http://schemas.microsoft.com/office/drawing/2014/main" xmlns="" id="{F4496E81-595D-1001-16E1-3AD80DC577C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3881242" y="2156148"/>
            <a:ext cx="432000" cy="27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6824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59EFE67E-60AE-41C6-B6C4-7FC54FE38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5372" y="4872251"/>
            <a:ext cx="10482457" cy="1030360"/>
          </a:xfrm>
        </p:spPr>
        <p:txBody>
          <a:bodyPr rtlCol="0">
            <a:normAutofit fontScale="90000"/>
          </a:bodyPr>
          <a:lstStyle/>
          <a:p>
            <a:pPr rtl="0"/>
            <a:r>
              <a:rPr lang="ru-RU" dirty="0"/>
              <a:t>Эволюция налоговых сервисов в Эволюция  цифровых налоговых сервисов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6B20231-9711-4B47-A80C-85346582D3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69202" y="6309360"/>
            <a:ext cx="979879" cy="457200"/>
          </a:xfrm>
        </p:spPr>
        <p:txBody>
          <a:bodyPr rtlCol="0"/>
          <a:lstStyle/>
          <a:p>
            <a:pPr rtl="0"/>
            <a:fld id="{FAEF9944-A4F6-4C59-AEBD-678D6480B8EA}" type="slidenum">
              <a:rPr lang="ru-RU" smtClean="0"/>
              <a:pPr rtl="0"/>
              <a:t>12</a:t>
            </a:fld>
            <a:endParaRPr lang="ru-RU" dirty="0"/>
          </a:p>
        </p:txBody>
      </p:sp>
      <p:graphicFrame>
        <p:nvGraphicFramePr>
          <p:cNvPr id="9" name="Объект 3" descr="Заполнитель Smart Art в виде временной шкалы">
            <a:extLst>
              <a:ext uri="{FF2B5EF4-FFF2-40B4-BE49-F238E27FC236}">
                <a16:creationId xmlns:a16="http://schemas.microsoft.com/office/drawing/2014/main" xmlns="" id="{34466B8E-B3C3-4427-AD0D-6EE575A4212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0677485"/>
              </p:ext>
            </p:extLst>
          </p:nvPr>
        </p:nvGraphicFramePr>
        <p:xfrm>
          <a:off x="1637082" y="401487"/>
          <a:ext cx="10013709" cy="41436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590185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xmlns="" id="{DA5F6E6D-A9ED-471F-B5D3-C84B8466506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627122" y="8613"/>
            <a:ext cx="10937756" cy="6858000"/>
          </a:xfrm>
          <a:custGeom>
            <a:avLst/>
            <a:gdLst>
              <a:gd name="connsiteX0" fmla="*/ 1784518 w 10937756"/>
              <a:gd name="connsiteY0" fmla="*/ 0 h 6858000"/>
              <a:gd name="connsiteX1" fmla="*/ 9153238 w 10937756"/>
              <a:gd name="connsiteY1" fmla="*/ 0 h 6858000"/>
              <a:gd name="connsiteX2" fmla="*/ 9335959 w 10937756"/>
              <a:gd name="connsiteY2" fmla="*/ 174208 h 6858000"/>
              <a:gd name="connsiteX3" fmla="*/ 10937756 w 10937756"/>
              <a:gd name="connsiteY3" fmla="*/ 4041289 h 6858000"/>
              <a:gd name="connsiteX4" fmla="*/ 10277692 w 10937756"/>
              <a:gd name="connsiteY4" fmla="*/ 6648081 h 6858000"/>
              <a:gd name="connsiteX5" fmla="*/ 10156991 w 10937756"/>
              <a:gd name="connsiteY5" fmla="*/ 6858000 h 6858000"/>
              <a:gd name="connsiteX6" fmla="*/ 780765 w 10937756"/>
              <a:gd name="connsiteY6" fmla="*/ 6858000 h 6858000"/>
              <a:gd name="connsiteX7" fmla="*/ 660064 w 10937756"/>
              <a:gd name="connsiteY7" fmla="*/ 6648081 h 6858000"/>
              <a:gd name="connsiteX8" fmla="*/ 0 w 10937756"/>
              <a:gd name="connsiteY8" fmla="*/ 4041289 h 6858000"/>
              <a:gd name="connsiteX9" fmla="*/ 1601797 w 10937756"/>
              <a:gd name="connsiteY9" fmla="*/ 1742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37756" h="6858000">
                <a:moveTo>
                  <a:pt x="1784518" y="0"/>
                </a:moveTo>
                <a:lnTo>
                  <a:pt x="9153238" y="0"/>
                </a:lnTo>
                <a:lnTo>
                  <a:pt x="9335959" y="174208"/>
                </a:lnTo>
                <a:cubicBezTo>
                  <a:pt x="10325631" y="1163881"/>
                  <a:pt x="10937756" y="2531100"/>
                  <a:pt x="10937756" y="4041289"/>
                </a:cubicBezTo>
                <a:cubicBezTo>
                  <a:pt x="10937756" y="4985157"/>
                  <a:pt x="10698645" y="5873178"/>
                  <a:pt x="10277692" y="6648081"/>
                </a:cubicBezTo>
                <a:lnTo>
                  <a:pt x="10156991" y="6858000"/>
                </a:lnTo>
                <a:lnTo>
                  <a:pt x="780765" y="6858000"/>
                </a:lnTo>
                <a:lnTo>
                  <a:pt x="660064" y="6648081"/>
                </a:lnTo>
                <a:cubicBezTo>
                  <a:pt x="239111" y="5873178"/>
                  <a:pt x="0" y="4985157"/>
                  <a:pt x="0" y="4041289"/>
                </a:cubicBezTo>
                <a:cubicBezTo>
                  <a:pt x="0" y="2531100"/>
                  <a:pt x="612125" y="1163881"/>
                  <a:pt x="1601797" y="174208"/>
                </a:cubicBezTo>
                <a:close/>
              </a:path>
            </a:pathLst>
          </a:custGeom>
          <a:solidFill>
            <a:schemeClr val="bg1">
              <a:lumMod val="85000"/>
              <a:alpha val="10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81" name="Овал 80">
            <a:extLst>
              <a:ext uri="{FF2B5EF4-FFF2-40B4-BE49-F238E27FC236}">
                <a16:creationId xmlns:a16="http://schemas.microsoft.com/office/drawing/2014/main" xmlns="" id="{44864D6A-CDDD-4D60-8619-C1AD786F3FB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7037076" y="3040141"/>
            <a:ext cx="1980000" cy="1980000"/>
          </a:xfrm>
          <a:prstGeom prst="ellipse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80" name="Овал 79">
            <a:extLst>
              <a:ext uri="{FF2B5EF4-FFF2-40B4-BE49-F238E27FC236}">
                <a16:creationId xmlns:a16="http://schemas.microsoft.com/office/drawing/2014/main" xmlns="" id="{9CD1768A-EC26-4C6A-A57C-E2300589049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6444530" y="4425522"/>
            <a:ext cx="1980000" cy="1980000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9" name="Овал 78">
            <a:extLst>
              <a:ext uri="{FF2B5EF4-FFF2-40B4-BE49-F238E27FC236}">
                <a16:creationId xmlns:a16="http://schemas.microsoft.com/office/drawing/2014/main" xmlns="" id="{99530F13-2430-4DB9-9637-7708CFDD87D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6444530" y="1763284"/>
            <a:ext cx="1980000" cy="1980000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8" name="Овал 77">
            <a:extLst>
              <a:ext uri="{FF2B5EF4-FFF2-40B4-BE49-F238E27FC236}">
                <a16:creationId xmlns:a16="http://schemas.microsoft.com/office/drawing/2014/main" xmlns="" id="{A4F69744-BE77-4CA9-862A-54E574EE833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3841485" y="4435047"/>
            <a:ext cx="1980000" cy="1980000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7" name="Овал 76">
            <a:extLst>
              <a:ext uri="{FF2B5EF4-FFF2-40B4-BE49-F238E27FC236}">
                <a16:creationId xmlns:a16="http://schemas.microsoft.com/office/drawing/2014/main" xmlns="" id="{D8B7D5AE-8D15-48A8-BF79-863756AB227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3841485" y="1820635"/>
            <a:ext cx="1980000" cy="1980000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xmlns="" id="{0E26D681-9D60-4729-9BAF-8F1BC982F3C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3912561" y="1788979"/>
            <a:ext cx="4638675" cy="4638675"/>
          </a:xfrm>
          <a:prstGeom prst="ellipse">
            <a:avLst/>
          </a:prstGeom>
          <a:solidFill>
            <a:schemeClr val="bg1">
              <a:lumMod val="95000"/>
              <a:alpha val="68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xmlns="" id="{EFD3B067-A626-42D5-A3BC-823CE088FD6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4612325" y="2159144"/>
            <a:ext cx="2919412" cy="291941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1356360"/>
          </a:xfrm>
        </p:spPr>
        <p:txBody>
          <a:bodyPr rtlCol="0">
            <a:normAutofit/>
          </a:bodyPr>
          <a:lstStyle/>
          <a:p>
            <a:pPr rtl="0"/>
            <a:r>
              <a:rPr lang="ru-RU" sz="1800" b="1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Цифровизация гражданско-правовой сделки и налогового администрирования как основа единого цифрового геоэкономического пространства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11D56577-55A5-4AC0-A86E-107F2E113581}"/>
              </a:ext>
            </a:extLst>
          </p:cNvPr>
          <p:cNvSpPr/>
          <p:nvPr/>
        </p:nvSpPr>
        <p:spPr>
          <a:xfrm>
            <a:off x="779833" y="1920030"/>
            <a:ext cx="1090061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Цифровой  ландшафт экономической культуры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2448265B-D934-4BC5-8F2B-2322214922F8}"/>
              </a:ext>
            </a:extLst>
          </p:cNvPr>
          <p:cNvSpPr/>
          <p:nvPr/>
        </p:nvSpPr>
        <p:spPr>
          <a:xfrm>
            <a:off x="1986562" y="1920030"/>
            <a:ext cx="1332533" cy="602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DC6E30C7-762E-4337-B852-3A7938FA969D}"/>
              </a:ext>
            </a:extLst>
          </p:cNvPr>
          <p:cNvSpPr/>
          <p:nvPr/>
        </p:nvSpPr>
        <p:spPr>
          <a:xfrm>
            <a:off x="9503810" y="1920030"/>
            <a:ext cx="1631377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Единая цифровая среда инвестиций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27D54CB4-0066-4140-96B8-95930CD77276}"/>
              </a:ext>
            </a:extLst>
          </p:cNvPr>
          <p:cNvSpPr/>
          <p:nvPr/>
        </p:nvSpPr>
        <p:spPr>
          <a:xfrm>
            <a:off x="3238012" y="2383063"/>
            <a:ext cx="1080000" cy="7187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Единая цифровая среда инноваций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BDCA2203-78D4-4184-A8B1-8D6E3C28C889}"/>
              </a:ext>
            </a:extLst>
          </p:cNvPr>
          <p:cNvSpPr/>
          <p:nvPr/>
        </p:nvSpPr>
        <p:spPr>
          <a:xfrm>
            <a:off x="7942969" y="2383063"/>
            <a:ext cx="1332000" cy="7187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Единая  цифровая среда для торговли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DF0C271F-C24A-4E69-9D4E-298D827B8460}"/>
              </a:ext>
            </a:extLst>
          </p:cNvPr>
          <p:cNvSpPr/>
          <p:nvPr/>
        </p:nvSpPr>
        <p:spPr>
          <a:xfrm>
            <a:off x="5209554" y="3083862"/>
            <a:ext cx="1772892" cy="6159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t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Цифровизация гражданско-правовой сделки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E306DAE2-9434-42D9-B876-2B856348AD4A}"/>
              </a:ext>
            </a:extLst>
          </p:cNvPr>
          <p:cNvSpPr/>
          <p:nvPr/>
        </p:nvSpPr>
        <p:spPr>
          <a:xfrm>
            <a:off x="8433624" y="3699778"/>
            <a:ext cx="1765980" cy="7187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Единая цифровая  коммуникационная среда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99267414-C32D-40FE-972B-255FF1A8576C}"/>
              </a:ext>
            </a:extLst>
          </p:cNvPr>
          <p:cNvSpPr/>
          <p:nvPr/>
        </p:nvSpPr>
        <p:spPr>
          <a:xfrm>
            <a:off x="5287538" y="5223912"/>
            <a:ext cx="1772892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Цифровизация налогового администрирования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128E41E6-B0BF-44BC-98F9-F8F486ABC7F1}"/>
              </a:ext>
            </a:extLst>
          </p:cNvPr>
          <p:cNvSpPr/>
          <p:nvPr/>
        </p:nvSpPr>
        <p:spPr>
          <a:xfrm>
            <a:off x="2986012" y="5085680"/>
            <a:ext cx="1080000" cy="1162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Единая цифровая среда распределения благ и стоимости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758C1A8A-DB3C-4362-B041-C35C08C0195F}"/>
              </a:ext>
            </a:extLst>
          </p:cNvPr>
          <p:cNvSpPr/>
          <p:nvPr/>
        </p:nvSpPr>
        <p:spPr>
          <a:xfrm>
            <a:off x="7942969" y="5085680"/>
            <a:ext cx="1080000" cy="7187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Единая цифровая контрольная среда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F29B8C93-9BD8-4437-9379-8B7C1D9398C3}"/>
              </a:ext>
            </a:extLst>
          </p:cNvPr>
          <p:cNvSpPr/>
          <p:nvPr/>
        </p:nvSpPr>
        <p:spPr>
          <a:xfrm>
            <a:off x="789895" y="5699074"/>
            <a:ext cx="1080000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Цифровой социальный ландшафт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821682DD-5C22-4B97-83AE-86C7996FB90B}"/>
              </a:ext>
            </a:extLst>
          </p:cNvPr>
          <p:cNvSpPr/>
          <p:nvPr/>
        </p:nvSpPr>
        <p:spPr>
          <a:xfrm>
            <a:off x="1990725" y="5760604"/>
            <a:ext cx="1075838" cy="827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Цифровой налоговый ландшафт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xmlns="" id="{C772BBE7-C6D8-4BF9-BA45-DC3C6BC93DE2}"/>
              </a:ext>
            </a:extLst>
          </p:cNvPr>
          <p:cNvSpPr/>
          <p:nvPr/>
        </p:nvSpPr>
        <p:spPr>
          <a:xfrm>
            <a:off x="9503811" y="5699074"/>
            <a:ext cx="1119979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Цифровые налоговые сервисы и услуги </a:t>
            </a:r>
          </a:p>
        </p:txBody>
      </p:sp>
      <p:sp>
        <p:nvSpPr>
          <p:cNvPr id="71" name="Овал 70">
            <a:extLst>
              <a:ext uri="{FF2B5EF4-FFF2-40B4-BE49-F238E27FC236}">
                <a16:creationId xmlns:a16="http://schemas.microsoft.com/office/drawing/2014/main" xmlns="" id="{4B1786F3-631A-4BEE-8323-68AB581BC49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4952221" y="2929105"/>
            <a:ext cx="213490" cy="21349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3" name="Овал 72">
            <a:extLst>
              <a:ext uri="{FF2B5EF4-FFF2-40B4-BE49-F238E27FC236}">
                <a16:creationId xmlns:a16="http://schemas.microsoft.com/office/drawing/2014/main" xmlns="" id="{D13F3AC2-C134-452A-A575-2AEDD5FDD44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7026968" y="2948970"/>
            <a:ext cx="213490" cy="2134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4" name="Овал 73">
            <a:extLst>
              <a:ext uri="{FF2B5EF4-FFF2-40B4-BE49-F238E27FC236}">
                <a16:creationId xmlns:a16="http://schemas.microsoft.com/office/drawing/2014/main" xmlns="" id="{F74C5EF9-9647-43F7-B54F-97E136BDC2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7020654" y="5004920"/>
            <a:ext cx="213490" cy="21349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5" name="Овал 74">
            <a:extLst>
              <a:ext uri="{FF2B5EF4-FFF2-40B4-BE49-F238E27FC236}">
                <a16:creationId xmlns:a16="http://schemas.microsoft.com/office/drawing/2014/main" xmlns="" id="{B6143EC5-1312-45C8-8A63-08B7FD81AEE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7448961" y="3968701"/>
            <a:ext cx="213490" cy="21349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2" name="Овал 71">
            <a:extLst>
              <a:ext uri="{FF2B5EF4-FFF2-40B4-BE49-F238E27FC236}">
                <a16:creationId xmlns:a16="http://schemas.microsoft.com/office/drawing/2014/main" xmlns="" id="{E95005B3-E7A9-43A7-9097-E5C0B12D0AF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4968596" y="5007567"/>
            <a:ext cx="213490" cy="2134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08" name="Овал 107">
            <a:extLst>
              <a:ext uri="{FF2B5EF4-FFF2-40B4-BE49-F238E27FC236}">
                <a16:creationId xmlns:a16="http://schemas.microsoft.com/office/drawing/2014/main" xmlns="" id="{3D4169F2-589F-4BCC-9E24-FF0760B9A06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2984253" y="2586848"/>
            <a:ext cx="82310" cy="823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09" name="Овал 108">
            <a:extLst>
              <a:ext uri="{FF2B5EF4-FFF2-40B4-BE49-F238E27FC236}">
                <a16:creationId xmlns:a16="http://schemas.microsoft.com/office/drawing/2014/main" xmlns="" id="{2E67447B-A1BE-4C7F-841C-1D52C3E335A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1787585" y="2586848"/>
            <a:ext cx="82310" cy="823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10" name="Овал 109">
            <a:extLst>
              <a:ext uri="{FF2B5EF4-FFF2-40B4-BE49-F238E27FC236}">
                <a16:creationId xmlns:a16="http://schemas.microsoft.com/office/drawing/2014/main" xmlns="" id="{8547C6B6-4C5C-4A9B-97B5-B9DAA62B650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2984253" y="5613510"/>
            <a:ext cx="82310" cy="823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11" name="Овал 110">
            <a:extLst>
              <a:ext uri="{FF2B5EF4-FFF2-40B4-BE49-F238E27FC236}">
                <a16:creationId xmlns:a16="http://schemas.microsoft.com/office/drawing/2014/main" xmlns="" id="{53B8C8A1-B8C7-423C-89FE-51E9ECFCB75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1787585" y="5613510"/>
            <a:ext cx="82310" cy="823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cxnSp>
        <p:nvCxnSpPr>
          <p:cNvPr id="113" name="Соединительная линия: изогнутая 112">
            <a:extLst>
              <a:ext uri="{FF2B5EF4-FFF2-40B4-BE49-F238E27FC236}">
                <a16:creationId xmlns:a16="http://schemas.microsoft.com/office/drawing/2014/main" xmlns="" id="{622A3281-34A2-40FA-8168-008FF717654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endCxn id="108" idx="4"/>
          </p:cNvCxnSpPr>
          <p:nvPr/>
        </p:nvCxnSpPr>
        <p:spPr>
          <a:xfrm rot="5400000" flipH="1">
            <a:off x="3678934" y="2015632"/>
            <a:ext cx="433275" cy="1740328"/>
          </a:xfrm>
          <a:prstGeom prst="bentConnector3">
            <a:avLst>
              <a:gd name="adj1" fmla="val -52761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Соединительная линия: изогнутая 114">
            <a:extLst>
              <a:ext uri="{FF2B5EF4-FFF2-40B4-BE49-F238E27FC236}">
                <a16:creationId xmlns:a16="http://schemas.microsoft.com/office/drawing/2014/main" xmlns="" id="{3776E844-35AA-4B61-8A75-6DA7A2EE915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endCxn id="109" idx="4"/>
          </p:cNvCxnSpPr>
          <p:nvPr/>
        </p:nvCxnSpPr>
        <p:spPr>
          <a:xfrm rot="5400000" flipH="1">
            <a:off x="3080600" y="1417298"/>
            <a:ext cx="433275" cy="2936996"/>
          </a:xfrm>
          <a:prstGeom prst="bentConnector3">
            <a:avLst>
              <a:gd name="adj1" fmla="val -52761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Овал 118">
            <a:extLst>
              <a:ext uri="{FF2B5EF4-FFF2-40B4-BE49-F238E27FC236}">
                <a16:creationId xmlns:a16="http://schemas.microsoft.com/office/drawing/2014/main" xmlns="" id="{8A0D58C4-E3D8-4575-8BF0-37F45BB95AE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9494619" y="2586848"/>
            <a:ext cx="82310" cy="823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cxnSp>
        <p:nvCxnSpPr>
          <p:cNvPr id="122" name="Соединительная линия: изогнутая 121">
            <a:extLst>
              <a:ext uri="{FF2B5EF4-FFF2-40B4-BE49-F238E27FC236}">
                <a16:creationId xmlns:a16="http://schemas.microsoft.com/office/drawing/2014/main" xmlns="" id="{DB6E0B7E-8974-4A28-BC51-7F85C7F5B3E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endCxn id="110" idx="0"/>
          </p:cNvCxnSpPr>
          <p:nvPr/>
        </p:nvCxnSpPr>
        <p:spPr>
          <a:xfrm rot="16200000" flipH="1" flipV="1">
            <a:off x="3641086" y="4469372"/>
            <a:ext cx="528460" cy="1759816"/>
          </a:xfrm>
          <a:prstGeom prst="bentConnector3">
            <a:avLst>
              <a:gd name="adj1" fmla="val -43258"/>
            </a:avLst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Соединительная линия: изогнутая 126">
            <a:extLst>
              <a:ext uri="{FF2B5EF4-FFF2-40B4-BE49-F238E27FC236}">
                <a16:creationId xmlns:a16="http://schemas.microsoft.com/office/drawing/2014/main" xmlns="" id="{5DE74E47-57A7-4EFA-83E1-B978BCE6B9A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endCxn id="111" idx="0"/>
          </p:cNvCxnSpPr>
          <p:nvPr/>
        </p:nvCxnSpPr>
        <p:spPr>
          <a:xfrm rot="16200000" flipH="1" flipV="1">
            <a:off x="3042752" y="3871038"/>
            <a:ext cx="528460" cy="2956484"/>
          </a:xfrm>
          <a:prstGeom prst="bentConnector3">
            <a:avLst>
              <a:gd name="adj1" fmla="val -43258"/>
            </a:avLst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Соединительная линия: изогнутая 129">
            <a:extLst>
              <a:ext uri="{FF2B5EF4-FFF2-40B4-BE49-F238E27FC236}">
                <a16:creationId xmlns:a16="http://schemas.microsoft.com/office/drawing/2014/main" xmlns="" id="{FE82DF5B-C60E-4257-B370-A4B302DC12A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endCxn id="119" idx="4"/>
          </p:cNvCxnSpPr>
          <p:nvPr/>
        </p:nvCxnSpPr>
        <p:spPr>
          <a:xfrm rot="5400000" flipH="1" flipV="1">
            <a:off x="8271884" y="1838544"/>
            <a:ext cx="433275" cy="2094503"/>
          </a:xfrm>
          <a:prstGeom prst="bentConnector3">
            <a:avLst>
              <a:gd name="adj1" fmla="val -52761"/>
            </a:avLst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Овал 133">
            <a:extLst>
              <a:ext uri="{FF2B5EF4-FFF2-40B4-BE49-F238E27FC236}">
                <a16:creationId xmlns:a16="http://schemas.microsoft.com/office/drawing/2014/main" xmlns="" id="{716F090E-A9F1-4775-801C-A297BCFA7C8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9506735" y="5613510"/>
            <a:ext cx="82310" cy="8231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cxnSp>
        <p:nvCxnSpPr>
          <p:cNvPr id="135" name="Соединительная линия: изогнутая 134">
            <a:extLst>
              <a:ext uri="{FF2B5EF4-FFF2-40B4-BE49-F238E27FC236}">
                <a16:creationId xmlns:a16="http://schemas.microsoft.com/office/drawing/2014/main" xmlns="" id="{6A5E1044-F23D-446F-BE87-4E46A9AA5A3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endCxn id="134" idx="0"/>
          </p:cNvCxnSpPr>
          <p:nvPr/>
        </p:nvCxnSpPr>
        <p:spPr>
          <a:xfrm rot="16200000" flipH="1">
            <a:off x="8217455" y="4283075"/>
            <a:ext cx="528460" cy="2132410"/>
          </a:xfrm>
          <a:prstGeom prst="bentConnector3">
            <a:avLst>
              <a:gd name="adj1" fmla="val -43258"/>
            </a:avLst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0091573B-108B-9C12-D259-446C4155F313}"/>
              </a:ext>
            </a:extLst>
          </p:cNvPr>
          <p:cNvSpPr/>
          <p:nvPr/>
        </p:nvSpPr>
        <p:spPr>
          <a:xfrm>
            <a:off x="2408692" y="1798770"/>
            <a:ext cx="1080000" cy="7187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Единая цифровая среда технологий и ресурсов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06367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Заголовок 54">
            <a:extLst>
              <a:ext uri="{FF2B5EF4-FFF2-40B4-BE49-F238E27FC236}">
                <a16:creationId xmlns:a16="http://schemas.microsoft.com/office/drawing/2014/main" xmlns="" id="{1911B398-56A9-FA44-A101-C45D3E8FB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716" y="262501"/>
            <a:ext cx="4413017" cy="1581324"/>
          </a:xfrm>
        </p:spPr>
        <p:txBody>
          <a:bodyPr rtlCol="0">
            <a:normAutofit/>
          </a:bodyPr>
          <a:lstStyle/>
          <a:p>
            <a:pPr rtl="0"/>
            <a:r>
              <a:rPr lang="ru-RU" sz="2400" dirty="0"/>
              <a:t>Формирование цифрового </a:t>
            </a:r>
            <a:r>
              <a:rPr lang="ru-RU" sz="2400" dirty="0" err="1"/>
              <a:t>суперсервиса</a:t>
            </a:r>
            <a:r>
              <a:rPr lang="ru-RU" sz="2400" dirty="0"/>
              <a:t> в налоговом администрировании </a:t>
            </a:r>
          </a:p>
        </p:txBody>
      </p:sp>
      <p:sp>
        <p:nvSpPr>
          <p:cNvPr id="167" name="Текст 166">
            <a:extLst>
              <a:ext uri="{FF2B5EF4-FFF2-40B4-BE49-F238E27FC236}">
                <a16:creationId xmlns:a16="http://schemas.microsoft.com/office/drawing/2014/main" xmlns="" id="{008EF577-57DA-AC49-AD61-1785C58C635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0485" y="1887380"/>
            <a:ext cx="4413249" cy="381000"/>
          </a:xfrm>
        </p:spPr>
        <p:txBody>
          <a:bodyPr rtlCol="0">
            <a:normAutofit lnSpcReduction="10000"/>
          </a:bodyPr>
          <a:lstStyle/>
          <a:p>
            <a:pPr rtl="0"/>
            <a:r>
              <a:rPr lang="ru-RU" dirty="0"/>
              <a:t>Принцип </a:t>
            </a:r>
            <a:r>
              <a:rPr lang="ru-RU" dirty="0" err="1"/>
              <a:t>междисплинарности</a:t>
            </a:r>
            <a:endParaRPr lang="ru-RU" dirty="0"/>
          </a:p>
        </p:txBody>
      </p:sp>
      <p:grpSp>
        <p:nvGrpSpPr>
          <p:cNvPr id="124" name="Группа 57" title="значок кнопки воспроизведения">
            <a:extLst>
              <a:ext uri="{FF2B5EF4-FFF2-40B4-BE49-F238E27FC236}">
                <a16:creationId xmlns:a16="http://schemas.microsoft.com/office/drawing/2014/main" xmlns="" id="{47C37F79-C434-2441-9499-14DDA338ECAF}"/>
              </a:ext>
            </a:extLst>
          </p:cNvPr>
          <p:cNvGrpSpPr>
            <a:grpSpLocks/>
          </p:cNvGrpSpPr>
          <p:nvPr/>
        </p:nvGrpSpPr>
        <p:grpSpPr bwMode="auto">
          <a:xfrm>
            <a:off x="7497548" y="438042"/>
            <a:ext cx="406400" cy="404812"/>
            <a:chOff x="451190" y="2461460"/>
            <a:chExt cx="405882" cy="405882"/>
          </a:xfrm>
        </p:grpSpPr>
        <p:sp>
          <p:nvSpPr>
            <p:cNvPr id="125" name="Полилиния: Фигура 41">
              <a:extLst>
                <a:ext uri="{FF2B5EF4-FFF2-40B4-BE49-F238E27FC236}">
                  <a16:creationId xmlns:a16="http://schemas.microsoft.com/office/drawing/2014/main" xmlns="" id="{2D6AC127-61A9-5E41-A0D3-67B58537BBD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90" y="2461460"/>
              <a:ext cx="405882" cy="405882"/>
            </a:xfrm>
            <a:custGeom>
              <a:avLst/>
              <a:gdLst>
                <a:gd name="T0" fmla="*/ 401086 w 405881"/>
                <a:gd name="T1" fmla="*/ 401824 h 405881"/>
                <a:gd name="T2" fmla="*/ 5535 w 405881"/>
                <a:gd name="T3" fmla="*/ 401824 h 405881"/>
                <a:gd name="T4" fmla="*/ 5535 w 405881"/>
                <a:gd name="T5" fmla="*/ 5535 h 405881"/>
                <a:gd name="T6" fmla="*/ 401824 w 405881"/>
                <a:gd name="T7" fmla="*/ 5535 h 405881"/>
                <a:gd name="T8" fmla="*/ 401086 w 405881"/>
                <a:gd name="T9" fmla="*/ 401824 h 405881"/>
                <a:gd name="T10" fmla="*/ 401086 w 405881"/>
                <a:gd name="T11" fmla="*/ 401824 h 405881"/>
                <a:gd name="T12" fmla="*/ 43909 w 405881"/>
                <a:gd name="T13" fmla="*/ 364926 h 405881"/>
                <a:gd name="T14" fmla="*/ 362712 w 405881"/>
                <a:gd name="T15" fmla="*/ 364926 h 405881"/>
                <a:gd name="T16" fmla="*/ 362712 w 405881"/>
                <a:gd name="T17" fmla="*/ 42433 h 405881"/>
                <a:gd name="T18" fmla="*/ 43909 w 405881"/>
                <a:gd name="T19" fmla="*/ 42433 h 405881"/>
                <a:gd name="T20" fmla="*/ 43909 w 405881"/>
                <a:gd name="T21" fmla="*/ 364926 h 40588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05881" h="405881">
                  <a:moveTo>
                    <a:pt x="401085" y="401823"/>
                  </a:moveTo>
                  <a:lnTo>
                    <a:pt x="5535" y="401823"/>
                  </a:lnTo>
                  <a:lnTo>
                    <a:pt x="5535" y="5535"/>
                  </a:lnTo>
                  <a:lnTo>
                    <a:pt x="401823" y="5535"/>
                  </a:lnTo>
                  <a:lnTo>
                    <a:pt x="401085" y="401823"/>
                  </a:lnTo>
                  <a:close/>
                  <a:moveTo>
                    <a:pt x="43909" y="364925"/>
                  </a:moveTo>
                  <a:lnTo>
                    <a:pt x="362711" y="364925"/>
                  </a:lnTo>
                  <a:lnTo>
                    <a:pt x="362711" y="42433"/>
                  </a:lnTo>
                  <a:lnTo>
                    <a:pt x="43909" y="42433"/>
                  </a:lnTo>
                  <a:lnTo>
                    <a:pt x="43909" y="3649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6" name="Полилиния: Фигура 42">
              <a:extLst>
                <a:ext uri="{FF2B5EF4-FFF2-40B4-BE49-F238E27FC236}">
                  <a16:creationId xmlns:a16="http://schemas.microsoft.com/office/drawing/2014/main" xmlns="" id="{DFE8303C-E538-6B45-B5B5-CEBE25759024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546388" y="2530828"/>
              <a:ext cx="228770" cy="265668"/>
            </a:xfrm>
            <a:custGeom>
              <a:avLst/>
              <a:gdLst>
                <a:gd name="T0" fmla="*/ 5535 w 228769"/>
                <a:gd name="T1" fmla="*/ 263823 h 265668"/>
                <a:gd name="T2" fmla="*/ 5535 w 228769"/>
                <a:gd name="T3" fmla="*/ 5535 h 265668"/>
                <a:gd name="T4" fmla="*/ 229140 w 228769"/>
                <a:gd name="T5" fmla="*/ 134679 h 265668"/>
                <a:gd name="T6" fmla="*/ 5535 w 228769"/>
                <a:gd name="T7" fmla="*/ 263823 h 265668"/>
                <a:gd name="T8" fmla="*/ 42433 w 228769"/>
                <a:gd name="T9" fmla="*/ 69738 h 265668"/>
                <a:gd name="T10" fmla="*/ 42433 w 228769"/>
                <a:gd name="T11" fmla="*/ 199620 h 265668"/>
                <a:gd name="T12" fmla="*/ 155343 w 228769"/>
                <a:gd name="T13" fmla="*/ 134679 h 265668"/>
                <a:gd name="T14" fmla="*/ 42433 w 228769"/>
                <a:gd name="T15" fmla="*/ 69738 h 26566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28769" h="265668">
                  <a:moveTo>
                    <a:pt x="5535" y="263823"/>
                  </a:moveTo>
                  <a:lnTo>
                    <a:pt x="5535" y="5535"/>
                  </a:lnTo>
                  <a:lnTo>
                    <a:pt x="229139" y="134679"/>
                  </a:lnTo>
                  <a:lnTo>
                    <a:pt x="5535" y="263823"/>
                  </a:lnTo>
                  <a:close/>
                  <a:moveTo>
                    <a:pt x="42433" y="69738"/>
                  </a:moveTo>
                  <a:lnTo>
                    <a:pt x="42433" y="199620"/>
                  </a:lnTo>
                  <a:lnTo>
                    <a:pt x="155342" y="134679"/>
                  </a:lnTo>
                  <a:lnTo>
                    <a:pt x="42433" y="697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59" name="Текст 158">
            <a:extLst>
              <a:ext uri="{FF2B5EF4-FFF2-40B4-BE49-F238E27FC236}">
                <a16:creationId xmlns:a16="http://schemas.microsoft.com/office/drawing/2014/main" xmlns="" id="{2CB29981-D477-EB47-8A9B-CB977C238E1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934200" y="945921"/>
            <a:ext cx="1456267" cy="311367"/>
          </a:xfrm>
        </p:spPr>
        <p:txBody>
          <a:bodyPr rtlCol="0"/>
          <a:lstStyle/>
          <a:p>
            <a:pPr algn="ctr" rtl="0"/>
            <a:r>
              <a:rPr lang="ru-RU" dirty="0"/>
              <a:t>Налоги  и право</a:t>
            </a:r>
          </a:p>
        </p:txBody>
      </p:sp>
      <p:sp>
        <p:nvSpPr>
          <p:cNvPr id="160" name="Текст 159">
            <a:extLst>
              <a:ext uri="{FF2B5EF4-FFF2-40B4-BE49-F238E27FC236}">
                <a16:creationId xmlns:a16="http://schemas.microsoft.com/office/drawing/2014/main" xmlns="" id="{433C9515-1AAD-C64F-91D0-F30FF5163C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rtlCol="0"/>
          <a:lstStyle/>
          <a:p>
            <a:pPr algn="ctr" rtl="0"/>
            <a:r>
              <a:rPr lang="ru-RU" dirty="0"/>
              <a:t>Механизмы </a:t>
            </a:r>
          </a:p>
        </p:txBody>
      </p:sp>
      <p:grpSp>
        <p:nvGrpSpPr>
          <p:cNvPr id="117" name="Группа 60" title="значок мужчины">
            <a:extLst>
              <a:ext uri="{FF2B5EF4-FFF2-40B4-BE49-F238E27FC236}">
                <a16:creationId xmlns:a16="http://schemas.microsoft.com/office/drawing/2014/main" xmlns="" id="{E8879A3D-78E1-FA44-9275-D338E2F33C20}"/>
              </a:ext>
            </a:extLst>
          </p:cNvPr>
          <p:cNvGrpSpPr>
            <a:grpSpLocks/>
          </p:cNvGrpSpPr>
          <p:nvPr/>
        </p:nvGrpSpPr>
        <p:grpSpPr bwMode="auto">
          <a:xfrm>
            <a:off x="6384057" y="1461212"/>
            <a:ext cx="465137" cy="463550"/>
            <a:chOff x="3087207" y="2512379"/>
            <a:chExt cx="464919" cy="464919"/>
          </a:xfrm>
        </p:grpSpPr>
        <p:sp>
          <p:nvSpPr>
            <p:cNvPr id="118" name="Полилиния: Фигура 13">
              <a:extLst>
                <a:ext uri="{FF2B5EF4-FFF2-40B4-BE49-F238E27FC236}">
                  <a16:creationId xmlns:a16="http://schemas.microsoft.com/office/drawing/2014/main" xmlns="" id="{5D9D9D6D-F88B-9C44-8745-F3618906C62E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3087207" y="2512379"/>
              <a:ext cx="464919" cy="464919"/>
            </a:xfrm>
            <a:custGeom>
              <a:avLst/>
              <a:gdLst>
                <a:gd name="T0" fmla="*/ 463074 w 464919"/>
                <a:gd name="T1" fmla="*/ 463074 h 464919"/>
                <a:gd name="T2" fmla="*/ 5535 w 464919"/>
                <a:gd name="T3" fmla="*/ 463074 h 464919"/>
                <a:gd name="T4" fmla="*/ 5535 w 464919"/>
                <a:gd name="T5" fmla="*/ 5535 h 464919"/>
                <a:gd name="T6" fmla="*/ 463074 w 464919"/>
                <a:gd name="T7" fmla="*/ 5535 h 464919"/>
                <a:gd name="T8" fmla="*/ 463074 w 464919"/>
                <a:gd name="T9" fmla="*/ 463074 h 464919"/>
                <a:gd name="T10" fmla="*/ 49813 w 464919"/>
                <a:gd name="T11" fmla="*/ 420272 h 464919"/>
                <a:gd name="T12" fmla="*/ 418058 w 464919"/>
                <a:gd name="T13" fmla="*/ 420272 h 464919"/>
                <a:gd name="T14" fmla="*/ 418058 w 464919"/>
                <a:gd name="T15" fmla="*/ 48337 h 464919"/>
                <a:gd name="T16" fmla="*/ 49813 w 464919"/>
                <a:gd name="T17" fmla="*/ 48337 h 464919"/>
                <a:gd name="T18" fmla="*/ 49813 w 464919"/>
                <a:gd name="T19" fmla="*/ 420272 h 4649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64919" h="464919">
                  <a:moveTo>
                    <a:pt x="463074" y="463074"/>
                  </a:moveTo>
                  <a:lnTo>
                    <a:pt x="5535" y="463074"/>
                  </a:lnTo>
                  <a:lnTo>
                    <a:pt x="5535" y="5535"/>
                  </a:lnTo>
                  <a:lnTo>
                    <a:pt x="463074" y="5535"/>
                  </a:lnTo>
                  <a:lnTo>
                    <a:pt x="463074" y="463074"/>
                  </a:lnTo>
                  <a:close/>
                  <a:moveTo>
                    <a:pt x="49813" y="420272"/>
                  </a:moveTo>
                  <a:lnTo>
                    <a:pt x="418058" y="420272"/>
                  </a:lnTo>
                  <a:lnTo>
                    <a:pt x="418058" y="48337"/>
                  </a:lnTo>
                  <a:lnTo>
                    <a:pt x="49813" y="48337"/>
                  </a:lnTo>
                  <a:lnTo>
                    <a:pt x="49813" y="420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9" name="Полилиния: Фигура 14">
              <a:extLst>
                <a:ext uri="{FF2B5EF4-FFF2-40B4-BE49-F238E27FC236}">
                  <a16:creationId xmlns:a16="http://schemas.microsoft.com/office/drawing/2014/main" xmlns="" id="{D1FDCEB8-5229-4E4F-A423-CE5A3A57422F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3212518" y="2593556"/>
              <a:ext cx="214010" cy="302566"/>
            </a:xfrm>
            <a:custGeom>
              <a:avLst/>
              <a:gdLst/>
              <a:ahLst/>
              <a:cxnLst/>
              <a:rect l="0" t="0" r="r" b="b"/>
              <a:pathLst>
                <a:path w="214010" h="302566">
                  <a:moveTo>
                    <a:pt x="107517" y="5535"/>
                  </a:moveTo>
                  <a:cubicBezTo>
                    <a:pt x="103827" y="5535"/>
                    <a:pt x="99400" y="5535"/>
                    <a:pt x="95710" y="6273"/>
                  </a:cubicBezTo>
                  <a:cubicBezTo>
                    <a:pt x="94972" y="6273"/>
                    <a:pt x="94972" y="6273"/>
                    <a:pt x="94234" y="6273"/>
                  </a:cubicBezTo>
                  <a:cubicBezTo>
                    <a:pt x="90544" y="6273"/>
                    <a:pt x="87592" y="7011"/>
                    <a:pt x="84640" y="7749"/>
                  </a:cubicBezTo>
                  <a:cubicBezTo>
                    <a:pt x="80950" y="8487"/>
                    <a:pt x="77999" y="9225"/>
                    <a:pt x="74309" y="9963"/>
                  </a:cubicBezTo>
                  <a:cubicBezTo>
                    <a:pt x="74309" y="9963"/>
                    <a:pt x="74309" y="9963"/>
                    <a:pt x="73571" y="9963"/>
                  </a:cubicBezTo>
                  <a:cubicBezTo>
                    <a:pt x="66929" y="11439"/>
                    <a:pt x="60287" y="13652"/>
                    <a:pt x="54384" y="16604"/>
                  </a:cubicBezTo>
                  <a:cubicBezTo>
                    <a:pt x="48480" y="19556"/>
                    <a:pt x="43314" y="23246"/>
                    <a:pt x="38148" y="26936"/>
                  </a:cubicBezTo>
                  <a:cubicBezTo>
                    <a:pt x="35934" y="29150"/>
                    <a:pt x="33721" y="30626"/>
                    <a:pt x="31507" y="32839"/>
                  </a:cubicBezTo>
                  <a:cubicBezTo>
                    <a:pt x="22651" y="41695"/>
                    <a:pt x="16747" y="52027"/>
                    <a:pt x="12319" y="64572"/>
                  </a:cubicBezTo>
                  <a:cubicBezTo>
                    <a:pt x="11582" y="67524"/>
                    <a:pt x="10106" y="70476"/>
                    <a:pt x="9368" y="74166"/>
                  </a:cubicBezTo>
                  <a:cubicBezTo>
                    <a:pt x="8630" y="77117"/>
                    <a:pt x="7892" y="80069"/>
                    <a:pt x="7892" y="83021"/>
                  </a:cubicBezTo>
                  <a:cubicBezTo>
                    <a:pt x="7892" y="85235"/>
                    <a:pt x="7154" y="86711"/>
                    <a:pt x="7154" y="88925"/>
                  </a:cubicBezTo>
                  <a:cubicBezTo>
                    <a:pt x="7154" y="90401"/>
                    <a:pt x="6416" y="91877"/>
                    <a:pt x="6416" y="94091"/>
                  </a:cubicBezTo>
                  <a:cubicBezTo>
                    <a:pt x="6416" y="97781"/>
                    <a:pt x="5678" y="101470"/>
                    <a:pt x="5678" y="105898"/>
                  </a:cubicBezTo>
                  <a:cubicBezTo>
                    <a:pt x="5678" y="108850"/>
                    <a:pt x="6416" y="113278"/>
                    <a:pt x="7154" y="117706"/>
                  </a:cubicBezTo>
                  <a:cubicBezTo>
                    <a:pt x="7892" y="122134"/>
                    <a:pt x="8630" y="128037"/>
                    <a:pt x="10106" y="133203"/>
                  </a:cubicBezTo>
                  <a:cubicBezTo>
                    <a:pt x="10844" y="137631"/>
                    <a:pt x="12319" y="142797"/>
                    <a:pt x="13057" y="146486"/>
                  </a:cubicBezTo>
                  <a:cubicBezTo>
                    <a:pt x="13057" y="147224"/>
                    <a:pt x="13057" y="147224"/>
                    <a:pt x="13795" y="147962"/>
                  </a:cubicBezTo>
                  <a:cubicBezTo>
                    <a:pt x="14533" y="150914"/>
                    <a:pt x="15271" y="153866"/>
                    <a:pt x="16009" y="156080"/>
                  </a:cubicBezTo>
                  <a:cubicBezTo>
                    <a:pt x="13795" y="157556"/>
                    <a:pt x="12319" y="159032"/>
                    <a:pt x="10106" y="161246"/>
                  </a:cubicBezTo>
                  <a:cubicBezTo>
                    <a:pt x="7154" y="165674"/>
                    <a:pt x="4940" y="172315"/>
                    <a:pt x="5678" y="180433"/>
                  </a:cubicBezTo>
                  <a:cubicBezTo>
                    <a:pt x="8630" y="203310"/>
                    <a:pt x="22651" y="211427"/>
                    <a:pt x="27817" y="213641"/>
                  </a:cubicBezTo>
                  <a:cubicBezTo>
                    <a:pt x="29293" y="224711"/>
                    <a:pt x="35196" y="237256"/>
                    <a:pt x="44052" y="251278"/>
                  </a:cubicBezTo>
                  <a:cubicBezTo>
                    <a:pt x="53646" y="266037"/>
                    <a:pt x="66929" y="280058"/>
                    <a:pt x="83902" y="287438"/>
                  </a:cubicBezTo>
                  <a:lnTo>
                    <a:pt x="84640" y="288176"/>
                  </a:lnTo>
                  <a:cubicBezTo>
                    <a:pt x="90544" y="295556"/>
                    <a:pt x="98662" y="299983"/>
                    <a:pt x="108993" y="299983"/>
                  </a:cubicBezTo>
                  <a:cubicBezTo>
                    <a:pt x="118587" y="299983"/>
                    <a:pt x="127442" y="294818"/>
                    <a:pt x="133346" y="288176"/>
                  </a:cubicBezTo>
                  <a:lnTo>
                    <a:pt x="134084" y="287438"/>
                  </a:lnTo>
                  <a:cubicBezTo>
                    <a:pt x="150319" y="279320"/>
                    <a:pt x="163603" y="265299"/>
                    <a:pt x="173196" y="251278"/>
                  </a:cubicBezTo>
                  <a:cubicBezTo>
                    <a:pt x="182052" y="237994"/>
                    <a:pt x="187956" y="224711"/>
                    <a:pt x="189431" y="213641"/>
                  </a:cubicBezTo>
                  <a:cubicBezTo>
                    <a:pt x="193859" y="211427"/>
                    <a:pt x="208619" y="203310"/>
                    <a:pt x="211570" y="180433"/>
                  </a:cubicBezTo>
                  <a:cubicBezTo>
                    <a:pt x="212308" y="172315"/>
                    <a:pt x="210095" y="165674"/>
                    <a:pt x="207143" y="161246"/>
                  </a:cubicBezTo>
                  <a:cubicBezTo>
                    <a:pt x="204929" y="158294"/>
                    <a:pt x="203453" y="157556"/>
                    <a:pt x="201239" y="156080"/>
                  </a:cubicBezTo>
                  <a:cubicBezTo>
                    <a:pt x="201977" y="152390"/>
                    <a:pt x="203453" y="148700"/>
                    <a:pt x="204929" y="145010"/>
                  </a:cubicBezTo>
                  <a:lnTo>
                    <a:pt x="204929" y="144273"/>
                  </a:lnTo>
                  <a:cubicBezTo>
                    <a:pt x="204929" y="143535"/>
                    <a:pt x="204929" y="143535"/>
                    <a:pt x="205667" y="142797"/>
                  </a:cubicBezTo>
                  <a:cubicBezTo>
                    <a:pt x="207143" y="138369"/>
                    <a:pt x="207881" y="133941"/>
                    <a:pt x="208619" y="129513"/>
                  </a:cubicBezTo>
                  <a:cubicBezTo>
                    <a:pt x="209357" y="124347"/>
                    <a:pt x="210833" y="119182"/>
                    <a:pt x="210833" y="114754"/>
                  </a:cubicBezTo>
                  <a:cubicBezTo>
                    <a:pt x="210833" y="113278"/>
                    <a:pt x="210833" y="111802"/>
                    <a:pt x="211570" y="110326"/>
                  </a:cubicBezTo>
                  <a:cubicBezTo>
                    <a:pt x="211570" y="108112"/>
                    <a:pt x="212308" y="105160"/>
                    <a:pt x="212308" y="102946"/>
                  </a:cubicBezTo>
                  <a:cubicBezTo>
                    <a:pt x="212308" y="100732"/>
                    <a:pt x="212308" y="97781"/>
                    <a:pt x="212308" y="95567"/>
                  </a:cubicBezTo>
                  <a:cubicBezTo>
                    <a:pt x="212308" y="94091"/>
                    <a:pt x="212308" y="91877"/>
                    <a:pt x="212308" y="89663"/>
                  </a:cubicBezTo>
                  <a:lnTo>
                    <a:pt x="212308" y="88925"/>
                  </a:lnTo>
                  <a:cubicBezTo>
                    <a:pt x="212308" y="87449"/>
                    <a:pt x="211570" y="85973"/>
                    <a:pt x="211570" y="83759"/>
                  </a:cubicBezTo>
                  <a:cubicBezTo>
                    <a:pt x="211570" y="83021"/>
                    <a:pt x="211570" y="81545"/>
                    <a:pt x="210833" y="80807"/>
                  </a:cubicBezTo>
                  <a:cubicBezTo>
                    <a:pt x="210833" y="80069"/>
                    <a:pt x="210833" y="78593"/>
                    <a:pt x="210095" y="77856"/>
                  </a:cubicBezTo>
                  <a:cubicBezTo>
                    <a:pt x="210095" y="77117"/>
                    <a:pt x="210095" y="76380"/>
                    <a:pt x="209357" y="75642"/>
                  </a:cubicBezTo>
                  <a:cubicBezTo>
                    <a:pt x="209357" y="74904"/>
                    <a:pt x="208619" y="73428"/>
                    <a:pt x="208619" y="72690"/>
                  </a:cubicBezTo>
                  <a:cubicBezTo>
                    <a:pt x="208619" y="71952"/>
                    <a:pt x="207881" y="71214"/>
                    <a:pt x="207881" y="70476"/>
                  </a:cubicBezTo>
                  <a:cubicBezTo>
                    <a:pt x="207881" y="69000"/>
                    <a:pt x="207143" y="68262"/>
                    <a:pt x="207143" y="66786"/>
                  </a:cubicBezTo>
                  <a:cubicBezTo>
                    <a:pt x="207143" y="66048"/>
                    <a:pt x="207143" y="65310"/>
                    <a:pt x="206405" y="65310"/>
                  </a:cubicBezTo>
                  <a:cubicBezTo>
                    <a:pt x="205667" y="64572"/>
                    <a:pt x="205667" y="63096"/>
                    <a:pt x="204929" y="62358"/>
                  </a:cubicBezTo>
                  <a:cubicBezTo>
                    <a:pt x="204191" y="60882"/>
                    <a:pt x="203453" y="58668"/>
                    <a:pt x="202715" y="57192"/>
                  </a:cubicBezTo>
                  <a:cubicBezTo>
                    <a:pt x="202715" y="56454"/>
                    <a:pt x="201977" y="55717"/>
                    <a:pt x="201977" y="54978"/>
                  </a:cubicBezTo>
                  <a:cubicBezTo>
                    <a:pt x="201239" y="54241"/>
                    <a:pt x="200501" y="53503"/>
                    <a:pt x="200501" y="52027"/>
                  </a:cubicBezTo>
                  <a:cubicBezTo>
                    <a:pt x="199763" y="51289"/>
                    <a:pt x="199763" y="50551"/>
                    <a:pt x="199025" y="49813"/>
                  </a:cubicBezTo>
                  <a:cubicBezTo>
                    <a:pt x="198287" y="49075"/>
                    <a:pt x="197549" y="48337"/>
                    <a:pt x="197549" y="47599"/>
                  </a:cubicBezTo>
                  <a:cubicBezTo>
                    <a:pt x="196811" y="46861"/>
                    <a:pt x="196811" y="46123"/>
                    <a:pt x="196073" y="46123"/>
                  </a:cubicBezTo>
                  <a:cubicBezTo>
                    <a:pt x="195335" y="45385"/>
                    <a:pt x="194597" y="44647"/>
                    <a:pt x="193859" y="43909"/>
                  </a:cubicBezTo>
                  <a:cubicBezTo>
                    <a:pt x="193121" y="43171"/>
                    <a:pt x="192384" y="42433"/>
                    <a:pt x="191645" y="42433"/>
                  </a:cubicBezTo>
                  <a:cubicBezTo>
                    <a:pt x="190169" y="40957"/>
                    <a:pt x="188694" y="40219"/>
                    <a:pt x="187218" y="38743"/>
                  </a:cubicBezTo>
                  <a:cubicBezTo>
                    <a:pt x="180576" y="34315"/>
                    <a:pt x="173196" y="31364"/>
                    <a:pt x="164341" y="30626"/>
                  </a:cubicBezTo>
                  <a:cubicBezTo>
                    <a:pt x="162865" y="28412"/>
                    <a:pt x="159913" y="24722"/>
                    <a:pt x="156223" y="21770"/>
                  </a:cubicBezTo>
                  <a:cubicBezTo>
                    <a:pt x="154747" y="20294"/>
                    <a:pt x="153271" y="18818"/>
                    <a:pt x="151057" y="18080"/>
                  </a:cubicBezTo>
                  <a:cubicBezTo>
                    <a:pt x="151057" y="18080"/>
                    <a:pt x="150319" y="18080"/>
                    <a:pt x="150319" y="17342"/>
                  </a:cubicBezTo>
                  <a:cubicBezTo>
                    <a:pt x="150319" y="17342"/>
                    <a:pt x="149581" y="17342"/>
                    <a:pt x="149581" y="16604"/>
                  </a:cubicBezTo>
                  <a:cubicBezTo>
                    <a:pt x="148106" y="15128"/>
                    <a:pt x="145891" y="14390"/>
                    <a:pt x="143678" y="12914"/>
                  </a:cubicBezTo>
                  <a:cubicBezTo>
                    <a:pt x="137036" y="9225"/>
                    <a:pt x="129656" y="6273"/>
                    <a:pt x="119325" y="5535"/>
                  </a:cubicBezTo>
                  <a:cubicBezTo>
                    <a:pt x="118587" y="5535"/>
                    <a:pt x="118587" y="5535"/>
                    <a:pt x="117849" y="5535"/>
                  </a:cubicBezTo>
                  <a:cubicBezTo>
                    <a:pt x="117111" y="5535"/>
                    <a:pt x="117111" y="5535"/>
                    <a:pt x="116373" y="5535"/>
                  </a:cubicBezTo>
                  <a:cubicBezTo>
                    <a:pt x="113421" y="5535"/>
                    <a:pt x="110469" y="5535"/>
                    <a:pt x="107517" y="5535"/>
                  </a:cubicBezTo>
                  <a:close/>
                  <a:moveTo>
                    <a:pt x="156961" y="84497"/>
                  </a:moveTo>
                  <a:cubicBezTo>
                    <a:pt x="162865" y="94091"/>
                    <a:pt x="173196" y="113278"/>
                    <a:pt x="173196" y="133203"/>
                  </a:cubicBezTo>
                  <a:cubicBezTo>
                    <a:pt x="173196" y="144273"/>
                    <a:pt x="177624" y="161984"/>
                    <a:pt x="191645" y="163460"/>
                  </a:cubicBezTo>
                  <a:cubicBezTo>
                    <a:pt x="193121" y="164198"/>
                    <a:pt x="194597" y="165674"/>
                    <a:pt x="196073" y="167887"/>
                  </a:cubicBezTo>
                  <a:cubicBezTo>
                    <a:pt x="197549" y="170839"/>
                    <a:pt x="199025" y="173791"/>
                    <a:pt x="198287" y="178957"/>
                  </a:cubicBezTo>
                  <a:cubicBezTo>
                    <a:pt x="196073" y="199620"/>
                    <a:pt x="181314" y="203310"/>
                    <a:pt x="181314" y="203310"/>
                  </a:cubicBezTo>
                  <a:cubicBezTo>
                    <a:pt x="179100" y="204048"/>
                    <a:pt x="176886" y="206262"/>
                    <a:pt x="176886" y="208476"/>
                  </a:cubicBezTo>
                  <a:cubicBezTo>
                    <a:pt x="176148" y="215855"/>
                    <a:pt x="170982" y="229877"/>
                    <a:pt x="162127" y="243160"/>
                  </a:cubicBezTo>
                  <a:cubicBezTo>
                    <a:pt x="153271" y="256443"/>
                    <a:pt x="140726" y="269727"/>
                    <a:pt x="127442" y="275631"/>
                  </a:cubicBezTo>
                  <a:cubicBezTo>
                    <a:pt x="126704" y="276369"/>
                    <a:pt x="125228" y="277106"/>
                    <a:pt x="124490" y="277844"/>
                  </a:cubicBezTo>
                  <a:cubicBezTo>
                    <a:pt x="120801" y="283010"/>
                    <a:pt x="114897" y="286700"/>
                    <a:pt x="108255" y="286700"/>
                  </a:cubicBezTo>
                  <a:cubicBezTo>
                    <a:pt x="101613" y="286700"/>
                    <a:pt x="95710" y="283010"/>
                    <a:pt x="92020" y="277844"/>
                  </a:cubicBezTo>
                  <a:cubicBezTo>
                    <a:pt x="91282" y="277106"/>
                    <a:pt x="90544" y="276369"/>
                    <a:pt x="89068" y="275631"/>
                  </a:cubicBezTo>
                  <a:cubicBezTo>
                    <a:pt x="75785" y="268989"/>
                    <a:pt x="63239" y="256443"/>
                    <a:pt x="54384" y="243160"/>
                  </a:cubicBezTo>
                  <a:cubicBezTo>
                    <a:pt x="45528" y="229877"/>
                    <a:pt x="39624" y="215117"/>
                    <a:pt x="38886" y="208476"/>
                  </a:cubicBezTo>
                  <a:cubicBezTo>
                    <a:pt x="38886" y="206262"/>
                    <a:pt x="36672" y="204048"/>
                    <a:pt x="34458" y="203310"/>
                  </a:cubicBezTo>
                  <a:cubicBezTo>
                    <a:pt x="34458" y="203310"/>
                    <a:pt x="19699" y="198882"/>
                    <a:pt x="17485" y="178219"/>
                  </a:cubicBezTo>
                  <a:cubicBezTo>
                    <a:pt x="16747" y="173053"/>
                    <a:pt x="18223" y="170101"/>
                    <a:pt x="19699" y="167149"/>
                  </a:cubicBezTo>
                  <a:cubicBezTo>
                    <a:pt x="20437" y="165674"/>
                    <a:pt x="21175" y="164936"/>
                    <a:pt x="21913" y="164198"/>
                  </a:cubicBezTo>
                  <a:cubicBezTo>
                    <a:pt x="22651" y="164198"/>
                    <a:pt x="22651" y="164198"/>
                    <a:pt x="23389" y="164198"/>
                  </a:cubicBezTo>
                  <a:cubicBezTo>
                    <a:pt x="35934" y="164198"/>
                    <a:pt x="40362" y="142797"/>
                    <a:pt x="42576" y="132465"/>
                  </a:cubicBezTo>
                  <a:cubicBezTo>
                    <a:pt x="46266" y="112540"/>
                    <a:pt x="68405" y="106636"/>
                    <a:pt x="100138" y="106636"/>
                  </a:cubicBezTo>
                  <a:cubicBezTo>
                    <a:pt x="132608" y="108112"/>
                    <a:pt x="148843" y="94091"/>
                    <a:pt x="156961" y="84497"/>
                  </a:cubicBezTo>
                  <a:close/>
                  <a:moveTo>
                    <a:pt x="73571" y="165674"/>
                  </a:moveTo>
                  <a:cubicBezTo>
                    <a:pt x="68405" y="165674"/>
                    <a:pt x="63977" y="170101"/>
                    <a:pt x="63977" y="175267"/>
                  </a:cubicBezTo>
                  <a:cubicBezTo>
                    <a:pt x="63977" y="180433"/>
                    <a:pt x="68405" y="184861"/>
                    <a:pt x="73571" y="184861"/>
                  </a:cubicBezTo>
                  <a:cubicBezTo>
                    <a:pt x="78736" y="184861"/>
                    <a:pt x="83164" y="180433"/>
                    <a:pt x="83164" y="175267"/>
                  </a:cubicBezTo>
                  <a:cubicBezTo>
                    <a:pt x="83164" y="170101"/>
                    <a:pt x="78736" y="165674"/>
                    <a:pt x="73571" y="165674"/>
                  </a:cubicBezTo>
                  <a:close/>
                  <a:moveTo>
                    <a:pt x="144416" y="165674"/>
                  </a:moveTo>
                  <a:cubicBezTo>
                    <a:pt x="139250" y="165674"/>
                    <a:pt x="134822" y="170101"/>
                    <a:pt x="134822" y="175267"/>
                  </a:cubicBezTo>
                  <a:cubicBezTo>
                    <a:pt x="134822" y="180433"/>
                    <a:pt x="139250" y="184861"/>
                    <a:pt x="144416" y="184861"/>
                  </a:cubicBezTo>
                  <a:cubicBezTo>
                    <a:pt x="149581" y="184861"/>
                    <a:pt x="154009" y="180433"/>
                    <a:pt x="154009" y="175267"/>
                  </a:cubicBezTo>
                  <a:cubicBezTo>
                    <a:pt x="154009" y="170101"/>
                    <a:pt x="149581" y="165674"/>
                    <a:pt x="144416" y="16567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57" name="Текст 156">
            <a:extLst>
              <a:ext uri="{FF2B5EF4-FFF2-40B4-BE49-F238E27FC236}">
                <a16:creationId xmlns:a16="http://schemas.microsoft.com/office/drawing/2014/main" xmlns="" id="{52D7855F-94AB-7747-B3D4-4850B7AC4D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8933" y="2029336"/>
            <a:ext cx="1456267" cy="311367"/>
          </a:xfrm>
        </p:spPr>
        <p:txBody>
          <a:bodyPr rtlCol="0"/>
          <a:lstStyle/>
          <a:p>
            <a:pPr algn="ctr" rtl="0"/>
            <a:r>
              <a:rPr lang="ru-RU" dirty="0"/>
              <a:t>Экономика </a:t>
            </a:r>
          </a:p>
        </p:txBody>
      </p:sp>
      <p:sp>
        <p:nvSpPr>
          <p:cNvPr id="158" name="Текст 157">
            <a:extLst>
              <a:ext uri="{FF2B5EF4-FFF2-40B4-BE49-F238E27FC236}">
                <a16:creationId xmlns:a16="http://schemas.microsoft.com/office/drawing/2014/main" xmlns="" id="{34D42BD2-01C9-3540-B35E-25D2A995CA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rtlCol="0"/>
          <a:lstStyle/>
          <a:p>
            <a:pPr algn="ctr" rtl="0"/>
            <a:r>
              <a:rPr lang="ru-RU" dirty="0"/>
              <a:t>эффективность</a:t>
            </a:r>
          </a:p>
        </p:txBody>
      </p:sp>
      <p:grpSp>
        <p:nvGrpSpPr>
          <p:cNvPr id="127" name="Группа 58" title="значок горы">
            <a:extLst>
              <a:ext uri="{FF2B5EF4-FFF2-40B4-BE49-F238E27FC236}">
                <a16:creationId xmlns:a16="http://schemas.microsoft.com/office/drawing/2014/main" xmlns="" id="{3EA55F06-2A70-1842-8068-D67360D9DB96}"/>
              </a:ext>
            </a:extLst>
          </p:cNvPr>
          <p:cNvGrpSpPr>
            <a:grpSpLocks/>
          </p:cNvGrpSpPr>
          <p:nvPr/>
        </p:nvGrpSpPr>
        <p:grpSpPr bwMode="auto">
          <a:xfrm>
            <a:off x="8323797" y="1684974"/>
            <a:ext cx="404812" cy="404812"/>
            <a:chOff x="1483606" y="2439321"/>
            <a:chExt cx="405882" cy="405882"/>
          </a:xfrm>
        </p:grpSpPr>
        <p:sp>
          <p:nvSpPr>
            <p:cNvPr id="128" name="Полилиния: Фигура 43">
              <a:extLst>
                <a:ext uri="{FF2B5EF4-FFF2-40B4-BE49-F238E27FC236}">
                  <a16:creationId xmlns:a16="http://schemas.microsoft.com/office/drawing/2014/main" xmlns="" id="{F77FE989-4091-E946-9D5D-717ED77F33D3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1530097" y="2620860"/>
              <a:ext cx="309946" cy="147593"/>
            </a:xfrm>
            <a:custGeom>
              <a:avLst/>
              <a:gdLst>
                <a:gd name="T0" fmla="*/ 305149 w 309946"/>
                <a:gd name="T1" fmla="*/ 148700 h 147593"/>
                <a:gd name="T2" fmla="*/ 5535 w 309946"/>
                <a:gd name="T3" fmla="*/ 148700 h 147593"/>
                <a:gd name="T4" fmla="*/ 116230 w 309946"/>
                <a:gd name="T5" fmla="*/ 42433 h 147593"/>
                <a:gd name="T6" fmla="*/ 130989 w 309946"/>
                <a:gd name="T7" fmla="*/ 54241 h 147593"/>
                <a:gd name="T8" fmla="*/ 175267 w 309946"/>
                <a:gd name="T9" fmla="*/ 5535 h 147593"/>
                <a:gd name="T10" fmla="*/ 305149 w 309946"/>
                <a:gd name="T11" fmla="*/ 148700 h 147593"/>
                <a:gd name="T12" fmla="*/ 97043 w 309946"/>
                <a:gd name="T13" fmla="*/ 111802 h 147593"/>
                <a:gd name="T14" fmla="*/ 221759 w 309946"/>
                <a:gd name="T15" fmla="*/ 111802 h 147593"/>
                <a:gd name="T16" fmla="*/ 175267 w 309946"/>
                <a:gd name="T17" fmla="*/ 60144 h 147593"/>
                <a:gd name="T18" fmla="*/ 134679 w 309946"/>
                <a:gd name="T19" fmla="*/ 104422 h 147593"/>
                <a:gd name="T20" fmla="*/ 118444 w 309946"/>
                <a:gd name="T21" fmla="*/ 91139 h 147593"/>
                <a:gd name="T22" fmla="*/ 97043 w 309946"/>
                <a:gd name="T23" fmla="*/ 111802 h 14759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09946" h="147593">
                  <a:moveTo>
                    <a:pt x="305149" y="148700"/>
                  </a:moveTo>
                  <a:lnTo>
                    <a:pt x="5535" y="148700"/>
                  </a:lnTo>
                  <a:lnTo>
                    <a:pt x="116230" y="42433"/>
                  </a:lnTo>
                  <a:lnTo>
                    <a:pt x="130989" y="54241"/>
                  </a:lnTo>
                  <a:lnTo>
                    <a:pt x="175267" y="5535"/>
                  </a:lnTo>
                  <a:lnTo>
                    <a:pt x="305149" y="148700"/>
                  </a:lnTo>
                  <a:close/>
                  <a:moveTo>
                    <a:pt x="97043" y="111802"/>
                  </a:moveTo>
                  <a:lnTo>
                    <a:pt x="221759" y="111802"/>
                  </a:lnTo>
                  <a:lnTo>
                    <a:pt x="175267" y="60144"/>
                  </a:lnTo>
                  <a:lnTo>
                    <a:pt x="134679" y="104422"/>
                  </a:lnTo>
                  <a:lnTo>
                    <a:pt x="118444" y="91139"/>
                  </a:lnTo>
                  <a:lnTo>
                    <a:pt x="97043" y="1118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9" name="Полилиния: Фигура 44">
              <a:extLst>
                <a:ext uri="{FF2B5EF4-FFF2-40B4-BE49-F238E27FC236}">
                  <a16:creationId xmlns:a16="http://schemas.microsoft.com/office/drawing/2014/main" xmlns="" id="{93027C3E-D1B6-0545-8D23-A4510EDD976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135" y="2541160"/>
              <a:ext cx="103315" cy="103315"/>
            </a:xfrm>
            <a:custGeom>
              <a:avLst/>
              <a:gdLst>
                <a:gd name="T0" fmla="*/ 52027 w 103315"/>
                <a:gd name="T1" fmla="*/ 42433 h 103315"/>
                <a:gd name="T2" fmla="*/ 61620 w 103315"/>
                <a:gd name="T3" fmla="*/ 52027 h 103315"/>
                <a:gd name="T4" fmla="*/ 52027 w 103315"/>
                <a:gd name="T5" fmla="*/ 61620 h 103315"/>
                <a:gd name="T6" fmla="*/ 42433 w 103315"/>
                <a:gd name="T7" fmla="*/ 52027 h 103315"/>
                <a:gd name="T8" fmla="*/ 52027 w 103315"/>
                <a:gd name="T9" fmla="*/ 42433 h 103315"/>
                <a:gd name="T10" fmla="*/ 52027 w 103315"/>
                <a:gd name="T11" fmla="*/ 5535 h 103315"/>
                <a:gd name="T12" fmla="*/ 5535 w 103315"/>
                <a:gd name="T13" fmla="*/ 52027 h 103315"/>
                <a:gd name="T14" fmla="*/ 52027 w 103315"/>
                <a:gd name="T15" fmla="*/ 98519 h 103315"/>
                <a:gd name="T16" fmla="*/ 98518 w 103315"/>
                <a:gd name="T17" fmla="*/ 52027 h 103315"/>
                <a:gd name="T18" fmla="*/ 52027 w 103315"/>
                <a:gd name="T19" fmla="*/ 5535 h 103315"/>
                <a:gd name="T20" fmla="*/ 52027 w 103315"/>
                <a:gd name="T21" fmla="*/ 5535 h 1033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3315" h="103315">
                  <a:moveTo>
                    <a:pt x="52027" y="42433"/>
                  </a:moveTo>
                  <a:cubicBezTo>
                    <a:pt x="57192" y="42433"/>
                    <a:pt x="61620" y="46861"/>
                    <a:pt x="61620" y="52027"/>
                  </a:cubicBezTo>
                  <a:cubicBezTo>
                    <a:pt x="61620" y="57192"/>
                    <a:pt x="57192" y="61620"/>
                    <a:pt x="52027" y="61620"/>
                  </a:cubicBezTo>
                  <a:cubicBezTo>
                    <a:pt x="46861" y="61620"/>
                    <a:pt x="42433" y="57192"/>
                    <a:pt x="42433" y="52027"/>
                  </a:cubicBezTo>
                  <a:cubicBezTo>
                    <a:pt x="42433" y="46861"/>
                    <a:pt x="46861" y="42433"/>
                    <a:pt x="52027" y="42433"/>
                  </a:cubicBezTo>
                  <a:moveTo>
                    <a:pt x="52027" y="5535"/>
                  </a:moveTo>
                  <a:cubicBezTo>
                    <a:pt x="26198" y="5535"/>
                    <a:pt x="5535" y="26198"/>
                    <a:pt x="5535" y="52027"/>
                  </a:cubicBezTo>
                  <a:cubicBezTo>
                    <a:pt x="5535" y="77856"/>
                    <a:pt x="26198" y="98519"/>
                    <a:pt x="52027" y="98519"/>
                  </a:cubicBezTo>
                  <a:cubicBezTo>
                    <a:pt x="77855" y="98519"/>
                    <a:pt x="98518" y="77856"/>
                    <a:pt x="98518" y="52027"/>
                  </a:cubicBezTo>
                  <a:cubicBezTo>
                    <a:pt x="99257" y="26936"/>
                    <a:pt x="77855" y="5535"/>
                    <a:pt x="52027" y="553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0" name="Полилиния: Фигура 45">
              <a:extLst>
                <a:ext uri="{FF2B5EF4-FFF2-40B4-BE49-F238E27FC236}">
                  <a16:creationId xmlns:a16="http://schemas.microsoft.com/office/drawing/2014/main" xmlns="" id="{FB2304E9-4C9D-2747-AFEA-923D0285640A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606" y="2439321"/>
              <a:ext cx="405882" cy="405882"/>
            </a:xfrm>
            <a:custGeom>
              <a:avLst/>
              <a:gdLst>
                <a:gd name="T0" fmla="*/ 401824 w 405881"/>
                <a:gd name="T1" fmla="*/ 401824 h 405881"/>
                <a:gd name="T2" fmla="*/ 5535 w 405881"/>
                <a:gd name="T3" fmla="*/ 401824 h 405881"/>
                <a:gd name="T4" fmla="*/ 5535 w 405881"/>
                <a:gd name="T5" fmla="*/ 5535 h 405881"/>
                <a:gd name="T6" fmla="*/ 401824 w 405881"/>
                <a:gd name="T7" fmla="*/ 5535 h 405881"/>
                <a:gd name="T8" fmla="*/ 401824 w 405881"/>
                <a:gd name="T9" fmla="*/ 401824 h 405881"/>
                <a:gd name="T10" fmla="*/ 44647 w 405881"/>
                <a:gd name="T11" fmla="*/ 364926 h 405881"/>
                <a:gd name="T12" fmla="*/ 363450 w 405881"/>
                <a:gd name="T13" fmla="*/ 364926 h 405881"/>
                <a:gd name="T14" fmla="*/ 363450 w 405881"/>
                <a:gd name="T15" fmla="*/ 42433 h 405881"/>
                <a:gd name="T16" fmla="*/ 44647 w 405881"/>
                <a:gd name="T17" fmla="*/ 42433 h 405881"/>
                <a:gd name="T18" fmla="*/ 44647 w 405881"/>
                <a:gd name="T19" fmla="*/ 364926 h 4058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5881" h="405881">
                  <a:moveTo>
                    <a:pt x="401823" y="401823"/>
                  </a:moveTo>
                  <a:lnTo>
                    <a:pt x="5535" y="401823"/>
                  </a:lnTo>
                  <a:lnTo>
                    <a:pt x="5535" y="5535"/>
                  </a:lnTo>
                  <a:lnTo>
                    <a:pt x="401823" y="5535"/>
                  </a:lnTo>
                  <a:lnTo>
                    <a:pt x="401823" y="401823"/>
                  </a:lnTo>
                  <a:close/>
                  <a:moveTo>
                    <a:pt x="44647" y="364925"/>
                  </a:moveTo>
                  <a:lnTo>
                    <a:pt x="363449" y="364925"/>
                  </a:lnTo>
                  <a:lnTo>
                    <a:pt x="363449" y="42433"/>
                  </a:lnTo>
                  <a:lnTo>
                    <a:pt x="44647" y="42433"/>
                  </a:lnTo>
                  <a:lnTo>
                    <a:pt x="44647" y="3649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61" name="Текст 160">
            <a:extLst>
              <a:ext uri="{FF2B5EF4-FFF2-40B4-BE49-F238E27FC236}">
                <a16:creationId xmlns:a16="http://schemas.microsoft.com/office/drawing/2014/main" xmlns="" id="{D6BAA41B-ADA6-4F4F-8AE0-F97CD6618C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40133" y="2251501"/>
            <a:ext cx="1456267" cy="311367"/>
          </a:xfrm>
        </p:spPr>
        <p:txBody>
          <a:bodyPr rtlCol="0"/>
          <a:lstStyle/>
          <a:p>
            <a:pPr algn="ctr" rtl="0"/>
            <a:r>
              <a:rPr lang="ru-RU" dirty="0"/>
              <a:t>Право </a:t>
            </a:r>
          </a:p>
        </p:txBody>
      </p:sp>
      <p:sp>
        <p:nvSpPr>
          <p:cNvPr id="162" name="Текст 161">
            <a:extLst>
              <a:ext uri="{FF2B5EF4-FFF2-40B4-BE49-F238E27FC236}">
                <a16:creationId xmlns:a16="http://schemas.microsoft.com/office/drawing/2014/main" xmlns="" id="{70FCFBC1-44C5-1140-92B4-1F0568BE31B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 rtlCol="0">
            <a:normAutofit fontScale="92500"/>
          </a:bodyPr>
          <a:lstStyle/>
          <a:p>
            <a:pPr algn="ctr" rtl="0"/>
            <a:r>
              <a:rPr lang="ru-RU" dirty="0"/>
              <a:t>Нормы и регулирование</a:t>
            </a:r>
          </a:p>
        </p:txBody>
      </p:sp>
      <p:sp>
        <p:nvSpPr>
          <p:cNvPr id="123" name="Полилиния: Фигура 27" title="значок конверта">
            <a:extLst>
              <a:ext uri="{FF2B5EF4-FFF2-40B4-BE49-F238E27FC236}">
                <a16:creationId xmlns:a16="http://schemas.microsoft.com/office/drawing/2014/main" xmlns="" id="{63BC025D-2A66-144E-95C9-57514BF7DF56}"/>
              </a:ext>
            </a:extLst>
          </p:cNvPr>
          <p:cNvSpPr>
            <a:spLocks/>
          </p:cNvSpPr>
          <p:nvPr/>
        </p:nvSpPr>
        <p:spPr bwMode="auto">
          <a:xfrm>
            <a:off x="5468144" y="2808666"/>
            <a:ext cx="538162" cy="392113"/>
          </a:xfrm>
          <a:custGeom>
            <a:avLst/>
            <a:gdLst>
              <a:gd name="T0" fmla="*/ 4287 w 538715"/>
              <a:gd name="T1" fmla="*/ 391719 h 391122"/>
              <a:gd name="T2" fmla="*/ 4287 w 538715"/>
              <a:gd name="T3" fmla="*/ 4287 h 391122"/>
              <a:gd name="T4" fmla="*/ 540052 w 538715"/>
              <a:gd name="T5" fmla="*/ 4287 h 391122"/>
              <a:gd name="T6" fmla="*/ 540052 w 538715"/>
              <a:gd name="T7" fmla="*/ 391719 h 391122"/>
              <a:gd name="T8" fmla="*/ 4287 w 538715"/>
              <a:gd name="T9" fmla="*/ 391719 h 391122"/>
              <a:gd name="T10" fmla="*/ 482490 w 538715"/>
              <a:gd name="T11" fmla="*/ 357773 h 391122"/>
              <a:gd name="T12" fmla="*/ 353346 w 538715"/>
              <a:gd name="T13" fmla="*/ 232319 h 391122"/>
              <a:gd name="T14" fmla="*/ 377699 w 538715"/>
              <a:gd name="T15" fmla="*/ 208704 h 391122"/>
              <a:gd name="T16" fmla="*/ 506843 w 538715"/>
              <a:gd name="T17" fmla="*/ 334158 h 391122"/>
              <a:gd name="T18" fmla="*/ 506843 w 538715"/>
              <a:gd name="T19" fmla="*/ 53731 h 391122"/>
              <a:gd name="T20" fmla="*/ 283239 w 538715"/>
              <a:gd name="T21" fmla="*/ 224939 h 391122"/>
              <a:gd name="T22" fmla="*/ 272908 w 538715"/>
              <a:gd name="T23" fmla="*/ 228629 h 391122"/>
              <a:gd name="T24" fmla="*/ 262575 w 538715"/>
              <a:gd name="T25" fmla="*/ 224939 h 391122"/>
              <a:gd name="T26" fmla="*/ 38233 w 538715"/>
              <a:gd name="T27" fmla="*/ 54468 h 391122"/>
              <a:gd name="T28" fmla="*/ 38233 w 538715"/>
              <a:gd name="T29" fmla="*/ 334896 h 391122"/>
              <a:gd name="T30" fmla="*/ 167377 w 538715"/>
              <a:gd name="T31" fmla="*/ 209441 h 391122"/>
              <a:gd name="T32" fmla="*/ 191730 w 538715"/>
              <a:gd name="T33" fmla="*/ 233056 h 391122"/>
              <a:gd name="T34" fmla="*/ 62586 w 538715"/>
              <a:gd name="T35" fmla="*/ 358511 h 391122"/>
              <a:gd name="T36" fmla="*/ 482490 w 538715"/>
              <a:gd name="T37" fmla="*/ 357773 h 391122"/>
              <a:gd name="T38" fmla="*/ 482490 w 538715"/>
              <a:gd name="T39" fmla="*/ 357773 h 391122"/>
              <a:gd name="T40" fmla="*/ 272170 w 538715"/>
              <a:gd name="T41" fmla="*/ 190992 h 391122"/>
              <a:gd name="T42" fmla="*/ 473635 w 538715"/>
              <a:gd name="T43" fmla="*/ 36758 h 391122"/>
              <a:gd name="T44" fmla="*/ 69966 w 538715"/>
              <a:gd name="T45" fmla="*/ 36758 h 391122"/>
              <a:gd name="T46" fmla="*/ 272170 w 538715"/>
              <a:gd name="T47" fmla="*/ 190992 h 39112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538715" h="391122">
                <a:moveTo>
                  <a:pt x="4287" y="391719"/>
                </a:moveTo>
                <a:lnTo>
                  <a:pt x="4287" y="4287"/>
                </a:lnTo>
                <a:lnTo>
                  <a:pt x="540051" y="4287"/>
                </a:lnTo>
                <a:lnTo>
                  <a:pt x="540051" y="391719"/>
                </a:lnTo>
                <a:lnTo>
                  <a:pt x="4287" y="391719"/>
                </a:lnTo>
                <a:close/>
                <a:moveTo>
                  <a:pt x="482489" y="357773"/>
                </a:moveTo>
                <a:lnTo>
                  <a:pt x="353345" y="232319"/>
                </a:lnTo>
                <a:lnTo>
                  <a:pt x="377698" y="208704"/>
                </a:lnTo>
                <a:lnTo>
                  <a:pt x="506842" y="334158"/>
                </a:lnTo>
                <a:lnTo>
                  <a:pt x="506842" y="53731"/>
                </a:lnTo>
                <a:lnTo>
                  <a:pt x="283238" y="224939"/>
                </a:lnTo>
                <a:cubicBezTo>
                  <a:pt x="280286" y="227153"/>
                  <a:pt x="276597" y="228629"/>
                  <a:pt x="272907" y="228629"/>
                </a:cubicBezTo>
                <a:cubicBezTo>
                  <a:pt x="269217" y="228629"/>
                  <a:pt x="265527" y="227153"/>
                  <a:pt x="262575" y="224939"/>
                </a:cubicBezTo>
                <a:lnTo>
                  <a:pt x="38233" y="54468"/>
                </a:lnTo>
                <a:lnTo>
                  <a:pt x="38233" y="334896"/>
                </a:lnTo>
                <a:lnTo>
                  <a:pt x="167377" y="209441"/>
                </a:lnTo>
                <a:lnTo>
                  <a:pt x="191730" y="233056"/>
                </a:lnTo>
                <a:lnTo>
                  <a:pt x="62586" y="358511"/>
                </a:lnTo>
                <a:lnTo>
                  <a:pt x="482489" y="357773"/>
                </a:lnTo>
                <a:close/>
                <a:moveTo>
                  <a:pt x="272169" y="190992"/>
                </a:moveTo>
                <a:lnTo>
                  <a:pt x="473634" y="36758"/>
                </a:lnTo>
                <a:lnTo>
                  <a:pt x="69966" y="36758"/>
                </a:lnTo>
                <a:lnTo>
                  <a:pt x="272169" y="1909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7377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55" name="Текст 154">
            <a:extLst>
              <a:ext uri="{FF2B5EF4-FFF2-40B4-BE49-F238E27FC236}">
                <a16:creationId xmlns:a16="http://schemas.microsoft.com/office/drawing/2014/main" xmlns="" id="{FB5E3952-AA46-4545-B819-BE296D4281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20733" y="3314076"/>
            <a:ext cx="1456267" cy="311367"/>
          </a:xfrm>
        </p:spPr>
        <p:txBody>
          <a:bodyPr rtlCol="0"/>
          <a:lstStyle/>
          <a:p>
            <a:pPr algn="ctr" rtl="0"/>
            <a:r>
              <a:rPr lang="ru-RU" dirty="0"/>
              <a:t>Когнитивные </a:t>
            </a:r>
          </a:p>
        </p:txBody>
      </p:sp>
      <p:sp>
        <p:nvSpPr>
          <p:cNvPr id="156" name="Текст 155">
            <a:extLst>
              <a:ext uri="{FF2B5EF4-FFF2-40B4-BE49-F238E27FC236}">
                <a16:creationId xmlns:a16="http://schemas.microsoft.com/office/drawing/2014/main" xmlns="" id="{B7326333-4CBB-8145-B9AA-35CD962E60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rtlCol="0">
            <a:normAutofit fontScale="70000" lnSpcReduction="20000"/>
          </a:bodyPr>
          <a:lstStyle/>
          <a:p>
            <a:pPr algn="ctr" rtl="0"/>
            <a:r>
              <a:rPr lang="ru-RU" dirty="0"/>
              <a:t>Поведенческое моделирование</a:t>
            </a:r>
          </a:p>
        </p:txBody>
      </p:sp>
      <p:grpSp>
        <p:nvGrpSpPr>
          <p:cNvPr id="114" name="Группа 59" title="значок женщины">
            <a:extLst>
              <a:ext uri="{FF2B5EF4-FFF2-40B4-BE49-F238E27FC236}">
                <a16:creationId xmlns:a16="http://schemas.microsoft.com/office/drawing/2014/main" xmlns="" id="{29238AC7-9C68-0D41-9337-A9CE6C06CB71}"/>
              </a:ext>
            </a:extLst>
          </p:cNvPr>
          <p:cNvGrpSpPr>
            <a:grpSpLocks/>
          </p:cNvGrpSpPr>
          <p:nvPr/>
        </p:nvGrpSpPr>
        <p:grpSpPr bwMode="auto">
          <a:xfrm>
            <a:off x="9143989" y="2969489"/>
            <a:ext cx="465138" cy="463550"/>
            <a:chOff x="2324888" y="2512379"/>
            <a:chExt cx="464919" cy="464919"/>
          </a:xfrm>
        </p:grpSpPr>
        <p:sp>
          <p:nvSpPr>
            <p:cNvPr id="115" name="Полилиния: Фигура 11">
              <a:extLst>
                <a:ext uri="{FF2B5EF4-FFF2-40B4-BE49-F238E27FC236}">
                  <a16:creationId xmlns:a16="http://schemas.microsoft.com/office/drawing/2014/main" xmlns="" id="{F933AFAC-76AD-5942-9E77-CACF9A562390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2417134" y="2593556"/>
              <a:ext cx="280427" cy="302566"/>
            </a:xfrm>
            <a:custGeom>
              <a:avLst/>
              <a:gdLst>
                <a:gd name="T0" fmla="*/ 133203 w 280427"/>
                <a:gd name="T1" fmla="*/ 5535 h 302566"/>
                <a:gd name="T2" fmla="*/ 19556 w 280427"/>
                <a:gd name="T3" fmla="*/ 119920 h 302566"/>
                <a:gd name="T4" fmla="*/ 22508 w 280427"/>
                <a:gd name="T5" fmla="*/ 150176 h 302566"/>
                <a:gd name="T6" fmla="*/ 7011 w 280427"/>
                <a:gd name="T7" fmla="*/ 240208 h 302566"/>
                <a:gd name="T8" fmla="*/ 5535 w 280427"/>
                <a:gd name="T9" fmla="*/ 245374 h 302566"/>
                <a:gd name="T10" fmla="*/ 8487 w 280427"/>
                <a:gd name="T11" fmla="*/ 249802 h 302566"/>
                <a:gd name="T12" fmla="*/ 93353 w 280427"/>
                <a:gd name="T13" fmla="*/ 273417 h 302566"/>
                <a:gd name="T14" fmla="*/ 141321 w 280427"/>
                <a:gd name="T15" fmla="*/ 301459 h 302566"/>
                <a:gd name="T16" fmla="*/ 189288 w 280427"/>
                <a:gd name="T17" fmla="*/ 273417 h 302566"/>
                <a:gd name="T18" fmla="*/ 275631 w 280427"/>
                <a:gd name="T19" fmla="*/ 249802 h 302566"/>
                <a:gd name="T20" fmla="*/ 278582 w 280427"/>
                <a:gd name="T21" fmla="*/ 245374 h 302566"/>
                <a:gd name="T22" fmla="*/ 277106 w 280427"/>
                <a:gd name="T23" fmla="*/ 240208 h 302566"/>
                <a:gd name="T24" fmla="*/ 260133 w 280427"/>
                <a:gd name="T25" fmla="*/ 155342 h 302566"/>
                <a:gd name="T26" fmla="*/ 263085 w 280427"/>
                <a:gd name="T27" fmla="*/ 124347 h 302566"/>
                <a:gd name="T28" fmla="*/ 191502 w 280427"/>
                <a:gd name="T29" fmla="*/ 32102 h 302566"/>
                <a:gd name="T30" fmla="*/ 133203 w 280427"/>
                <a:gd name="T31" fmla="*/ 5535 h 302566"/>
                <a:gd name="T32" fmla="*/ 133203 w 280427"/>
                <a:gd name="T33" fmla="*/ 5535 h 302566"/>
                <a:gd name="T34" fmla="*/ 184861 w 280427"/>
                <a:gd name="T35" fmla="*/ 103684 h 302566"/>
                <a:gd name="T36" fmla="*/ 211427 w 280427"/>
                <a:gd name="T37" fmla="*/ 173791 h 302566"/>
                <a:gd name="T38" fmla="*/ 180433 w 280427"/>
                <a:gd name="T39" fmla="*/ 262347 h 302566"/>
                <a:gd name="T40" fmla="*/ 180433 w 280427"/>
                <a:gd name="T41" fmla="*/ 262347 h 302566"/>
                <a:gd name="T42" fmla="*/ 140583 w 280427"/>
                <a:gd name="T43" fmla="*/ 286700 h 302566"/>
                <a:gd name="T44" fmla="*/ 100732 w 280427"/>
                <a:gd name="T45" fmla="*/ 261609 h 302566"/>
                <a:gd name="T46" fmla="*/ 100732 w 280427"/>
                <a:gd name="T47" fmla="*/ 261609 h 302566"/>
                <a:gd name="T48" fmla="*/ 70476 w 280427"/>
                <a:gd name="T49" fmla="*/ 190764 h 302566"/>
                <a:gd name="T50" fmla="*/ 122133 w 280427"/>
                <a:gd name="T51" fmla="*/ 145748 h 302566"/>
                <a:gd name="T52" fmla="*/ 136155 w 280427"/>
                <a:gd name="T53" fmla="*/ 142059 h 302566"/>
                <a:gd name="T54" fmla="*/ 184861 w 280427"/>
                <a:gd name="T55" fmla="*/ 103684 h 302566"/>
                <a:gd name="T56" fmla="*/ 184861 w 280427"/>
                <a:gd name="T57" fmla="*/ 103684 h 302566"/>
                <a:gd name="T58" fmla="*/ 105898 w 280427"/>
                <a:gd name="T59" fmla="*/ 172315 h 302566"/>
                <a:gd name="T60" fmla="*/ 96305 w 280427"/>
                <a:gd name="T61" fmla="*/ 181909 h 302566"/>
                <a:gd name="T62" fmla="*/ 105898 w 280427"/>
                <a:gd name="T63" fmla="*/ 191502 h 302566"/>
                <a:gd name="T64" fmla="*/ 115492 w 280427"/>
                <a:gd name="T65" fmla="*/ 181909 h 302566"/>
                <a:gd name="T66" fmla="*/ 105898 w 280427"/>
                <a:gd name="T67" fmla="*/ 172315 h 302566"/>
                <a:gd name="T68" fmla="*/ 105898 w 280427"/>
                <a:gd name="T69" fmla="*/ 172315 h 302566"/>
                <a:gd name="T70" fmla="*/ 176743 w 280427"/>
                <a:gd name="T71" fmla="*/ 172315 h 302566"/>
                <a:gd name="T72" fmla="*/ 167149 w 280427"/>
                <a:gd name="T73" fmla="*/ 181909 h 302566"/>
                <a:gd name="T74" fmla="*/ 176743 w 280427"/>
                <a:gd name="T75" fmla="*/ 191502 h 302566"/>
                <a:gd name="T76" fmla="*/ 186337 w 280427"/>
                <a:gd name="T77" fmla="*/ 181909 h 302566"/>
                <a:gd name="T78" fmla="*/ 176743 w 280427"/>
                <a:gd name="T79" fmla="*/ 172315 h 302566"/>
                <a:gd name="T80" fmla="*/ 176743 w 280427"/>
                <a:gd name="T81" fmla="*/ 172315 h 3025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80427" h="302566">
                  <a:moveTo>
                    <a:pt x="133203" y="5535"/>
                  </a:moveTo>
                  <a:cubicBezTo>
                    <a:pt x="63096" y="5535"/>
                    <a:pt x="19556" y="49075"/>
                    <a:pt x="19556" y="119920"/>
                  </a:cubicBezTo>
                  <a:cubicBezTo>
                    <a:pt x="19556" y="130251"/>
                    <a:pt x="21032" y="139845"/>
                    <a:pt x="22508" y="150176"/>
                  </a:cubicBezTo>
                  <a:cubicBezTo>
                    <a:pt x="26198" y="178957"/>
                    <a:pt x="30626" y="208476"/>
                    <a:pt x="7011" y="240208"/>
                  </a:cubicBezTo>
                  <a:cubicBezTo>
                    <a:pt x="6273" y="241684"/>
                    <a:pt x="5535" y="243160"/>
                    <a:pt x="5535" y="245374"/>
                  </a:cubicBezTo>
                  <a:cubicBezTo>
                    <a:pt x="5535" y="246850"/>
                    <a:pt x="7011" y="248326"/>
                    <a:pt x="8487" y="249802"/>
                  </a:cubicBezTo>
                  <a:cubicBezTo>
                    <a:pt x="9225" y="250540"/>
                    <a:pt x="35053" y="267513"/>
                    <a:pt x="93353" y="273417"/>
                  </a:cubicBezTo>
                  <a:cubicBezTo>
                    <a:pt x="108112" y="291128"/>
                    <a:pt x="125085" y="301459"/>
                    <a:pt x="141321" y="301459"/>
                  </a:cubicBezTo>
                  <a:cubicBezTo>
                    <a:pt x="157556" y="301459"/>
                    <a:pt x="174529" y="291866"/>
                    <a:pt x="189288" y="273417"/>
                  </a:cubicBezTo>
                  <a:cubicBezTo>
                    <a:pt x="247588" y="266775"/>
                    <a:pt x="274893" y="250540"/>
                    <a:pt x="275631" y="249802"/>
                  </a:cubicBezTo>
                  <a:cubicBezTo>
                    <a:pt x="277106" y="249064"/>
                    <a:pt x="277844" y="246850"/>
                    <a:pt x="278582" y="245374"/>
                  </a:cubicBezTo>
                  <a:cubicBezTo>
                    <a:pt x="278582" y="243898"/>
                    <a:pt x="278582" y="241684"/>
                    <a:pt x="277106" y="240208"/>
                  </a:cubicBezTo>
                  <a:cubicBezTo>
                    <a:pt x="253492" y="209214"/>
                    <a:pt x="256443" y="183385"/>
                    <a:pt x="260133" y="155342"/>
                  </a:cubicBezTo>
                  <a:cubicBezTo>
                    <a:pt x="261609" y="145748"/>
                    <a:pt x="263085" y="135417"/>
                    <a:pt x="263085" y="124347"/>
                  </a:cubicBezTo>
                  <a:cubicBezTo>
                    <a:pt x="263085" y="82283"/>
                    <a:pt x="244636" y="33578"/>
                    <a:pt x="191502" y="32102"/>
                  </a:cubicBezTo>
                  <a:cubicBezTo>
                    <a:pt x="169363" y="9963"/>
                    <a:pt x="147962" y="5535"/>
                    <a:pt x="133203" y="5535"/>
                  </a:cubicBezTo>
                  <a:close/>
                  <a:moveTo>
                    <a:pt x="184861" y="103684"/>
                  </a:moveTo>
                  <a:cubicBezTo>
                    <a:pt x="194454" y="114016"/>
                    <a:pt x="211427" y="136893"/>
                    <a:pt x="211427" y="173791"/>
                  </a:cubicBezTo>
                  <a:cubicBezTo>
                    <a:pt x="211427" y="223235"/>
                    <a:pt x="181171" y="262347"/>
                    <a:pt x="180433" y="262347"/>
                  </a:cubicBezTo>
                  <a:cubicBezTo>
                    <a:pt x="167887" y="277844"/>
                    <a:pt x="153866" y="286700"/>
                    <a:pt x="140583" y="286700"/>
                  </a:cubicBezTo>
                  <a:cubicBezTo>
                    <a:pt x="127299" y="286700"/>
                    <a:pt x="113278" y="277844"/>
                    <a:pt x="100732" y="261609"/>
                  </a:cubicBezTo>
                  <a:cubicBezTo>
                    <a:pt x="100732" y="261609"/>
                    <a:pt x="70476" y="232829"/>
                    <a:pt x="70476" y="190764"/>
                  </a:cubicBezTo>
                  <a:cubicBezTo>
                    <a:pt x="70476" y="158294"/>
                    <a:pt x="97781" y="151652"/>
                    <a:pt x="122133" y="145748"/>
                  </a:cubicBezTo>
                  <a:cubicBezTo>
                    <a:pt x="127299" y="144273"/>
                    <a:pt x="131727" y="143535"/>
                    <a:pt x="136155" y="142059"/>
                  </a:cubicBezTo>
                  <a:cubicBezTo>
                    <a:pt x="165673" y="133941"/>
                    <a:pt x="178957" y="115492"/>
                    <a:pt x="184861" y="103684"/>
                  </a:cubicBezTo>
                  <a:close/>
                  <a:moveTo>
                    <a:pt x="105898" y="172315"/>
                  </a:moveTo>
                  <a:cubicBezTo>
                    <a:pt x="100732" y="172315"/>
                    <a:pt x="96305" y="176743"/>
                    <a:pt x="96305" y="181909"/>
                  </a:cubicBezTo>
                  <a:cubicBezTo>
                    <a:pt x="96305" y="187075"/>
                    <a:pt x="100732" y="191502"/>
                    <a:pt x="105898" y="191502"/>
                  </a:cubicBezTo>
                  <a:cubicBezTo>
                    <a:pt x="111064" y="191502"/>
                    <a:pt x="115492" y="187075"/>
                    <a:pt x="115492" y="181909"/>
                  </a:cubicBezTo>
                  <a:cubicBezTo>
                    <a:pt x="115492" y="176743"/>
                    <a:pt x="111064" y="172315"/>
                    <a:pt x="105898" y="172315"/>
                  </a:cubicBezTo>
                  <a:close/>
                  <a:moveTo>
                    <a:pt x="176743" y="172315"/>
                  </a:moveTo>
                  <a:cubicBezTo>
                    <a:pt x="171577" y="172315"/>
                    <a:pt x="167149" y="176743"/>
                    <a:pt x="167149" y="181909"/>
                  </a:cubicBezTo>
                  <a:cubicBezTo>
                    <a:pt x="167149" y="187075"/>
                    <a:pt x="171577" y="191502"/>
                    <a:pt x="176743" y="191502"/>
                  </a:cubicBezTo>
                  <a:cubicBezTo>
                    <a:pt x="181909" y="191502"/>
                    <a:pt x="186337" y="187075"/>
                    <a:pt x="186337" y="181909"/>
                  </a:cubicBezTo>
                  <a:cubicBezTo>
                    <a:pt x="186337" y="176743"/>
                    <a:pt x="181909" y="172315"/>
                    <a:pt x="176743" y="17231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6" name="Полилиния: Фигура 12">
              <a:extLst>
                <a:ext uri="{FF2B5EF4-FFF2-40B4-BE49-F238E27FC236}">
                  <a16:creationId xmlns:a16="http://schemas.microsoft.com/office/drawing/2014/main" xmlns="" id="{8DD84D77-8960-9445-9B7A-05EC553E0CB3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888" y="2512379"/>
              <a:ext cx="464919" cy="464919"/>
            </a:xfrm>
            <a:custGeom>
              <a:avLst/>
              <a:gdLst>
                <a:gd name="T0" fmla="*/ 463074 w 464919"/>
                <a:gd name="T1" fmla="*/ 463074 h 464919"/>
                <a:gd name="T2" fmla="*/ 5535 w 464919"/>
                <a:gd name="T3" fmla="*/ 463074 h 464919"/>
                <a:gd name="T4" fmla="*/ 5535 w 464919"/>
                <a:gd name="T5" fmla="*/ 5535 h 464919"/>
                <a:gd name="T6" fmla="*/ 463074 w 464919"/>
                <a:gd name="T7" fmla="*/ 5535 h 464919"/>
                <a:gd name="T8" fmla="*/ 463074 w 464919"/>
                <a:gd name="T9" fmla="*/ 463074 h 464919"/>
                <a:gd name="T10" fmla="*/ 50551 w 464919"/>
                <a:gd name="T11" fmla="*/ 420272 h 464919"/>
                <a:gd name="T12" fmla="*/ 418796 w 464919"/>
                <a:gd name="T13" fmla="*/ 420272 h 464919"/>
                <a:gd name="T14" fmla="*/ 418796 w 464919"/>
                <a:gd name="T15" fmla="*/ 48337 h 464919"/>
                <a:gd name="T16" fmla="*/ 50551 w 464919"/>
                <a:gd name="T17" fmla="*/ 48337 h 464919"/>
                <a:gd name="T18" fmla="*/ 50551 w 464919"/>
                <a:gd name="T19" fmla="*/ 420272 h 4649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64919" h="464919">
                  <a:moveTo>
                    <a:pt x="463074" y="463074"/>
                  </a:moveTo>
                  <a:lnTo>
                    <a:pt x="5535" y="463074"/>
                  </a:lnTo>
                  <a:lnTo>
                    <a:pt x="5535" y="5535"/>
                  </a:lnTo>
                  <a:lnTo>
                    <a:pt x="463074" y="5535"/>
                  </a:lnTo>
                  <a:lnTo>
                    <a:pt x="463074" y="463074"/>
                  </a:lnTo>
                  <a:close/>
                  <a:moveTo>
                    <a:pt x="50551" y="420272"/>
                  </a:moveTo>
                  <a:lnTo>
                    <a:pt x="418796" y="420272"/>
                  </a:lnTo>
                  <a:lnTo>
                    <a:pt x="418796" y="48337"/>
                  </a:lnTo>
                  <a:lnTo>
                    <a:pt x="50551" y="48337"/>
                  </a:lnTo>
                  <a:lnTo>
                    <a:pt x="50551" y="4202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63" name="Текст 162">
            <a:extLst>
              <a:ext uri="{FF2B5EF4-FFF2-40B4-BE49-F238E27FC236}">
                <a16:creationId xmlns:a16="http://schemas.microsoft.com/office/drawing/2014/main" xmlns="" id="{B7AADBC1-2218-0B44-8A6C-00FC3A87142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610600" y="3546901"/>
            <a:ext cx="2186031" cy="483146"/>
          </a:xfrm>
        </p:spPr>
        <p:txBody>
          <a:bodyPr rtlCol="0"/>
          <a:lstStyle/>
          <a:p>
            <a:pPr algn="ctr" rtl="0"/>
            <a:r>
              <a:rPr lang="ru-RU" sz="1200" dirty="0"/>
              <a:t>Теория коммуникаций</a:t>
            </a:r>
          </a:p>
        </p:txBody>
      </p:sp>
      <p:sp>
        <p:nvSpPr>
          <p:cNvPr id="164" name="Текст 163">
            <a:extLst>
              <a:ext uri="{FF2B5EF4-FFF2-40B4-BE49-F238E27FC236}">
                <a16:creationId xmlns:a16="http://schemas.microsoft.com/office/drawing/2014/main" xmlns="" id="{6CBA653C-FEF8-BC4A-BCB2-F47D8D87F8B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 rtlCol="0">
            <a:normAutofit/>
          </a:bodyPr>
          <a:lstStyle/>
          <a:p>
            <a:pPr algn="ctr" rtl="0"/>
            <a:r>
              <a:rPr lang="ru-RU" dirty="0"/>
              <a:t>Информация </a:t>
            </a:r>
          </a:p>
        </p:txBody>
      </p:sp>
      <p:sp>
        <p:nvSpPr>
          <p:cNvPr id="131" name="Полилиния: Фигура 22" title="Значок звезды">
            <a:extLst>
              <a:ext uri="{FF2B5EF4-FFF2-40B4-BE49-F238E27FC236}">
                <a16:creationId xmlns:a16="http://schemas.microsoft.com/office/drawing/2014/main" xmlns="" id="{406BAEC9-2733-3E4F-B489-225B992D3EFD}"/>
              </a:ext>
            </a:extLst>
          </p:cNvPr>
          <p:cNvSpPr>
            <a:spLocks/>
          </p:cNvSpPr>
          <p:nvPr/>
        </p:nvSpPr>
        <p:spPr bwMode="auto">
          <a:xfrm>
            <a:off x="4956957" y="4194203"/>
            <a:ext cx="620712" cy="590550"/>
          </a:xfrm>
          <a:custGeom>
            <a:avLst/>
            <a:gdLst>
              <a:gd name="T0" fmla="*/ 614357 w 619892"/>
              <a:gd name="T1" fmla="*/ 226925 h 590373"/>
              <a:gd name="T2" fmla="*/ 381898 w 619892"/>
              <a:gd name="T3" fmla="*/ 226925 h 590373"/>
              <a:gd name="T4" fmla="*/ 311053 w 619892"/>
              <a:gd name="T5" fmla="*/ 5535 h 590373"/>
              <a:gd name="T6" fmla="*/ 237994 w 619892"/>
              <a:gd name="T7" fmla="*/ 226187 h 590373"/>
              <a:gd name="T8" fmla="*/ 5535 w 619892"/>
              <a:gd name="T9" fmla="*/ 225449 h 590373"/>
              <a:gd name="T10" fmla="*/ 7749 w 619892"/>
              <a:gd name="T11" fmla="*/ 226925 h 590373"/>
              <a:gd name="T12" fmla="*/ 5535 w 619892"/>
              <a:gd name="T13" fmla="*/ 226925 h 590373"/>
              <a:gd name="T14" fmla="*/ 193716 w 619892"/>
              <a:gd name="T15" fmla="*/ 363449 h 590373"/>
              <a:gd name="T16" fmla="*/ 122134 w 619892"/>
              <a:gd name="T17" fmla="*/ 584839 h 590373"/>
              <a:gd name="T18" fmla="*/ 310315 w 619892"/>
              <a:gd name="T19" fmla="*/ 448315 h 590373"/>
              <a:gd name="T20" fmla="*/ 497020 w 619892"/>
              <a:gd name="T21" fmla="*/ 585576 h 590373"/>
              <a:gd name="T22" fmla="*/ 426176 w 619892"/>
              <a:gd name="T23" fmla="*/ 364186 h 590373"/>
              <a:gd name="T24" fmla="*/ 614357 w 619892"/>
              <a:gd name="T25" fmla="*/ 226925 h 590373"/>
              <a:gd name="T26" fmla="*/ 433555 w 619892"/>
              <a:gd name="T27" fmla="*/ 498496 h 590373"/>
              <a:gd name="T28" fmla="*/ 309577 w 619892"/>
              <a:gd name="T29" fmla="*/ 407727 h 590373"/>
              <a:gd name="T30" fmla="*/ 184861 w 619892"/>
              <a:gd name="T31" fmla="*/ 498496 h 590373"/>
              <a:gd name="T32" fmla="*/ 232829 w 619892"/>
              <a:gd name="T33" fmla="*/ 351641 h 590373"/>
              <a:gd name="T34" fmla="*/ 108112 w 619892"/>
              <a:gd name="T35" fmla="*/ 260871 h 590373"/>
              <a:gd name="T36" fmla="*/ 109588 w 619892"/>
              <a:gd name="T37" fmla="*/ 260871 h 590373"/>
              <a:gd name="T38" fmla="*/ 107375 w 619892"/>
              <a:gd name="T39" fmla="*/ 259395 h 590373"/>
              <a:gd name="T40" fmla="*/ 261609 w 619892"/>
              <a:gd name="T41" fmla="*/ 260133 h 590373"/>
              <a:gd name="T42" fmla="*/ 310315 w 619892"/>
              <a:gd name="T43" fmla="*/ 113278 h 590373"/>
              <a:gd name="T44" fmla="*/ 357545 w 619892"/>
              <a:gd name="T45" fmla="*/ 260871 h 590373"/>
              <a:gd name="T46" fmla="*/ 512518 w 619892"/>
              <a:gd name="T47" fmla="*/ 260871 h 590373"/>
              <a:gd name="T48" fmla="*/ 387063 w 619892"/>
              <a:gd name="T49" fmla="*/ 352379 h 590373"/>
              <a:gd name="T50" fmla="*/ 433555 w 619892"/>
              <a:gd name="T51" fmla="*/ 498496 h 590373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19892" h="590373">
                <a:moveTo>
                  <a:pt x="614357" y="226925"/>
                </a:moveTo>
                <a:lnTo>
                  <a:pt x="381898" y="226925"/>
                </a:lnTo>
                <a:lnTo>
                  <a:pt x="311053" y="5535"/>
                </a:lnTo>
                <a:lnTo>
                  <a:pt x="237994" y="226187"/>
                </a:lnTo>
                <a:lnTo>
                  <a:pt x="5535" y="225449"/>
                </a:lnTo>
                <a:lnTo>
                  <a:pt x="7749" y="226925"/>
                </a:lnTo>
                <a:lnTo>
                  <a:pt x="5535" y="226925"/>
                </a:lnTo>
                <a:lnTo>
                  <a:pt x="193716" y="363449"/>
                </a:lnTo>
                <a:lnTo>
                  <a:pt x="122134" y="584839"/>
                </a:lnTo>
                <a:lnTo>
                  <a:pt x="310315" y="448315"/>
                </a:lnTo>
                <a:lnTo>
                  <a:pt x="497020" y="585576"/>
                </a:lnTo>
                <a:lnTo>
                  <a:pt x="426176" y="364186"/>
                </a:lnTo>
                <a:lnTo>
                  <a:pt x="614357" y="226925"/>
                </a:lnTo>
                <a:close/>
                <a:moveTo>
                  <a:pt x="433555" y="498496"/>
                </a:moveTo>
                <a:lnTo>
                  <a:pt x="309577" y="407727"/>
                </a:lnTo>
                <a:lnTo>
                  <a:pt x="184861" y="498496"/>
                </a:lnTo>
                <a:lnTo>
                  <a:pt x="232829" y="351641"/>
                </a:lnTo>
                <a:lnTo>
                  <a:pt x="108112" y="260871"/>
                </a:lnTo>
                <a:lnTo>
                  <a:pt x="109588" y="260871"/>
                </a:lnTo>
                <a:lnTo>
                  <a:pt x="107375" y="259395"/>
                </a:lnTo>
                <a:lnTo>
                  <a:pt x="261609" y="260133"/>
                </a:lnTo>
                <a:lnTo>
                  <a:pt x="310315" y="113278"/>
                </a:lnTo>
                <a:lnTo>
                  <a:pt x="357545" y="260871"/>
                </a:lnTo>
                <a:lnTo>
                  <a:pt x="512518" y="260871"/>
                </a:lnTo>
                <a:lnTo>
                  <a:pt x="387063" y="352379"/>
                </a:lnTo>
                <a:lnTo>
                  <a:pt x="433555" y="4984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52" name="Текст 151">
            <a:extLst>
              <a:ext uri="{FF2B5EF4-FFF2-40B4-BE49-F238E27FC236}">
                <a16:creationId xmlns:a16="http://schemas.microsoft.com/office/drawing/2014/main" xmlns="" id="{62964362-2916-FD47-9348-BE7D044714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63533" y="4842301"/>
            <a:ext cx="1456267" cy="311367"/>
          </a:xfrm>
        </p:spPr>
        <p:txBody>
          <a:bodyPr rtlCol="0"/>
          <a:lstStyle/>
          <a:p>
            <a:pPr algn="ctr" rtl="0"/>
            <a:r>
              <a:rPr lang="ru-RU" dirty="0"/>
              <a:t>Социология, этика</a:t>
            </a:r>
          </a:p>
        </p:txBody>
      </p:sp>
      <p:sp>
        <p:nvSpPr>
          <p:cNvPr id="153" name="Текст 152">
            <a:extLst>
              <a:ext uri="{FF2B5EF4-FFF2-40B4-BE49-F238E27FC236}">
                <a16:creationId xmlns:a16="http://schemas.microsoft.com/office/drawing/2014/main" xmlns="" id="{3438E46A-B137-4243-AE7B-9C78EC9F8F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algn="ctr" rtl="0"/>
            <a:r>
              <a:rPr lang="ru-RU" dirty="0"/>
              <a:t>Правила и оценки</a:t>
            </a:r>
          </a:p>
        </p:txBody>
      </p:sp>
      <p:grpSp>
        <p:nvGrpSpPr>
          <p:cNvPr id="120" name="Группа 68" title="Значок галочки">
            <a:extLst>
              <a:ext uri="{FF2B5EF4-FFF2-40B4-BE49-F238E27FC236}">
                <a16:creationId xmlns:a16="http://schemas.microsoft.com/office/drawing/2014/main" xmlns="" id="{24D6EF27-5F27-E440-A018-33287323D7A2}"/>
              </a:ext>
            </a:extLst>
          </p:cNvPr>
          <p:cNvGrpSpPr>
            <a:grpSpLocks/>
          </p:cNvGrpSpPr>
          <p:nvPr/>
        </p:nvGrpSpPr>
        <p:grpSpPr bwMode="auto">
          <a:xfrm>
            <a:off x="9533630" y="4419600"/>
            <a:ext cx="404813" cy="406400"/>
            <a:chOff x="3761709" y="4826643"/>
            <a:chExt cx="405882" cy="405882"/>
          </a:xfrm>
        </p:grpSpPr>
        <p:sp>
          <p:nvSpPr>
            <p:cNvPr id="121" name="Полилиния: Фигура 16">
              <a:extLst>
                <a:ext uri="{FF2B5EF4-FFF2-40B4-BE49-F238E27FC236}">
                  <a16:creationId xmlns:a16="http://schemas.microsoft.com/office/drawing/2014/main" xmlns="" id="{32FAC53D-7E19-DF40-BDAF-020D7B9F7CF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709" y="4826643"/>
              <a:ext cx="405882" cy="405882"/>
            </a:xfrm>
            <a:custGeom>
              <a:avLst/>
              <a:gdLst>
                <a:gd name="T0" fmla="*/ 401824 w 405881"/>
                <a:gd name="T1" fmla="*/ 401824 h 405881"/>
                <a:gd name="T2" fmla="*/ 5535 w 405881"/>
                <a:gd name="T3" fmla="*/ 401824 h 405881"/>
                <a:gd name="T4" fmla="*/ 5535 w 405881"/>
                <a:gd name="T5" fmla="*/ 5535 h 405881"/>
                <a:gd name="T6" fmla="*/ 401824 w 405881"/>
                <a:gd name="T7" fmla="*/ 5535 h 405881"/>
                <a:gd name="T8" fmla="*/ 401824 w 405881"/>
                <a:gd name="T9" fmla="*/ 401824 h 405881"/>
                <a:gd name="T10" fmla="*/ 43909 w 405881"/>
                <a:gd name="T11" fmla="*/ 364926 h 405881"/>
                <a:gd name="T12" fmla="*/ 362712 w 405881"/>
                <a:gd name="T13" fmla="*/ 364926 h 405881"/>
                <a:gd name="T14" fmla="*/ 362712 w 405881"/>
                <a:gd name="T15" fmla="*/ 42433 h 405881"/>
                <a:gd name="T16" fmla="*/ 43909 w 405881"/>
                <a:gd name="T17" fmla="*/ 42433 h 405881"/>
                <a:gd name="T18" fmla="*/ 43909 w 405881"/>
                <a:gd name="T19" fmla="*/ 364926 h 4058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5881" h="405881">
                  <a:moveTo>
                    <a:pt x="401823" y="401823"/>
                  </a:moveTo>
                  <a:lnTo>
                    <a:pt x="5535" y="401823"/>
                  </a:lnTo>
                  <a:lnTo>
                    <a:pt x="5535" y="5535"/>
                  </a:lnTo>
                  <a:lnTo>
                    <a:pt x="401823" y="5535"/>
                  </a:lnTo>
                  <a:lnTo>
                    <a:pt x="401823" y="401823"/>
                  </a:lnTo>
                  <a:close/>
                  <a:moveTo>
                    <a:pt x="43909" y="364925"/>
                  </a:moveTo>
                  <a:lnTo>
                    <a:pt x="362711" y="364925"/>
                  </a:lnTo>
                  <a:lnTo>
                    <a:pt x="362711" y="42433"/>
                  </a:lnTo>
                  <a:lnTo>
                    <a:pt x="43909" y="42433"/>
                  </a:lnTo>
                  <a:lnTo>
                    <a:pt x="43909" y="36492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2" name="Полилиния: Фигура 17">
              <a:extLst>
                <a:ext uri="{FF2B5EF4-FFF2-40B4-BE49-F238E27FC236}">
                  <a16:creationId xmlns:a16="http://schemas.microsoft.com/office/drawing/2014/main" xmlns="" id="{CBE42868-2427-E347-B3F9-0FCDB653979F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/>
          </p:nvSpPr>
          <p:spPr bwMode="auto">
            <a:xfrm>
              <a:off x="3833292" y="4919627"/>
              <a:ext cx="258288" cy="221390"/>
            </a:xfrm>
            <a:custGeom>
              <a:avLst/>
              <a:gdLst>
                <a:gd name="T0" fmla="*/ 75642 w 258288"/>
                <a:gd name="T1" fmla="*/ 215855 h 221390"/>
                <a:gd name="T2" fmla="*/ 5535 w 258288"/>
                <a:gd name="T3" fmla="*/ 145748 h 221390"/>
                <a:gd name="T4" fmla="*/ 33577 w 258288"/>
                <a:gd name="T5" fmla="*/ 117706 h 221390"/>
                <a:gd name="T6" fmla="*/ 75642 w 258288"/>
                <a:gd name="T7" fmla="*/ 159770 h 221390"/>
                <a:gd name="T8" fmla="*/ 229877 w 258288"/>
                <a:gd name="T9" fmla="*/ 5535 h 221390"/>
                <a:gd name="T10" fmla="*/ 257919 w 258288"/>
                <a:gd name="T11" fmla="*/ 33577 h 2213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8288" h="221390">
                  <a:moveTo>
                    <a:pt x="75642" y="215855"/>
                  </a:moveTo>
                  <a:lnTo>
                    <a:pt x="5535" y="145748"/>
                  </a:lnTo>
                  <a:lnTo>
                    <a:pt x="33577" y="117706"/>
                  </a:lnTo>
                  <a:lnTo>
                    <a:pt x="75642" y="159770"/>
                  </a:lnTo>
                  <a:lnTo>
                    <a:pt x="229877" y="5535"/>
                  </a:lnTo>
                  <a:lnTo>
                    <a:pt x="257919" y="33577"/>
                  </a:lnTo>
                  <a:lnTo>
                    <a:pt x="75642" y="21585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65" name="Текст 164">
            <a:extLst>
              <a:ext uri="{FF2B5EF4-FFF2-40B4-BE49-F238E27FC236}">
                <a16:creationId xmlns:a16="http://schemas.microsoft.com/office/drawing/2014/main" xmlns="" id="{451DBFB9-279F-A840-80C6-2F0CEE8FFC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83133" y="4994701"/>
            <a:ext cx="1456267" cy="311367"/>
          </a:xfrm>
        </p:spPr>
        <p:txBody>
          <a:bodyPr rtlCol="0"/>
          <a:lstStyle/>
          <a:p>
            <a:pPr algn="ctr" rtl="0"/>
            <a:r>
              <a:rPr lang="en-US" dirty="0"/>
              <a:t>IT-</a:t>
            </a:r>
            <a:r>
              <a:rPr lang="ru-RU" dirty="0"/>
              <a:t>технологии</a:t>
            </a:r>
          </a:p>
        </p:txBody>
      </p:sp>
      <p:sp>
        <p:nvSpPr>
          <p:cNvPr id="166" name="Текст 165">
            <a:extLst>
              <a:ext uri="{FF2B5EF4-FFF2-40B4-BE49-F238E27FC236}">
                <a16:creationId xmlns:a16="http://schemas.microsoft.com/office/drawing/2014/main" xmlns="" id="{13083421-0A97-E94A-A67B-E5204BA8B4F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rtlCol="0"/>
          <a:lstStyle/>
          <a:p>
            <a:pPr algn="ctr" rtl="0"/>
            <a:r>
              <a:rPr lang="ru-RU" dirty="0"/>
              <a:t>Инструменты и среда</a:t>
            </a:r>
          </a:p>
        </p:txBody>
      </p:sp>
      <p:sp>
        <p:nvSpPr>
          <p:cNvPr id="154" name="Текст 153">
            <a:extLst>
              <a:ext uri="{FF2B5EF4-FFF2-40B4-BE49-F238E27FC236}">
                <a16:creationId xmlns:a16="http://schemas.microsoft.com/office/drawing/2014/main" xmlns="" id="{7A1488CD-081B-C14E-A53D-09F159737F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rtlCol="0"/>
          <a:lstStyle/>
          <a:p>
            <a:pPr rtl="0"/>
            <a:r>
              <a:rPr lang="ru-RU" dirty="0"/>
              <a:t>Источники моделирования сервисной составляющей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Рукописный ввод 1">
                <a:extLst>
                  <a:ext uri="{FF2B5EF4-FFF2-40B4-BE49-F238E27FC236}">
                    <a16:creationId xmlns:a16="http://schemas.microsoft.com/office/drawing/2014/main" xmlns="" id="{BCF29F3D-4FE6-4D73-3B52-2D148A5627F5}"/>
                  </a:ext>
                </a:extLst>
              </p14:cNvPr>
              <p14:cNvContentPartPr/>
              <p14:nvPr/>
            </p14:nvContentPartPr>
            <p14:xfrm>
              <a:off x="1182640" y="578500"/>
              <a:ext cx="360" cy="360"/>
            </p14:xfrm>
          </p:contentPart>
        </mc:Choice>
        <mc:Fallback xmlns="">
          <p:pic>
            <p:nvPicPr>
              <p:cNvPr id="2" name="Рукописный ввод 1">
                <a:extLst>
                  <a:ext uri="{FF2B5EF4-FFF2-40B4-BE49-F238E27FC236}">
                    <a16:creationId xmlns:a16="http://schemas.microsoft.com/office/drawing/2014/main" id="{BCF29F3D-4FE6-4D73-3B52-2D148A5627F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78320" y="57418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" name="Рукописный ввод 2">
                <a:extLst>
                  <a:ext uri="{FF2B5EF4-FFF2-40B4-BE49-F238E27FC236}">
                    <a16:creationId xmlns:a16="http://schemas.microsoft.com/office/drawing/2014/main" xmlns="" id="{E82CBEF6-A1DE-1379-1EE3-154F2BFCE309}"/>
                  </a:ext>
                </a:extLst>
              </p14:cNvPr>
              <p14:cNvContentPartPr/>
              <p14:nvPr/>
            </p14:nvContentPartPr>
            <p14:xfrm>
              <a:off x="1023160" y="217780"/>
              <a:ext cx="360" cy="360"/>
            </p14:xfrm>
          </p:contentPart>
        </mc:Choice>
        <mc:Fallback xmlns="">
          <p:pic>
            <p:nvPicPr>
              <p:cNvPr id="3" name="Рукописный ввод 2">
                <a:extLst>
                  <a:ext uri="{FF2B5EF4-FFF2-40B4-BE49-F238E27FC236}">
                    <a16:creationId xmlns:a16="http://schemas.microsoft.com/office/drawing/2014/main" id="{E82CBEF6-A1DE-1379-1EE3-154F2BFCE309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18840" y="21346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4" name="Рукописный ввод 3">
                <a:extLst>
                  <a:ext uri="{FF2B5EF4-FFF2-40B4-BE49-F238E27FC236}">
                    <a16:creationId xmlns:a16="http://schemas.microsoft.com/office/drawing/2014/main" xmlns="" id="{60A4EAA1-0F63-7F66-5378-05B87796AA6F}"/>
                  </a:ext>
                </a:extLst>
              </p14:cNvPr>
              <p14:cNvContentPartPr/>
              <p14:nvPr/>
            </p14:nvContentPartPr>
            <p14:xfrm>
              <a:off x="1098400" y="1870540"/>
              <a:ext cx="360" cy="360"/>
            </p14:xfrm>
          </p:contentPart>
        </mc:Choice>
        <mc:Fallback xmlns="">
          <p:pic>
            <p:nvPicPr>
              <p:cNvPr id="4" name="Рукописный ввод 3">
                <a:extLst>
                  <a:ext uri="{FF2B5EF4-FFF2-40B4-BE49-F238E27FC236}">
                    <a16:creationId xmlns:a16="http://schemas.microsoft.com/office/drawing/2014/main" id="{60A4EAA1-0F63-7F66-5378-05B87796AA6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94080" y="186622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5" name="Рукописный ввод 4">
                <a:extLst>
                  <a:ext uri="{FF2B5EF4-FFF2-40B4-BE49-F238E27FC236}">
                    <a16:creationId xmlns:a16="http://schemas.microsoft.com/office/drawing/2014/main" xmlns="" id="{E162A731-60DA-FC1D-EA8C-F64049B0DBC7}"/>
                  </a:ext>
                </a:extLst>
              </p14:cNvPr>
              <p14:cNvContentPartPr/>
              <p14:nvPr/>
            </p14:nvContentPartPr>
            <p14:xfrm>
              <a:off x="1014880" y="2063140"/>
              <a:ext cx="360" cy="360"/>
            </p14:xfrm>
          </p:contentPart>
        </mc:Choice>
        <mc:Fallback xmlns="">
          <p:pic>
            <p:nvPicPr>
              <p:cNvPr id="5" name="Рукописный ввод 4">
                <a:extLst>
                  <a:ext uri="{FF2B5EF4-FFF2-40B4-BE49-F238E27FC236}">
                    <a16:creationId xmlns:a16="http://schemas.microsoft.com/office/drawing/2014/main" id="{E162A731-60DA-FC1D-EA8C-F64049B0DBC7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10560" y="2058820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6" name="Рукописный ввод 5">
                <a:extLst>
                  <a:ext uri="{FF2B5EF4-FFF2-40B4-BE49-F238E27FC236}">
                    <a16:creationId xmlns:a16="http://schemas.microsoft.com/office/drawing/2014/main" xmlns="" id="{63FF52B6-726C-EB67-A276-AA6F8B868482}"/>
                  </a:ext>
                </a:extLst>
              </p14:cNvPr>
              <p14:cNvContentPartPr/>
              <p14:nvPr/>
            </p14:nvContentPartPr>
            <p14:xfrm>
              <a:off x="1761160" y="2197780"/>
              <a:ext cx="360" cy="360"/>
            </p14:xfrm>
          </p:contentPart>
        </mc:Choice>
        <mc:Fallback xmlns="">
          <p:pic>
            <p:nvPicPr>
              <p:cNvPr id="6" name="Рукописный ввод 5">
                <a:extLst>
                  <a:ext uri="{FF2B5EF4-FFF2-40B4-BE49-F238E27FC236}">
                    <a16:creationId xmlns:a16="http://schemas.microsoft.com/office/drawing/2014/main" id="{63FF52B6-726C-EB67-A276-AA6F8B868482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756840" y="2193460"/>
                <a:ext cx="9000" cy="9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9163182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xmlns="" id="{DA5F6E6D-A9ED-471F-B5D3-C84B8466506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1252363" y="16563"/>
            <a:ext cx="10937756" cy="6858000"/>
          </a:xfrm>
          <a:custGeom>
            <a:avLst/>
            <a:gdLst>
              <a:gd name="connsiteX0" fmla="*/ 1784518 w 10937756"/>
              <a:gd name="connsiteY0" fmla="*/ 0 h 6858000"/>
              <a:gd name="connsiteX1" fmla="*/ 9153238 w 10937756"/>
              <a:gd name="connsiteY1" fmla="*/ 0 h 6858000"/>
              <a:gd name="connsiteX2" fmla="*/ 9335959 w 10937756"/>
              <a:gd name="connsiteY2" fmla="*/ 174208 h 6858000"/>
              <a:gd name="connsiteX3" fmla="*/ 10937756 w 10937756"/>
              <a:gd name="connsiteY3" fmla="*/ 4041289 h 6858000"/>
              <a:gd name="connsiteX4" fmla="*/ 10277692 w 10937756"/>
              <a:gd name="connsiteY4" fmla="*/ 6648081 h 6858000"/>
              <a:gd name="connsiteX5" fmla="*/ 10156991 w 10937756"/>
              <a:gd name="connsiteY5" fmla="*/ 6858000 h 6858000"/>
              <a:gd name="connsiteX6" fmla="*/ 780765 w 10937756"/>
              <a:gd name="connsiteY6" fmla="*/ 6858000 h 6858000"/>
              <a:gd name="connsiteX7" fmla="*/ 660064 w 10937756"/>
              <a:gd name="connsiteY7" fmla="*/ 6648081 h 6858000"/>
              <a:gd name="connsiteX8" fmla="*/ 0 w 10937756"/>
              <a:gd name="connsiteY8" fmla="*/ 4041289 h 6858000"/>
              <a:gd name="connsiteX9" fmla="*/ 1601797 w 10937756"/>
              <a:gd name="connsiteY9" fmla="*/ 17420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937756" h="6858000">
                <a:moveTo>
                  <a:pt x="1784518" y="0"/>
                </a:moveTo>
                <a:lnTo>
                  <a:pt x="9153238" y="0"/>
                </a:lnTo>
                <a:lnTo>
                  <a:pt x="9335959" y="174208"/>
                </a:lnTo>
                <a:cubicBezTo>
                  <a:pt x="10325631" y="1163881"/>
                  <a:pt x="10937756" y="2531100"/>
                  <a:pt x="10937756" y="4041289"/>
                </a:cubicBezTo>
                <a:cubicBezTo>
                  <a:pt x="10937756" y="4985157"/>
                  <a:pt x="10698645" y="5873178"/>
                  <a:pt x="10277692" y="6648081"/>
                </a:cubicBezTo>
                <a:lnTo>
                  <a:pt x="10156991" y="6858000"/>
                </a:lnTo>
                <a:lnTo>
                  <a:pt x="780765" y="6858000"/>
                </a:lnTo>
                <a:lnTo>
                  <a:pt x="660064" y="6648081"/>
                </a:lnTo>
                <a:cubicBezTo>
                  <a:pt x="239111" y="5873178"/>
                  <a:pt x="0" y="4985157"/>
                  <a:pt x="0" y="4041289"/>
                </a:cubicBezTo>
                <a:cubicBezTo>
                  <a:pt x="0" y="2531100"/>
                  <a:pt x="612125" y="1163881"/>
                  <a:pt x="1601797" y="174208"/>
                </a:cubicBezTo>
                <a:close/>
              </a:path>
            </a:pathLst>
          </a:custGeom>
          <a:solidFill>
            <a:schemeClr val="bg1">
              <a:lumMod val="85000"/>
              <a:alpha val="10000"/>
            </a:schemeClr>
          </a:solidFill>
          <a:ln w="31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80" name="Овал 79">
            <a:extLst>
              <a:ext uri="{FF2B5EF4-FFF2-40B4-BE49-F238E27FC236}">
                <a16:creationId xmlns:a16="http://schemas.microsoft.com/office/drawing/2014/main" xmlns="" id="{9CD1768A-EC26-4C6A-A57C-E2300589049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6444530" y="4425522"/>
            <a:ext cx="1980000" cy="1980000"/>
          </a:xfrm>
          <a:prstGeom prst="ellipse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9" name="Овал 78">
            <a:extLst>
              <a:ext uri="{FF2B5EF4-FFF2-40B4-BE49-F238E27FC236}">
                <a16:creationId xmlns:a16="http://schemas.microsoft.com/office/drawing/2014/main" xmlns="" id="{99530F13-2430-4DB9-9637-7708CFDD87D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6444530" y="1763284"/>
            <a:ext cx="1980000" cy="1980000"/>
          </a:xfrm>
          <a:prstGeom prst="ellipse">
            <a:avLst/>
          </a:prstGeom>
          <a:solidFill>
            <a:schemeClr val="accent3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8" name="Овал 77">
            <a:extLst>
              <a:ext uri="{FF2B5EF4-FFF2-40B4-BE49-F238E27FC236}">
                <a16:creationId xmlns:a16="http://schemas.microsoft.com/office/drawing/2014/main" xmlns="" id="{A4F69744-BE77-4CA9-862A-54E574EE833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3841485" y="4435047"/>
            <a:ext cx="1980000" cy="1980000"/>
          </a:xfrm>
          <a:prstGeom prst="ellipse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7" name="Овал 76">
            <a:extLst>
              <a:ext uri="{FF2B5EF4-FFF2-40B4-BE49-F238E27FC236}">
                <a16:creationId xmlns:a16="http://schemas.microsoft.com/office/drawing/2014/main" xmlns="" id="{D8B7D5AE-8D15-48A8-BF79-863756AB227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3841485" y="1820635"/>
            <a:ext cx="1980000" cy="1980000"/>
          </a:xfrm>
          <a:prstGeom prst="ellipse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xmlns="" id="{0E26D681-9D60-4729-9BAF-8F1BC982F3C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3776663" y="1744399"/>
            <a:ext cx="4638675" cy="4638675"/>
          </a:xfrm>
          <a:prstGeom prst="ellipse">
            <a:avLst/>
          </a:prstGeom>
          <a:solidFill>
            <a:schemeClr val="bg1">
              <a:lumMod val="95000"/>
              <a:alpha val="68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налоговом сервисе</a:t>
            </a: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xmlns="" id="{EFD3B067-A626-42D5-A3BC-823CE088FD6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4636294" y="2604030"/>
            <a:ext cx="2919412" cy="291941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511546"/>
          </a:xfrm>
        </p:spPr>
        <p:txBody>
          <a:bodyPr rtlCol="0">
            <a:normAutofit fontScale="90000"/>
          </a:bodyPr>
          <a:lstStyle/>
          <a:p>
            <a:pPr rtl="0"/>
            <a:r>
              <a:rPr lang="ru-RU" sz="2400" b="1" dirty="0"/>
              <a:t>Коммуникация в цифровом интегрированном </a:t>
            </a:r>
            <a:r>
              <a:rPr lang="ru-RU" sz="2400" b="1" dirty="0" err="1"/>
              <a:t>суперсервисе</a:t>
            </a:r>
            <a:r>
              <a:rPr lang="ru-RU" sz="2400" b="1" dirty="0"/>
              <a:t>: потенциальные участники коммуникации  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11D56577-55A5-4AC0-A86E-107F2E113581}"/>
              </a:ext>
            </a:extLst>
          </p:cNvPr>
          <p:cNvSpPr/>
          <p:nvPr/>
        </p:nvSpPr>
        <p:spPr>
          <a:xfrm>
            <a:off x="634831" y="1920030"/>
            <a:ext cx="1235064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Этический и идеологический  контроль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2448265B-D934-4BC5-8F2B-2322214922F8}"/>
              </a:ext>
            </a:extLst>
          </p:cNvPr>
          <p:cNvSpPr/>
          <p:nvPr/>
        </p:nvSpPr>
        <p:spPr>
          <a:xfrm>
            <a:off x="1986563" y="1920030"/>
            <a:ext cx="1080000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Социальный контроль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DC6E30C7-762E-4337-B852-3A7938FA969D}"/>
              </a:ext>
            </a:extLst>
          </p:cNvPr>
          <p:cNvSpPr/>
          <p:nvPr/>
        </p:nvSpPr>
        <p:spPr>
          <a:xfrm>
            <a:off x="9503810" y="1920030"/>
            <a:ext cx="1979999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Межгосударственные контакты и объединения  координации налогообложения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27D54CB4-0066-4140-96B8-95930CD77276}"/>
              </a:ext>
            </a:extLst>
          </p:cNvPr>
          <p:cNvSpPr/>
          <p:nvPr/>
        </p:nvSpPr>
        <p:spPr>
          <a:xfrm>
            <a:off x="3238012" y="2383063"/>
            <a:ext cx="1080000" cy="7187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Общество и социальные институты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BDCA2203-78D4-4184-A8B1-8D6E3C28C889}"/>
              </a:ext>
            </a:extLst>
          </p:cNvPr>
          <p:cNvSpPr/>
          <p:nvPr/>
        </p:nvSpPr>
        <p:spPr>
          <a:xfrm>
            <a:off x="7643222" y="2383063"/>
            <a:ext cx="1631747" cy="7187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Субъекты налогового администрирования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DF0C271F-C24A-4E69-9D4E-298D827B8460}"/>
              </a:ext>
            </a:extLst>
          </p:cNvPr>
          <p:cNvSpPr/>
          <p:nvPr/>
        </p:nvSpPr>
        <p:spPr>
          <a:xfrm>
            <a:off x="5176668" y="3806018"/>
            <a:ext cx="1772892" cy="3905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t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E306DAE2-9434-42D9-B876-2B856348AD4A}"/>
              </a:ext>
            </a:extLst>
          </p:cNvPr>
          <p:cNvSpPr/>
          <p:nvPr/>
        </p:nvSpPr>
        <p:spPr>
          <a:xfrm>
            <a:off x="7662451" y="3701287"/>
            <a:ext cx="1080000" cy="7187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99267414-C32D-40FE-972B-255FF1A8576C}"/>
              </a:ext>
            </a:extLst>
          </p:cNvPr>
          <p:cNvSpPr/>
          <p:nvPr/>
        </p:nvSpPr>
        <p:spPr>
          <a:xfrm>
            <a:off x="5144641" y="3577525"/>
            <a:ext cx="1925263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Коммуникационный акт, реализуемый в пространстве налогового сервиса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128E41E6-B0BF-44BC-98F9-F8F486ABC7F1}"/>
              </a:ext>
            </a:extLst>
          </p:cNvPr>
          <p:cNvSpPr/>
          <p:nvPr/>
        </p:nvSpPr>
        <p:spPr>
          <a:xfrm>
            <a:off x="2986012" y="5085680"/>
            <a:ext cx="1080000" cy="7187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Рынки  и финансовые институты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758C1A8A-DB3C-4362-B041-C35C08C0195F}"/>
              </a:ext>
            </a:extLst>
          </p:cNvPr>
          <p:cNvSpPr/>
          <p:nvPr/>
        </p:nvSpPr>
        <p:spPr>
          <a:xfrm>
            <a:off x="7555706" y="5085680"/>
            <a:ext cx="1491869" cy="7187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Налогоплательщики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F29B8C93-9BD8-4437-9379-8B7C1D9398C3}"/>
              </a:ext>
            </a:extLst>
          </p:cNvPr>
          <p:cNvSpPr/>
          <p:nvPr/>
        </p:nvSpPr>
        <p:spPr>
          <a:xfrm>
            <a:off x="789895" y="5699074"/>
            <a:ext cx="1080000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Инвесторы и источники инноваций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821682DD-5C22-4B97-83AE-86C7996FB90B}"/>
              </a:ext>
            </a:extLst>
          </p:cNvPr>
          <p:cNvSpPr/>
          <p:nvPr/>
        </p:nvSpPr>
        <p:spPr>
          <a:xfrm>
            <a:off x="1990724" y="5760604"/>
            <a:ext cx="1247287" cy="827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Межотраслевые и пространственные бизнес-объединения, цепочки добавленной стоимости</a:t>
            </a: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xmlns="" id="{C772BBE7-C6D8-4BF9-BA45-DC3C6BC93DE2}"/>
              </a:ext>
            </a:extLst>
          </p:cNvPr>
          <p:cNvSpPr/>
          <p:nvPr/>
        </p:nvSpPr>
        <p:spPr>
          <a:xfrm>
            <a:off x="9503811" y="5699074"/>
            <a:ext cx="1119979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6">
              <a:hueOff val="0"/>
              <a:satOff val="0"/>
              <a:lumOff val="0"/>
              <a:alphaOff val="0"/>
            </a:schemeClr>
          </a:fillRef>
          <a:effectRef idx="0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1" name="Овал 70">
            <a:extLst>
              <a:ext uri="{FF2B5EF4-FFF2-40B4-BE49-F238E27FC236}">
                <a16:creationId xmlns:a16="http://schemas.microsoft.com/office/drawing/2014/main" xmlns="" id="{4B1786F3-631A-4BEE-8323-68AB581BC49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4952221" y="2929105"/>
            <a:ext cx="213490" cy="21349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3" name="Овал 72">
            <a:extLst>
              <a:ext uri="{FF2B5EF4-FFF2-40B4-BE49-F238E27FC236}">
                <a16:creationId xmlns:a16="http://schemas.microsoft.com/office/drawing/2014/main" xmlns="" id="{D13F3AC2-C134-452A-A575-2AEDD5FDD44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7026968" y="2948970"/>
            <a:ext cx="213490" cy="2134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4" name="Овал 73">
            <a:extLst>
              <a:ext uri="{FF2B5EF4-FFF2-40B4-BE49-F238E27FC236}">
                <a16:creationId xmlns:a16="http://schemas.microsoft.com/office/drawing/2014/main" xmlns="" id="{F74C5EF9-9647-43F7-B54F-97E136BDC2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7020654" y="5004920"/>
            <a:ext cx="213490" cy="21349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72" name="Овал 71">
            <a:extLst>
              <a:ext uri="{FF2B5EF4-FFF2-40B4-BE49-F238E27FC236}">
                <a16:creationId xmlns:a16="http://schemas.microsoft.com/office/drawing/2014/main" xmlns="" id="{E95005B3-E7A9-43A7-9097-E5C0B12D0AF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4968596" y="5007567"/>
            <a:ext cx="213490" cy="21349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08" name="Овал 107">
            <a:extLst>
              <a:ext uri="{FF2B5EF4-FFF2-40B4-BE49-F238E27FC236}">
                <a16:creationId xmlns:a16="http://schemas.microsoft.com/office/drawing/2014/main" xmlns="" id="{3D4169F2-589F-4BCC-9E24-FF0760B9A06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2984253" y="2586848"/>
            <a:ext cx="82310" cy="823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09" name="Овал 108">
            <a:extLst>
              <a:ext uri="{FF2B5EF4-FFF2-40B4-BE49-F238E27FC236}">
                <a16:creationId xmlns:a16="http://schemas.microsoft.com/office/drawing/2014/main" xmlns="" id="{2E67447B-A1BE-4C7F-841C-1D52C3E335A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1787585" y="2586848"/>
            <a:ext cx="82310" cy="823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10" name="Овал 109">
            <a:extLst>
              <a:ext uri="{FF2B5EF4-FFF2-40B4-BE49-F238E27FC236}">
                <a16:creationId xmlns:a16="http://schemas.microsoft.com/office/drawing/2014/main" xmlns="" id="{8547C6B6-4C5C-4A9B-97B5-B9DAA62B650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2984253" y="5613510"/>
            <a:ext cx="82310" cy="823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sp>
        <p:nvSpPr>
          <p:cNvPr id="111" name="Овал 110">
            <a:extLst>
              <a:ext uri="{FF2B5EF4-FFF2-40B4-BE49-F238E27FC236}">
                <a16:creationId xmlns:a16="http://schemas.microsoft.com/office/drawing/2014/main" xmlns="" id="{53B8C8A1-B8C7-423C-89FE-51E9ECFCB75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1787585" y="5613510"/>
            <a:ext cx="82310" cy="823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cxnSp>
        <p:nvCxnSpPr>
          <p:cNvPr id="113" name="Соединительная линия: изогнутая 112">
            <a:extLst>
              <a:ext uri="{FF2B5EF4-FFF2-40B4-BE49-F238E27FC236}">
                <a16:creationId xmlns:a16="http://schemas.microsoft.com/office/drawing/2014/main" xmlns="" id="{622A3281-34A2-40FA-8168-008FF717654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endCxn id="108" idx="4"/>
          </p:cNvCxnSpPr>
          <p:nvPr/>
        </p:nvCxnSpPr>
        <p:spPr>
          <a:xfrm rot="5400000" flipH="1">
            <a:off x="3678934" y="2015632"/>
            <a:ext cx="433275" cy="1740328"/>
          </a:xfrm>
          <a:prstGeom prst="bentConnector3">
            <a:avLst>
              <a:gd name="adj1" fmla="val -52761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Соединительная линия: изогнутая 114">
            <a:extLst>
              <a:ext uri="{FF2B5EF4-FFF2-40B4-BE49-F238E27FC236}">
                <a16:creationId xmlns:a16="http://schemas.microsoft.com/office/drawing/2014/main" xmlns="" id="{3776E844-35AA-4B61-8A75-6DA7A2EE915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endCxn id="109" idx="4"/>
          </p:cNvCxnSpPr>
          <p:nvPr/>
        </p:nvCxnSpPr>
        <p:spPr>
          <a:xfrm rot="5400000" flipH="1">
            <a:off x="3080600" y="1417298"/>
            <a:ext cx="433275" cy="2936996"/>
          </a:xfrm>
          <a:prstGeom prst="bentConnector3">
            <a:avLst>
              <a:gd name="adj1" fmla="val -52761"/>
            </a:avLst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Овал 118">
            <a:extLst>
              <a:ext uri="{FF2B5EF4-FFF2-40B4-BE49-F238E27FC236}">
                <a16:creationId xmlns:a16="http://schemas.microsoft.com/office/drawing/2014/main" xmlns="" id="{8A0D58C4-E3D8-4575-8BF0-37F45BB95AE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9494619" y="2586848"/>
            <a:ext cx="82310" cy="823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cxnSp>
        <p:nvCxnSpPr>
          <p:cNvPr id="122" name="Соединительная линия: изогнутая 121">
            <a:extLst>
              <a:ext uri="{FF2B5EF4-FFF2-40B4-BE49-F238E27FC236}">
                <a16:creationId xmlns:a16="http://schemas.microsoft.com/office/drawing/2014/main" xmlns="" id="{DB6E0B7E-8974-4A28-BC51-7F85C7F5B3E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endCxn id="110" idx="0"/>
          </p:cNvCxnSpPr>
          <p:nvPr/>
        </p:nvCxnSpPr>
        <p:spPr>
          <a:xfrm rot="16200000" flipH="1" flipV="1">
            <a:off x="3641086" y="4469372"/>
            <a:ext cx="528460" cy="1759816"/>
          </a:xfrm>
          <a:prstGeom prst="bentConnector3">
            <a:avLst>
              <a:gd name="adj1" fmla="val -43258"/>
            </a:avLst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Соединительная линия: изогнутая 126">
            <a:extLst>
              <a:ext uri="{FF2B5EF4-FFF2-40B4-BE49-F238E27FC236}">
                <a16:creationId xmlns:a16="http://schemas.microsoft.com/office/drawing/2014/main" xmlns="" id="{5DE74E47-57A7-4EFA-83E1-B978BCE6B9A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endCxn id="111" idx="0"/>
          </p:cNvCxnSpPr>
          <p:nvPr/>
        </p:nvCxnSpPr>
        <p:spPr>
          <a:xfrm rot="16200000" flipH="1" flipV="1">
            <a:off x="3042752" y="3871038"/>
            <a:ext cx="528460" cy="2956484"/>
          </a:xfrm>
          <a:prstGeom prst="bentConnector3">
            <a:avLst>
              <a:gd name="adj1" fmla="val -43258"/>
            </a:avLst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Соединительная линия: изогнутая 129">
            <a:extLst>
              <a:ext uri="{FF2B5EF4-FFF2-40B4-BE49-F238E27FC236}">
                <a16:creationId xmlns:a16="http://schemas.microsoft.com/office/drawing/2014/main" xmlns="" id="{FE82DF5B-C60E-4257-B370-A4B302DC12A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endCxn id="119" idx="4"/>
          </p:cNvCxnSpPr>
          <p:nvPr/>
        </p:nvCxnSpPr>
        <p:spPr>
          <a:xfrm rot="5400000" flipH="1" flipV="1">
            <a:off x="8271884" y="1838544"/>
            <a:ext cx="433275" cy="2094503"/>
          </a:xfrm>
          <a:prstGeom prst="bentConnector3">
            <a:avLst>
              <a:gd name="adj1" fmla="val -52761"/>
            </a:avLst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Овал 133">
            <a:extLst>
              <a:ext uri="{FF2B5EF4-FFF2-40B4-BE49-F238E27FC236}">
                <a16:creationId xmlns:a16="http://schemas.microsoft.com/office/drawing/2014/main" xmlns="" id="{716F090E-A9F1-4775-801C-A297BCFA7C8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9506735" y="5613510"/>
            <a:ext cx="82310" cy="8231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cxnSp>
        <p:nvCxnSpPr>
          <p:cNvPr id="135" name="Соединительная линия: изогнутая 134">
            <a:extLst>
              <a:ext uri="{FF2B5EF4-FFF2-40B4-BE49-F238E27FC236}">
                <a16:creationId xmlns:a16="http://schemas.microsoft.com/office/drawing/2014/main" xmlns="" id="{6A5E1044-F23D-446F-BE87-4E46A9AA5A3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endCxn id="134" idx="0"/>
          </p:cNvCxnSpPr>
          <p:nvPr/>
        </p:nvCxnSpPr>
        <p:spPr>
          <a:xfrm rot="16200000" flipH="1">
            <a:off x="8217455" y="4283075"/>
            <a:ext cx="528460" cy="2132410"/>
          </a:xfrm>
          <a:prstGeom prst="bentConnector3">
            <a:avLst>
              <a:gd name="adj1" fmla="val -43258"/>
            </a:avLst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9EF0E771-8D75-E601-BFBB-9FB08836EE7F}"/>
              </a:ext>
            </a:extLst>
          </p:cNvPr>
          <p:cNvSpPr/>
          <p:nvPr/>
        </p:nvSpPr>
        <p:spPr>
          <a:xfrm>
            <a:off x="9576929" y="5591283"/>
            <a:ext cx="1906880" cy="68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rtlCol="0" anchor="ctr" anchorCtr="0">
            <a:noAutofit/>
          </a:bodyPr>
          <a:lstStyle/>
          <a:p>
            <a:pPr marL="0" marR="0" lvl="0" indent="0" algn="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Негосударственная инфраструктура сопровождения налогоплательщика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p:cxnSp>
        <p:nvCxnSpPr>
          <p:cNvPr id="5" name="Прямая со стрелкой 4">
            <a:extLst>
              <a:ext uri="{FF2B5EF4-FFF2-40B4-BE49-F238E27FC236}">
                <a16:creationId xmlns:a16="http://schemas.microsoft.com/office/drawing/2014/main" xmlns="" id="{40348C06-5F90-DB32-07E3-E221A0665B86}"/>
              </a:ext>
            </a:extLst>
          </p:cNvPr>
          <p:cNvCxnSpPr>
            <a:cxnSpLocks/>
          </p:cNvCxnSpPr>
          <p:nvPr/>
        </p:nvCxnSpPr>
        <p:spPr>
          <a:xfrm flipH="1">
            <a:off x="7764615" y="4403074"/>
            <a:ext cx="1980000" cy="169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A8DDDCC-2B0F-F61E-C3A0-BFD08C9601FB}"/>
              </a:ext>
            </a:extLst>
          </p:cNvPr>
          <p:cNvSpPr txBox="1"/>
          <p:nvPr/>
        </p:nvSpPr>
        <p:spPr>
          <a:xfrm>
            <a:off x="9764785" y="4135772"/>
            <a:ext cx="19068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Цифровое пространство взаимодействия</a:t>
            </a:r>
          </a:p>
        </p:txBody>
      </p:sp>
      <p:cxnSp>
        <p:nvCxnSpPr>
          <p:cNvPr id="13" name="Соединитель: изогнутый 12">
            <a:extLst>
              <a:ext uri="{FF2B5EF4-FFF2-40B4-BE49-F238E27FC236}">
                <a16:creationId xmlns:a16="http://schemas.microsoft.com/office/drawing/2014/main" xmlns="" id="{53CE783F-65EF-51D8-38F8-B50290EF9E7D}"/>
              </a:ext>
            </a:extLst>
          </p:cNvPr>
          <p:cNvCxnSpPr/>
          <p:nvPr/>
        </p:nvCxnSpPr>
        <p:spPr>
          <a:xfrm>
            <a:off x="2355854" y="3270848"/>
            <a:ext cx="2465790" cy="1115520"/>
          </a:xfrm>
          <a:prstGeom prst="curvedConnector3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: изогнутый 14">
            <a:extLst>
              <a:ext uri="{FF2B5EF4-FFF2-40B4-BE49-F238E27FC236}">
                <a16:creationId xmlns:a16="http://schemas.microsoft.com/office/drawing/2014/main" xmlns="" id="{6E671D98-DD05-AD29-FC66-A2B2D3DB2F0B}"/>
              </a:ext>
            </a:extLst>
          </p:cNvPr>
          <p:cNvCxnSpPr/>
          <p:nvPr/>
        </p:nvCxnSpPr>
        <p:spPr>
          <a:xfrm flipV="1">
            <a:off x="7179267" y="3429000"/>
            <a:ext cx="2095702" cy="1021637"/>
          </a:xfrm>
          <a:prstGeom prst="curvedConnector3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Соединитель: изогнутый 16">
            <a:extLst>
              <a:ext uri="{FF2B5EF4-FFF2-40B4-BE49-F238E27FC236}">
                <a16:creationId xmlns:a16="http://schemas.microsoft.com/office/drawing/2014/main" xmlns="" id="{7CC3E96C-118E-6BB9-A3A1-85302C029FC3}"/>
              </a:ext>
            </a:extLst>
          </p:cNvPr>
          <p:cNvCxnSpPr/>
          <p:nvPr/>
        </p:nvCxnSpPr>
        <p:spPr>
          <a:xfrm rot="10800000" flipV="1">
            <a:off x="3290862" y="5218410"/>
            <a:ext cx="2562651" cy="964560"/>
          </a:xfrm>
          <a:prstGeom prst="curvedConnector3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Соединитель: изогнутый 28">
            <a:extLst>
              <a:ext uri="{FF2B5EF4-FFF2-40B4-BE49-F238E27FC236}">
                <a16:creationId xmlns:a16="http://schemas.microsoft.com/office/drawing/2014/main" xmlns="" id="{07C42AC8-9147-C213-2E93-B6C6A4AA88FC}"/>
              </a:ext>
            </a:extLst>
          </p:cNvPr>
          <p:cNvCxnSpPr/>
          <p:nvPr/>
        </p:nvCxnSpPr>
        <p:spPr>
          <a:xfrm>
            <a:off x="6709170" y="5123160"/>
            <a:ext cx="2033281" cy="721150"/>
          </a:xfrm>
          <a:prstGeom prst="curvedConnector3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Соединитель: уступ 35">
            <a:extLst>
              <a:ext uri="{FF2B5EF4-FFF2-40B4-BE49-F238E27FC236}">
                <a16:creationId xmlns:a16="http://schemas.microsoft.com/office/drawing/2014/main" xmlns="" id="{191F63EE-2F9B-B9A9-ABA5-061CBF114684}"/>
              </a:ext>
            </a:extLst>
          </p:cNvPr>
          <p:cNvCxnSpPr/>
          <p:nvPr/>
        </p:nvCxnSpPr>
        <p:spPr>
          <a:xfrm>
            <a:off x="2447385" y="4253971"/>
            <a:ext cx="2384100" cy="36836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8A2495ED-DD4D-3358-2810-21F1B33D73F7}"/>
              </a:ext>
            </a:extLst>
          </p:cNvPr>
          <p:cNvSpPr txBox="1"/>
          <p:nvPr/>
        </p:nvSpPr>
        <p:spPr>
          <a:xfrm>
            <a:off x="502892" y="3858773"/>
            <a:ext cx="20715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Формирование информационных активов</a:t>
            </a:r>
          </a:p>
        </p:txBody>
      </p:sp>
    </p:spTree>
    <p:extLst>
      <p:ext uri="{BB962C8B-B14F-4D97-AF65-F5344CB8AC3E}">
        <p14:creationId xmlns:p14="http://schemas.microsoft.com/office/powerpoint/2010/main" val="23124943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ECCA7A8-ABF8-4130-B205-B5514548D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sz="2550" dirty="0">
                <a:solidFill>
                  <a:schemeClr val="bg1"/>
                </a:solidFill>
              </a:rPr>
              <a:t>Информационные активы в цифровых налоговых супер-сервисах  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8C90DF30-AB8C-47BC-91D0-4F4C1606AD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9328" y="1100153"/>
            <a:ext cx="2441197" cy="475415"/>
          </a:xfrm>
        </p:spPr>
        <p:txBody>
          <a:bodyPr rtlCol="0"/>
          <a:lstStyle/>
          <a:p>
            <a:pPr algn="ctr" rtl="0"/>
            <a:r>
              <a:rPr lang="ru-RU" sz="1200" dirty="0"/>
              <a:t>Количественные базы данных налогоплательщиков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1EC11EC0-2D54-4EA3-A39B-10A154E6A6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rtlCol="0"/>
          <a:lstStyle/>
          <a:p>
            <a:pPr algn="ctr" rtl="0"/>
            <a:r>
              <a:rPr lang="ru-RU" sz="1000" b="1" dirty="0"/>
              <a:t>Базы данных отраслевых, пространственных и финансовых микро- и макро-показателей  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xmlns="" id="{817A2E57-533F-4FDB-889C-8058C96388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0999" y="1059386"/>
            <a:ext cx="2088444" cy="516182"/>
          </a:xfrm>
        </p:spPr>
        <p:txBody>
          <a:bodyPr rtlCol="0"/>
          <a:lstStyle/>
          <a:p>
            <a:pPr algn="ctr" rtl="0"/>
            <a:r>
              <a:rPr lang="ru-RU" sz="1100" b="1" dirty="0"/>
              <a:t>Налоговые и социальные «профили» налогоплательщика.   Поведенческая модель . История налоговой нагрузки</a:t>
            </a:r>
            <a:r>
              <a:rPr lang="ru-RU" sz="1100" dirty="0"/>
              <a:t>. 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B5A58065-CE3F-4C57-A205-02F581617D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03645" y="1059386"/>
            <a:ext cx="2088444" cy="516182"/>
          </a:xfrm>
        </p:spPr>
        <p:txBody>
          <a:bodyPr rtlCol="0"/>
          <a:lstStyle/>
          <a:p>
            <a:pPr rtl="0">
              <a:lnSpc>
                <a:spcPct val="100000"/>
              </a:lnSpc>
            </a:pPr>
            <a:r>
              <a:rPr lang="ru-RU" sz="1000" b="1" dirty="0"/>
              <a:t>База данных по сделке  в цифровой среде. Группа сделок – движение по цепочке поставок и добавленной стоимости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xmlns="" id="{D597327B-DAD4-457A-BEF9-25D63F8C2B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1730" y="1731568"/>
            <a:ext cx="2636800" cy="524101"/>
          </a:xfrm>
        </p:spPr>
        <p:txBody>
          <a:bodyPr rtlCol="0"/>
          <a:lstStyle/>
          <a:p>
            <a:pPr rtl="0"/>
            <a:r>
              <a:rPr lang="ru-RU" sz="1100" dirty="0">
                <a:solidFill>
                  <a:schemeClr val="bg1"/>
                </a:solidFill>
              </a:rPr>
              <a:t>Автоматизированный учет налогоплательщиков и мониторинг в он-лайн режиме</a:t>
            </a:r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xmlns="" id="{96265D20-C5E0-4D0E-B22B-6E3BFDF993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334376" y="1756521"/>
            <a:ext cx="2636800" cy="475200"/>
          </a:xfrm>
        </p:spPr>
        <p:txBody>
          <a:bodyPr rtlCol="0"/>
          <a:lstStyle/>
          <a:p>
            <a:pPr rtl="0"/>
            <a:r>
              <a:rPr lang="ru-RU" sz="1100" dirty="0">
                <a:solidFill>
                  <a:schemeClr val="tx1"/>
                </a:solidFill>
              </a:rPr>
              <a:t>Данные налогоплательщиков  в он-лайн режиме. Электронный документооборот. Он-лайн касса. Автоматический расчет налогов</a:t>
            </a:r>
          </a:p>
        </p:txBody>
      </p:sp>
      <p:sp>
        <p:nvSpPr>
          <p:cNvPr id="14" name="Текст 13">
            <a:extLst>
              <a:ext uri="{FF2B5EF4-FFF2-40B4-BE49-F238E27FC236}">
                <a16:creationId xmlns:a16="http://schemas.microsoft.com/office/drawing/2014/main" xmlns="" id="{312DC2AE-5044-4A23-A165-0742BC31E3A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27022" y="1795161"/>
            <a:ext cx="2636800" cy="156000"/>
          </a:xfrm>
        </p:spPr>
        <p:txBody>
          <a:bodyPr rtlCol="0"/>
          <a:lstStyle/>
          <a:p>
            <a:pPr rtl="0"/>
            <a:endParaRPr lang="ru-RU" sz="1100" dirty="0">
              <a:solidFill>
                <a:schemeClr val="bg1"/>
              </a:solidFill>
            </a:endParaRPr>
          </a:p>
          <a:p>
            <a:pPr rtl="0"/>
            <a:r>
              <a:rPr lang="ru-RU" sz="1100" dirty="0">
                <a:solidFill>
                  <a:schemeClr val="bg1"/>
                </a:solidFill>
              </a:rPr>
              <a:t>Цифровой налоговый паспорт</a:t>
            </a:r>
            <a:r>
              <a:rPr lang="ru-RU" sz="1050" dirty="0"/>
              <a:t>*</a:t>
            </a:r>
          </a:p>
          <a:p>
            <a:pPr rtl="0"/>
            <a:r>
              <a:rPr lang="ru-RU" sz="1100" dirty="0">
                <a:solidFill>
                  <a:schemeClr val="bg1"/>
                </a:solidFill>
              </a:rPr>
              <a:t>Цифровой паспорт социальной ответственности **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xmlns="" id="{0A3BB328-E1AE-49F3-959D-D86A5BB2A89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66384" y="1681618"/>
            <a:ext cx="2636800" cy="312000"/>
          </a:xfrm>
        </p:spPr>
        <p:txBody>
          <a:bodyPr rtlCol="0"/>
          <a:lstStyle/>
          <a:p>
            <a:pPr rtl="0"/>
            <a:endParaRPr lang="ru-RU" sz="1050" dirty="0"/>
          </a:p>
          <a:p>
            <a:pPr rtl="0"/>
            <a:r>
              <a:rPr lang="ru-RU" sz="1050" dirty="0"/>
              <a:t> </a:t>
            </a:r>
            <a:r>
              <a:rPr lang="ru-RU" sz="1100" dirty="0">
                <a:solidFill>
                  <a:schemeClr val="accent2"/>
                </a:solidFill>
              </a:rPr>
              <a:t>Цифровой интегрированный </a:t>
            </a:r>
            <a:r>
              <a:rPr lang="ru-RU" sz="1100" dirty="0" err="1">
                <a:solidFill>
                  <a:schemeClr val="accent2"/>
                </a:solidFill>
              </a:rPr>
              <a:t>суперсервис</a:t>
            </a:r>
            <a:r>
              <a:rPr lang="ru-RU" sz="1100" dirty="0">
                <a:solidFill>
                  <a:schemeClr val="accent2"/>
                </a:solidFill>
              </a:rPr>
              <a:t>:  гражданско-правовая сделка в цифровой среде: полный цикл*</a:t>
            </a:r>
          </a:p>
        </p:txBody>
      </p:sp>
      <p:sp>
        <p:nvSpPr>
          <p:cNvPr id="20" name="Текст 19">
            <a:extLst>
              <a:ext uri="{FF2B5EF4-FFF2-40B4-BE49-F238E27FC236}">
                <a16:creationId xmlns:a16="http://schemas.microsoft.com/office/drawing/2014/main" xmlns="" id="{6F7E1B58-5238-46CA-84EF-D6F53C63A0D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288096" y="3086688"/>
            <a:ext cx="3836322" cy="1539591"/>
          </a:xfrm>
        </p:spPr>
        <p:txBody>
          <a:bodyPr rtlCol="0"/>
          <a:lstStyle/>
          <a:p>
            <a:pPr rtl="0"/>
            <a:r>
              <a:rPr lang="ru-RU" sz="1800" dirty="0"/>
              <a:t>Информационные активы </a:t>
            </a:r>
            <a:r>
              <a:rPr lang="ru-RU" dirty="0"/>
              <a:t>цифровых налоговых сервисов –инновационный сервисный продукт в налоговом администрировании</a:t>
            </a:r>
          </a:p>
        </p:txBody>
      </p:sp>
      <p:pic>
        <p:nvPicPr>
          <p:cNvPr id="96" name="Рисунок 95" descr="Значок телефона">
            <a:extLst>
              <a:ext uri="{FF2B5EF4-FFF2-40B4-BE49-F238E27FC236}">
                <a16:creationId xmlns:a16="http://schemas.microsoft.com/office/drawing/2014/main" xmlns="" id="{693BE813-722C-4719-A188-43EDAA4A0F59}"/>
              </a:ext>
            </a:extLst>
          </p:cNvPr>
          <p:cNvPicPr>
            <a:picLocks noGrp="1" noChangeAspect="1"/>
          </p:cNvPicPr>
          <p:nvPr>
            <p:ph type="pic" sz="quarter" idx="32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>
            <a:fillRect/>
          </a:stretch>
        </p:blipFill>
        <p:spPr/>
      </p:pic>
      <p:pic>
        <p:nvPicPr>
          <p:cNvPr id="98" name="Рисунок 97" descr="Значок кредитной карты">
            <a:extLst>
              <a:ext uri="{FF2B5EF4-FFF2-40B4-BE49-F238E27FC236}">
                <a16:creationId xmlns:a16="http://schemas.microsoft.com/office/drawing/2014/main" xmlns="" id="{397AB53F-85C9-4ADE-91F2-F4625252E0BA}"/>
              </a:ext>
            </a:extLst>
          </p:cNvPr>
          <p:cNvPicPr>
            <a:picLocks noGrp="1" noChangeAspect="1"/>
          </p:cNvPicPr>
          <p:nvPr>
            <p:ph type="pic" sz="quarter" idx="33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>
            <a:fillRect/>
          </a:stretch>
        </p:blipFill>
        <p:spPr/>
      </p:pic>
      <p:pic>
        <p:nvPicPr>
          <p:cNvPr id="100" name="Рисунок 99" descr="Значок документов">
            <a:extLst>
              <a:ext uri="{FF2B5EF4-FFF2-40B4-BE49-F238E27FC236}">
                <a16:creationId xmlns:a16="http://schemas.microsoft.com/office/drawing/2014/main" xmlns="" id="{BAE9D837-2345-4153-A125-5941F7FD8BD5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/>
          <a:stretch>
            <a:fillRect/>
          </a:stretch>
        </p:blipFill>
        <p:spPr/>
      </p:pic>
      <p:sp>
        <p:nvSpPr>
          <p:cNvPr id="15" name="Текст 14">
            <a:extLst>
              <a:ext uri="{FF2B5EF4-FFF2-40B4-BE49-F238E27FC236}">
                <a16:creationId xmlns:a16="http://schemas.microsoft.com/office/drawing/2014/main" xmlns="" id="{6FBC7ACE-41BF-4DD1-82FB-60DBD927CEC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 rtlCol="0"/>
          <a:lstStyle/>
          <a:p>
            <a:pPr rtl="0"/>
            <a:r>
              <a:rPr lang="ru-RU" sz="1200" cap="all" dirty="0">
                <a:solidFill>
                  <a:schemeClr val="bg1"/>
                </a:solidFill>
              </a:rPr>
              <a:t>Обработка данных</a:t>
            </a:r>
          </a:p>
        </p:txBody>
      </p:sp>
      <p:sp>
        <p:nvSpPr>
          <p:cNvPr id="17" name="Текст 16">
            <a:extLst>
              <a:ext uri="{FF2B5EF4-FFF2-40B4-BE49-F238E27FC236}">
                <a16:creationId xmlns:a16="http://schemas.microsoft.com/office/drawing/2014/main" xmlns="" id="{1311BD64-F862-4C85-8A6B-37D094B46EC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 rtlCol="0"/>
          <a:lstStyle/>
          <a:p>
            <a:pPr rtl="0"/>
            <a:r>
              <a:rPr lang="en-US" sz="1050" dirty="0">
                <a:solidFill>
                  <a:schemeClr val="bg1"/>
                </a:solidFill>
              </a:rPr>
              <a:t>BIG DATA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18" name="Текст 17">
            <a:extLst>
              <a:ext uri="{FF2B5EF4-FFF2-40B4-BE49-F238E27FC236}">
                <a16:creationId xmlns:a16="http://schemas.microsoft.com/office/drawing/2014/main" xmlns="" id="{9F49BD41-5F0B-49E8-AF7C-6FE6299E9CD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 rtlCol="0"/>
          <a:lstStyle/>
          <a:p>
            <a:pPr rtl="0"/>
            <a:r>
              <a:rPr lang="ru-RU" sz="1100" dirty="0">
                <a:solidFill>
                  <a:schemeClr val="bg1"/>
                </a:solidFill>
              </a:rPr>
              <a:t>Моделирование и сценарный анализ данных</a:t>
            </a:r>
          </a:p>
        </p:txBody>
      </p:sp>
      <p:sp>
        <p:nvSpPr>
          <p:cNvPr id="16" name="Текст 15">
            <a:extLst>
              <a:ext uri="{FF2B5EF4-FFF2-40B4-BE49-F238E27FC236}">
                <a16:creationId xmlns:a16="http://schemas.microsoft.com/office/drawing/2014/main" xmlns="" id="{E964837D-B749-47C0-8859-B608F056C11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76400" y="5497154"/>
            <a:ext cx="2636800" cy="312000"/>
          </a:xfrm>
        </p:spPr>
        <p:txBody>
          <a:bodyPr rtlCol="0"/>
          <a:lstStyle/>
          <a:p>
            <a:pPr rtl="0"/>
            <a:r>
              <a:rPr lang="ru-RU" sz="1100" cap="all" dirty="0">
                <a:solidFill>
                  <a:schemeClr val="tx1"/>
                </a:solidFill>
              </a:rPr>
              <a:t>Прогнозирование данных</a:t>
            </a:r>
          </a:p>
        </p:txBody>
      </p:sp>
      <p:sp>
        <p:nvSpPr>
          <p:cNvPr id="7" name="Текст 6">
            <a:extLst>
              <a:ext uri="{FF2B5EF4-FFF2-40B4-BE49-F238E27FC236}">
                <a16:creationId xmlns:a16="http://schemas.microsoft.com/office/drawing/2014/main" xmlns="" id="{3566C738-D968-418F-8856-EF4E76E999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1730" y="6150179"/>
            <a:ext cx="2704141" cy="475200"/>
          </a:xfrm>
        </p:spPr>
        <p:txBody>
          <a:bodyPr rtlCol="0"/>
          <a:lstStyle/>
          <a:p>
            <a:pPr rtl="0"/>
            <a:r>
              <a:rPr lang="ru-RU" sz="1200" b="1" dirty="0">
                <a:solidFill>
                  <a:schemeClr val="tx1"/>
                </a:solidFill>
              </a:rPr>
              <a:t>Результаты анализа данных  и последующая обработка (статистические показатели на сайте НК РТ)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:a16="http://schemas.microsoft.com/office/drawing/2014/main" xmlns="" id="{6744FA19-886F-400B-8F4B-304605162A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18352" y="6050307"/>
            <a:ext cx="2170052" cy="575072"/>
          </a:xfrm>
        </p:spPr>
        <p:txBody>
          <a:bodyPr rtlCol="0"/>
          <a:lstStyle/>
          <a:p>
            <a:pPr rtl="0"/>
            <a:r>
              <a:rPr lang="ru-RU" sz="1100" b="1" dirty="0">
                <a:solidFill>
                  <a:schemeClr val="bg1"/>
                </a:solidFill>
              </a:rPr>
              <a:t>Анализ  больших массивов.  Налоговые органы как поставщик данных  рынкам и общественным институтам</a:t>
            </a:r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xmlns="" id="{B5A1FC36-9475-4B00-93FA-42D000222D7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10999" y="6150179"/>
            <a:ext cx="2456832" cy="475200"/>
          </a:xfrm>
        </p:spPr>
        <p:txBody>
          <a:bodyPr rtlCol="0"/>
          <a:lstStyle/>
          <a:p>
            <a:pPr rtl="0"/>
            <a:r>
              <a:rPr lang="ru-RU" sz="1000" b="1" dirty="0">
                <a:solidFill>
                  <a:schemeClr val="bg1"/>
                </a:solidFill>
              </a:rPr>
              <a:t>Сценарная  информационная поддержка налогоплательщика: моделирование поведенческой траектории.</a:t>
            </a:r>
          </a:p>
        </p:txBody>
      </p:sp>
      <p:sp>
        <p:nvSpPr>
          <p:cNvPr id="37" name="Текст 9">
            <a:extLst>
              <a:ext uri="{FF2B5EF4-FFF2-40B4-BE49-F238E27FC236}">
                <a16:creationId xmlns:a16="http://schemas.microsoft.com/office/drawing/2014/main" xmlns="" id="{071D8ADB-BFFC-BD70-C86B-3548271C2A59}"/>
              </a:ext>
            </a:extLst>
          </p:cNvPr>
          <p:cNvSpPr txBox="1">
            <a:spLocks/>
          </p:cNvSpPr>
          <p:nvPr/>
        </p:nvSpPr>
        <p:spPr>
          <a:xfrm>
            <a:off x="9256368" y="6096446"/>
            <a:ext cx="2456832" cy="4752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accent1"/>
              </a:buClr>
              <a:buSzPct val="80000"/>
              <a:buFont typeface="Corbel" pitchFamily="34" charset="0"/>
              <a:buNone/>
              <a:defRPr sz="675" kern="1200">
                <a:solidFill>
                  <a:srgbClr val="1A1A1A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675" kern="1200">
                <a:solidFill>
                  <a:schemeClr val="bg2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675" kern="1200">
                <a:solidFill>
                  <a:schemeClr val="bg2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675" kern="1200">
                <a:solidFill>
                  <a:schemeClr val="bg2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675" kern="1200">
                <a:solidFill>
                  <a:schemeClr val="bg2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SzPct val="80000"/>
              <a:buFont typeface="Corbe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>
                <a:solidFill>
                  <a:schemeClr val="tx1"/>
                </a:solidFill>
              </a:rPr>
              <a:t>Данные,  полученные с  использование нейросетей и искусственного интеллекта: поддержка стратегических решений</a:t>
            </a:r>
          </a:p>
        </p:txBody>
      </p:sp>
      <p:sp>
        <p:nvSpPr>
          <p:cNvPr id="23" name="Блок-схема: документ 22">
            <a:extLst>
              <a:ext uri="{FF2B5EF4-FFF2-40B4-BE49-F238E27FC236}">
                <a16:creationId xmlns:a16="http://schemas.microsoft.com/office/drawing/2014/main" xmlns="" id="{C1CF498F-5861-664A-A9AE-F168B0781C48}"/>
              </a:ext>
            </a:extLst>
          </p:cNvPr>
          <p:cNvSpPr/>
          <p:nvPr/>
        </p:nvSpPr>
        <p:spPr>
          <a:xfrm>
            <a:off x="8778239" y="3078062"/>
            <a:ext cx="2399719" cy="1593987"/>
          </a:xfrm>
          <a:prstGeom prst="flowChartDocumen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rgbClr val="A6B727"/>
              </a:buClr>
              <a:buSzPct val="80000"/>
              <a:buFont typeface="Corbel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Формируемые и накапливаемые в системе налоговых сервисов  данные , поставляемые заинтересованным пользователям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A1A1A"/>
              </a:solidFill>
              <a:effectLst/>
              <a:uLnTx/>
              <a:uFillTx/>
              <a:latin typeface="Corbel" panose="020B0503020204020204"/>
              <a:ea typeface="+mn-ea"/>
              <a:cs typeface="+mn-cs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26" name="Рукописный ввод 25">
                <a:extLst>
                  <a:ext uri="{FF2B5EF4-FFF2-40B4-BE49-F238E27FC236}">
                    <a16:creationId xmlns:a16="http://schemas.microsoft.com/office/drawing/2014/main" xmlns="" id="{D7C18641-ECD7-9D79-1C49-B43B9A860E28}"/>
                  </a:ext>
                </a:extLst>
              </p14:cNvPr>
              <p14:cNvContentPartPr/>
              <p14:nvPr/>
            </p14:nvContentPartPr>
            <p14:xfrm>
              <a:off x="4437152" y="3724617"/>
              <a:ext cx="548640" cy="360"/>
            </p14:xfrm>
          </p:contentPart>
        </mc:Choice>
        <mc:Fallback xmlns="">
          <p:pic>
            <p:nvPicPr>
              <p:cNvPr id="26" name="Рукописный ввод 25">
                <a:extLst>
                  <a:ext uri="{FF2B5EF4-FFF2-40B4-BE49-F238E27FC236}">
                    <a16:creationId xmlns:a16="http://schemas.microsoft.com/office/drawing/2014/main" id="{D7C18641-ECD7-9D79-1C49-B43B9A860E28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383152" y="3616617"/>
                <a:ext cx="65628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27" name="Рукописный ввод 26">
                <a:extLst>
                  <a:ext uri="{FF2B5EF4-FFF2-40B4-BE49-F238E27FC236}">
                    <a16:creationId xmlns:a16="http://schemas.microsoft.com/office/drawing/2014/main" xmlns="" id="{69AE6C64-6A9F-1513-F98D-4CC75108EA84}"/>
                  </a:ext>
                </a:extLst>
              </p14:cNvPr>
              <p14:cNvContentPartPr/>
              <p14:nvPr/>
            </p14:nvContentPartPr>
            <p14:xfrm>
              <a:off x="4475312" y="3657297"/>
              <a:ext cx="360" cy="360"/>
            </p14:xfrm>
          </p:contentPart>
        </mc:Choice>
        <mc:Fallback xmlns="">
          <p:pic>
            <p:nvPicPr>
              <p:cNvPr id="27" name="Рукописный ввод 26">
                <a:extLst>
                  <a:ext uri="{FF2B5EF4-FFF2-40B4-BE49-F238E27FC236}">
                    <a16:creationId xmlns:a16="http://schemas.microsoft.com/office/drawing/2014/main" id="{69AE6C64-6A9F-1513-F98D-4CC75108EA84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421312" y="3549297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28" name="Рукописный ввод 27">
                <a:extLst>
                  <a:ext uri="{FF2B5EF4-FFF2-40B4-BE49-F238E27FC236}">
                    <a16:creationId xmlns:a16="http://schemas.microsoft.com/office/drawing/2014/main" xmlns="" id="{06911EF0-5538-53C4-7D80-4BEAECA0C691}"/>
                  </a:ext>
                </a:extLst>
              </p14:cNvPr>
              <p14:cNvContentPartPr/>
              <p14:nvPr/>
            </p14:nvContentPartPr>
            <p14:xfrm>
              <a:off x="6044192" y="3945297"/>
              <a:ext cx="1134720" cy="20520"/>
            </p14:xfrm>
          </p:contentPart>
        </mc:Choice>
        <mc:Fallback xmlns="">
          <p:pic>
            <p:nvPicPr>
              <p:cNvPr id="28" name="Рукописный ввод 27">
                <a:extLst>
                  <a:ext uri="{FF2B5EF4-FFF2-40B4-BE49-F238E27FC236}">
                    <a16:creationId xmlns:a16="http://schemas.microsoft.com/office/drawing/2014/main" id="{06911EF0-5538-53C4-7D80-4BEAECA0C691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039872" y="3940977"/>
                <a:ext cx="1143360" cy="29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29" name="Рукописный ввод 28">
                <a:extLst>
                  <a:ext uri="{FF2B5EF4-FFF2-40B4-BE49-F238E27FC236}">
                    <a16:creationId xmlns:a16="http://schemas.microsoft.com/office/drawing/2014/main" xmlns="" id="{691321FC-B783-7EC5-2522-836658481CBE}"/>
                  </a:ext>
                </a:extLst>
              </p14:cNvPr>
              <p14:cNvContentPartPr/>
              <p14:nvPr/>
            </p14:nvContentPartPr>
            <p14:xfrm>
              <a:off x="6034832" y="3916857"/>
              <a:ext cx="866520" cy="360"/>
            </p14:xfrm>
          </p:contentPart>
        </mc:Choice>
        <mc:Fallback xmlns="">
          <p:pic>
            <p:nvPicPr>
              <p:cNvPr id="29" name="Рукописный ввод 28">
                <a:extLst>
                  <a:ext uri="{FF2B5EF4-FFF2-40B4-BE49-F238E27FC236}">
                    <a16:creationId xmlns:a16="http://schemas.microsoft.com/office/drawing/2014/main" id="{691321FC-B783-7EC5-2522-836658481CBE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5980832" y="3809217"/>
                <a:ext cx="97416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30" name="Рукописный ввод 29">
                <a:extLst>
                  <a:ext uri="{FF2B5EF4-FFF2-40B4-BE49-F238E27FC236}">
                    <a16:creationId xmlns:a16="http://schemas.microsoft.com/office/drawing/2014/main" xmlns="" id="{98E81721-CDC0-7F43-0C9F-617389D554EA}"/>
                  </a:ext>
                </a:extLst>
              </p14:cNvPr>
              <p14:cNvContentPartPr/>
              <p14:nvPr/>
            </p14:nvContentPartPr>
            <p14:xfrm>
              <a:off x="6987392" y="3859617"/>
              <a:ext cx="360" cy="360"/>
            </p14:xfrm>
          </p:contentPart>
        </mc:Choice>
        <mc:Fallback xmlns="">
          <p:pic>
            <p:nvPicPr>
              <p:cNvPr id="30" name="Рукописный ввод 29">
                <a:extLst>
                  <a:ext uri="{FF2B5EF4-FFF2-40B4-BE49-F238E27FC236}">
                    <a16:creationId xmlns:a16="http://schemas.microsoft.com/office/drawing/2014/main" id="{98E81721-CDC0-7F43-0C9F-617389D554EA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933752" y="3751617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31" name="Рукописный ввод 30">
                <a:extLst>
                  <a:ext uri="{FF2B5EF4-FFF2-40B4-BE49-F238E27FC236}">
                    <a16:creationId xmlns:a16="http://schemas.microsoft.com/office/drawing/2014/main" xmlns="" id="{CF644E30-1161-AC4E-DD42-97A95304C4C2}"/>
                  </a:ext>
                </a:extLst>
              </p14:cNvPr>
              <p14:cNvContentPartPr/>
              <p14:nvPr/>
            </p14:nvContentPartPr>
            <p14:xfrm>
              <a:off x="9230192" y="3916857"/>
              <a:ext cx="1444320" cy="49680"/>
            </p14:xfrm>
          </p:contentPart>
        </mc:Choice>
        <mc:Fallback xmlns="">
          <p:pic>
            <p:nvPicPr>
              <p:cNvPr id="31" name="Рукописный ввод 30">
                <a:extLst>
                  <a:ext uri="{FF2B5EF4-FFF2-40B4-BE49-F238E27FC236}">
                    <a16:creationId xmlns:a16="http://schemas.microsoft.com/office/drawing/2014/main" id="{CF644E30-1161-AC4E-DD42-97A95304C4C2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9176552" y="3809217"/>
                <a:ext cx="1551960" cy="265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32" name="Рукописный ввод 31">
                <a:extLst>
                  <a:ext uri="{FF2B5EF4-FFF2-40B4-BE49-F238E27FC236}">
                    <a16:creationId xmlns:a16="http://schemas.microsoft.com/office/drawing/2014/main" xmlns="" id="{2BB4E3CE-4DF8-B85F-3E95-9ABD6A2DBE01}"/>
                  </a:ext>
                </a:extLst>
              </p14:cNvPr>
              <p14:cNvContentPartPr/>
              <p14:nvPr/>
            </p14:nvContentPartPr>
            <p14:xfrm>
              <a:off x="6246512" y="4080657"/>
              <a:ext cx="1704600" cy="30240"/>
            </p14:xfrm>
          </p:contentPart>
        </mc:Choice>
        <mc:Fallback xmlns="">
          <p:pic>
            <p:nvPicPr>
              <p:cNvPr id="32" name="Рукописный ввод 31">
                <a:extLst>
                  <a:ext uri="{FF2B5EF4-FFF2-40B4-BE49-F238E27FC236}">
                    <a16:creationId xmlns:a16="http://schemas.microsoft.com/office/drawing/2014/main" id="{2BB4E3CE-4DF8-B85F-3E95-9ABD6A2DBE01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192512" y="3973017"/>
                <a:ext cx="1812240" cy="245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2">
            <p14:nvContentPartPr>
              <p14:cNvPr id="33" name="Рукописный ввод 32">
                <a:extLst>
                  <a:ext uri="{FF2B5EF4-FFF2-40B4-BE49-F238E27FC236}">
                    <a16:creationId xmlns:a16="http://schemas.microsoft.com/office/drawing/2014/main" xmlns="" id="{D791A201-B318-5A31-2E7B-A5430046C603}"/>
                  </a:ext>
                </a:extLst>
              </p14:cNvPr>
              <p14:cNvContentPartPr/>
              <p14:nvPr/>
            </p14:nvContentPartPr>
            <p14:xfrm>
              <a:off x="10241072" y="2193897"/>
              <a:ext cx="360" cy="360"/>
            </p14:xfrm>
          </p:contentPart>
        </mc:Choice>
        <mc:Fallback xmlns="">
          <p:pic>
            <p:nvPicPr>
              <p:cNvPr id="33" name="Рукописный ввод 32">
                <a:extLst>
                  <a:ext uri="{FF2B5EF4-FFF2-40B4-BE49-F238E27FC236}">
                    <a16:creationId xmlns:a16="http://schemas.microsoft.com/office/drawing/2014/main" id="{D791A201-B318-5A31-2E7B-A5430046C603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10187072" y="2086257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4">
            <p14:nvContentPartPr>
              <p14:cNvPr id="34" name="Рукописный ввод 33">
                <a:extLst>
                  <a:ext uri="{FF2B5EF4-FFF2-40B4-BE49-F238E27FC236}">
                    <a16:creationId xmlns:a16="http://schemas.microsoft.com/office/drawing/2014/main" xmlns="" id="{DD905952-5E53-0B1C-DC29-449155D6E60F}"/>
                  </a:ext>
                </a:extLst>
              </p14:cNvPr>
              <p14:cNvContentPartPr/>
              <p14:nvPr/>
            </p14:nvContentPartPr>
            <p14:xfrm>
              <a:off x="9990512" y="1992297"/>
              <a:ext cx="360" cy="360"/>
            </p14:xfrm>
          </p:contentPart>
        </mc:Choice>
        <mc:Fallback xmlns="">
          <p:pic>
            <p:nvPicPr>
              <p:cNvPr id="34" name="Рукописный ввод 33">
                <a:extLst>
                  <a:ext uri="{FF2B5EF4-FFF2-40B4-BE49-F238E27FC236}">
                    <a16:creationId xmlns:a16="http://schemas.microsoft.com/office/drawing/2014/main" id="{DD905952-5E53-0B1C-DC29-449155D6E60F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9936872" y="1884297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5">
            <p14:nvContentPartPr>
              <p14:cNvPr id="35" name="Рукописный ввод 34">
                <a:extLst>
                  <a:ext uri="{FF2B5EF4-FFF2-40B4-BE49-F238E27FC236}">
                    <a16:creationId xmlns:a16="http://schemas.microsoft.com/office/drawing/2014/main" xmlns="" id="{D44F50ED-3463-81A7-9F8B-0AAAC22C76E8}"/>
                  </a:ext>
                </a:extLst>
              </p14:cNvPr>
              <p14:cNvContentPartPr/>
              <p14:nvPr/>
            </p14:nvContentPartPr>
            <p14:xfrm>
              <a:off x="9605672" y="1837857"/>
              <a:ext cx="360" cy="360"/>
            </p14:xfrm>
          </p:contentPart>
        </mc:Choice>
        <mc:Fallback xmlns="">
          <p:pic>
            <p:nvPicPr>
              <p:cNvPr id="35" name="Рукописный ввод 34">
                <a:extLst>
                  <a:ext uri="{FF2B5EF4-FFF2-40B4-BE49-F238E27FC236}">
                    <a16:creationId xmlns:a16="http://schemas.microsoft.com/office/drawing/2014/main" id="{D44F50ED-3463-81A7-9F8B-0AAAC22C76E8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9552032" y="1730217"/>
                <a:ext cx="108000" cy="216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3013258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5AC86D3-8FD1-4F47-A319-7D0542E48B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102045"/>
            <a:ext cx="10058400" cy="1450757"/>
          </a:xfrm>
        </p:spPr>
        <p:txBody>
          <a:bodyPr vert="horz" lIns="91440" tIns="45720" rIns="91440" bIns="45720" rtlCol="0">
            <a:normAutofit/>
          </a:bodyPr>
          <a:lstStyle/>
          <a:p>
            <a:pPr rtl="0"/>
            <a:r>
              <a:rPr lang="ru-RU" sz="2400" b="1" dirty="0"/>
              <a:t>Информационные активы цифровых налоговых сервисов </a:t>
            </a:r>
            <a:r>
              <a:rPr lang="ru-RU" sz="2400" dirty="0"/>
              <a:t>– самостоятельные продукт в системе предоставления услуг субъектом налогового администрирования</a:t>
            </a:r>
          </a:p>
        </p:txBody>
      </p:sp>
      <p:graphicFrame>
        <p:nvGraphicFramePr>
          <p:cNvPr id="4" name="Таблица 4">
            <a:extLst>
              <a:ext uri="{FF2B5EF4-FFF2-40B4-BE49-F238E27FC236}">
                <a16:creationId xmlns:a16="http://schemas.microsoft.com/office/drawing/2014/main" xmlns="" id="{C266CDD0-3E96-40BD-8324-62D1DD86152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69444231"/>
              </p:ext>
            </p:extLst>
          </p:nvPr>
        </p:nvGraphicFramePr>
        <p:xfrm>
          <a:off x="1097280" y="1203312"/>
          <a:ext cx="10840696" cy="5672321"/>
        </p:xfrm>
        <a:graphic>
          <a:graphicData uri="http://schemas.openxmlformats.org/drawingml/2006/table">
            <a:tbl>
              <a:tblPr firstRow="1" bandRow="1">
                <a:noFill/>
                <a:tableStyleId>{3B4B98B0-60AC-42C2-AFA5-B58CD77FA1E5}</a:tableStyleId>
              </a:tblPr>
              <a:tblGrid>
                <a:gridCol w="2954956">
                  <a:extLst>
                    <a:ext uri="{9D8B030D-6E8A-4147-A177-3AD203B41FA5}">
                      <a16:colId xmlns:a16="http://schemas.microsoft.com/office/drawing/2014/main" xmlns="" val="2981917977"/>
                    </a:ext>
                  </a:extLst>
                </a:gridCol>
                <a:gridCol w="2338692">
                  <a:extLst>
                    <a:ext uri="{9D8B030D-6E8A-4147-A177-3AD203B41FA5}">
                      <a16:colId xmlns:a16="http://schemas.microsoft.com/office/drawing/2014/main" xmlns="" val="945233394"/>
                    </a:ext>
                  </a:extLst>
                </a:gridCol>
                <a:gridCol w="2329966">
                  <a:extLst>
                    <a:ext uri="{9D8B030D-6E8A-4147-A177-3AD203B41FA5}">
                      <a16:colId xmlns:a16="http://schemas.microsoft.com/office/drawing/2014/main" xmlns="" val="2572263168"/>
                    </a:ext>
                  </a:extLst>
                </a:gridCol>
                <a:gridCol w="3217082">
                  <a:extLst>
                    <a:ext uri="{9D8B030D-6E8A-4147-A177-3AD203B41FA5}">
                      <a16:colId xmlns:a16="http://schemas.microsoft.com/office/drawing/2014/main" xmlns="" val="1765783061"/>
                    </a:ext>
                  </a:extLst>
                </a:gridCol>
              </a:tblGrid>
              <a:tr h="1096495">
                <a:tc>
                  <a:txBody>
                    <a:bodyPr/>
                    <a:lstStyle/>
                    <a:p>
                      <a:pPr rtl="0"/>
                      <a:r>
                        <a:rPr lang="ru-RU" sz="1200" b="1" cap="all" spc="150" noProof="0" dirty="0">
                          <a:solidFill>
                            <a:schemeClr val="tx1"/>
                          </a:solidFill>
                        </a:rPr>
                        <a:t>Субъекты налогового администрирования (налогоплательщики и налоговые органы)</a:t>
                      </a:r>
                    </a:p>
                  </a:txBody>
                  <a:tcPr marL="151061" marR="151061" marT="151061" marB="15106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200" b="1" cap="all" spc="150" noProof="0" dirty="0">
                          <a:solidFill>
                            <a:schemeClr val="lt1"/>
                          </a:solidFill>
                        </a:rPr>
                        <a:t>Инфраструктуры финансового капитала, инвестиций, инноваций</a:t>
                      </a:r>
                    </a:p>
                  </a:txBody>
                  <a:tcPr marL="151061" marR="151061" marT="151061" marB="15106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200" b="1" cap="all" spc="150" noProof="0" dirty="0">
                          <a:solidFill>
                            <a:schemeClr val="tx1"/>
                          </a:solidFill>
                        </a:rPr>
                        <a:t>отраслевые и пространственные бизнес-ландшафты</a:t>
                      </a:r>
                    </a:p>
                  </a:txBody>
                  <a:tcPr marL="151061" marR="151061" marT="151061" marB="15106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200" b="1" cap="all" spc="150" noProof="0" dirty="0">
                          <a:solidFill>
                            <a:schemeClr val="lt1"/>
                          </a:solidFill>
                        </a:rPr>
                        <a:t>Национальные и союзные рынки и регуляторы</a:t>
                      </a:r>
                    </a:p>
                  </a:txBody>
                  <a:tcPr marL="151061" marR="151061" marT="151061" marB="15106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80512675"/>
                  </a:ext>
                </a:extLst>
              </a:tr>
              <a:tr h="2772331">
                <a:tc rowSpan="2">
                  <a:txBody>
                    <a:bodyPr/>
                    <a:lstStyle/>
                    <a:p>
                      <a:pPr algn="just" rtl="0"/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Информация по экономической и налоговой </a:t>
                      </a:r>
                      <a:r>
                        <a:rPr lang="ru-RU" sz="1600" cap="none" spc="0" noProof="0" dirty="0">
                          <a:solidFill>
                            <a:schemeClr val="tx1"/>
                          </a:solidFill>
                        </a:rPr>
                        <a:t>рациональности</a:t>
                      </a: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 и  </a:t>
                      </a:r>
                      <a:r>
                        <a:rPr lang="ru-RU" sz="1600" cap="none" spc="0" noProof="0" dirty="0">
                          <a:solidFill>
                            <a:schemeClr val="tx1"/>
                          </a:solidFill>
                        </a:rPr>
                        <a:t>безопасности</a:t>
                      </a: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 сделок.</a:t>
                      </a:r>
                    </a:p>
                    <a:p>
                      <a:pPr algn="just" rtl="0"/>
                      <a:endParaRPr lang="ru-RU" sz="1400" cap="none" spc="0" noProof="0" dirty="0">
                        <a:solidFill>
                          <a:schemeClr val="tx1"/>
                        </a:solidFill>
                      </a:endParaRPr>
                    </a:p>
                    <a:p>
                      <a:pPr algn="just" rtl="0"/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Проверка контрагента, </a:t>
                      </a:r>
                      <a:r>
                        <a:rPr lang="ru-RU" sz="1400" cap="none" spc="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налоговый мониторинг</a:t>
                      </a: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, чат бот и т.д.), автоматический расчет налогов, прослеживание сделки, </a:t>
                      </a:r>
                    </a:p>
                    <a:p>
                      <a:pPr algn="just" rtl="0"/>
                      <a:endParaRPr lang="ru-RU" sz="1400" i="1" cap="none" spc="0" noProof="0" dirty="0">
                        <a:solidFill>
                          <a:schemeClr val="tx1"/>
                        </a:solidFill>
                      </a:endParaRPr>
                    </a:p>
                    <a:p>
                      <a:pPr algn="just" rtl="0"/>
                      <a:r>
                        <a:rPr lang="ru-RU" sz="1400" i="1" cap="none" spc="0" noProof="0" dirty="0">
                          <a:solidFill>
                            <a:schemeClr val="tx1"/>
                          </a:solidFill>
                        </a:rPr>
                        <a:t>Гарантии </a:t>
                      </a:r>
                      <a:r>
                        <a:rPr lang="ru-RU" sz="1600" i="1" cap="none" spc="0" noProof="0" dirty="0">
                          <a:solidFill>
                            <a:schemeClr val="tx1"/>
                          </a:solidFill>
                        </a:rPr>
                        <a:t>безопасности</a:t>
                      </a:r>
                      <a:r>
                        <a:rPr lang="ru-RU" sz="1400" i="1" cap="none" spc="0" noProof="0" dirty="0">
                          <a:solidFill>
                            <a:schemeClr val="tx1"/>
                          </a:solidFill>
                        </a:rPr>
                        <a:t> сделки в цифровой среде*</a:t>
                      </a:r>
                    </a:p>
                    <a:p>
                      <a:pPr algn="just" rtl="0"/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Сценарии </a:t>
                      </a:r>
                      <a:r>
                        <a:rPr lang="ru-RU" sz="1600" cap="none" spc="0" noProof="0" dirty="0">
                          <a:solidFill>
                            <a:schemeClr val="tx1"/>
                          </a:solidFill>
                        </a:rPr>
                        <a:t>оптимизации  налоговой нагрузки </a:t>
                      </a: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(налоговый калькулятор,  ИИ и </a:t>
                      </a:r>
                      <a:r>
                        <a:rPr lang="ru-RU" sz="1400" cap="none" spc="0" noProof="0" dirty="0" err="1">
                          <a:solidFill>
                            <a:schemeClr val="accent1"/>
                          </a:solidFill>
                        </a:rPr>
                        <a:t>нейросетевой</a:t>
                      </a:r>
                      <a:r>
                        <a:rPr lang="ru-RU" sz="1400" cap="none" spc="0" noProof="0" dirty="0">
                          <a:solidFill>
                            <a:schemeClr val="accent1"/>
                          </a:solidFill>
                        </a:rPr>
                        <a:t> анализ </a:t>
                      </a: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L="151061" marR="151061" marT="151061" marB="15106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rtl="0"/>
                      <a:r>
                        <a:rPr lang="ru-RU" sz="1400" b="0" cap="none" spc="0" noProof="0" dirty="0">
                          <a:solidFill>
                            <a:schemeClr val="tx1"/>
                          </a:solidFill>
                        </a:rPr>
                        <a:t>Налоговый комитет – </a:t>
                      </a:r>
                      <a:r>
                        <a:rPr lang="ru-RU" sz="1600" b="0" cap="none" spc="0" noProof="0" dirty="0">
                          <a:solidFill>
                            <a:schemeClr val="tx1"/>
                          </a:solidFill>
                        </a:rPr>
                        <a:t>поставщик данных </a:t>
                      </a:r>
                      <a:r>
                        <a:rPr lang="ru-RU" sz="1400" b="0" cap="none" spc="0" noProof="0" dirty="0">
                          <a:solidFill>
                            <a:schemeClr val="tx1"/>
                          </a:solidFill>
                        </a:rPr>
                        <a:t>в экономические системы и на рынки  капитала</a:t>
                      </a:r>
                      <a:r>
                        <a:rPr lang="ru-RU" sz="1400" b="1" cap="none" spc="0" noProof="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rtl="0"/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Информационные активы,  поставляемые на рынок как инструмент стимулирования и роста добавленной стоимости в макроэкономике. </a:t>
                      </a:r>
                    </a:p>
                    <a:p>
                      <a:pPr rtl="0"/>
                      <a:endParaRPr lang="ru-RU" sz="1400" cap="none" spc="0" noProof="0" dirty="0">
                        <a:solidFill>
                          <a:schemeClr val="tx1"/>
                        </a:solidFill>
                      </a:endParaRPr>
                    </a:p>
                    <a:p>
                      <a:pPr rtl="0"/>
                      <a:r>
                        <a:rPr lang="ru-RU" sz="1600" cap="none" spc="0" noProof="0" dirty="0">
                          <a:solidFill>
                            <a:schemeClr val="tx1"/>
                          </a:solidFill>
                        </a:rPr>
                        <a:t>Информационные активы </a:t>
                      </a: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как инструмент стимулирования  и </a:t>
                      </a:r>
                      <a:r>
                        <a:rPr lang="ru-RU" sz="1600" cap="none" spc="0" noProof="0" dirty="0">
                          <a:solidFill>
                            <a:schemeClr val="accent1"/>
                          </a:solidFill>
                        </a:rPr>
                        <a:t>привлечения инвестиций </a:t>
                      </a: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на уровне налогоплательщика.</a:t>
                      </a:r>
                    </a:p>
                  </a:txBody>
                  <a:tcPr marL="151061" marR="151061" marT="151061" marB="15106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Информационные активы как основа для регулирования </a:t>
                      </a:r>
                      <a:r>
                        <a:rPr lang="ru-RU" sz="1600" cap="none" spc="0" noProof="0" dirty="0">
                          <a:solidFill>
                            <a:schemeClr val="tx1"/>
                          </a:solidFill>
                        </a:rPr>
                        <a:t>производственной кооперации</a:t>
                      </a: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,   отраслевого распределения ресурсов.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Источник для управления и моделирования бизнес-ландшафтов страны и </a:t>
                      </a:r>
                      <a:r>
                        <a:rPr lang="ru-RU" sz="1600" cap="none" spc="0" noProof="0" dirty="0">
                          <a:solidFill>
                            <a:schemeClr val="tx1"/>
                          </a:solidFill>
                        </a:rPr>
                        <a:t>союзных объединений</a:t>
                      </a:r>
                    </a:p>
                    <a:p>
                      <a:pPr rtl="0"/>
                      <a:endParaRPr lang="ru-RU" sz="1400" cap="none" spc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151061" marR="151061" marT="151061" marB="15106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Совокупные информационные активы,</a:t>
                      </a:r>
                    </a:p>
                    <a:p>
                      <a:pPr rtl="0"/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 образуемые в результате обмена данными между  государствами – участниками СНГ.</a:t>
                      </a:r>
                    </a:p>
                    <a:p>
                      <a:pPr rtl="0"/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Могут быть преобразованы в единый </a:t>
                      </a:r>
                      <a:r>
                        <a:rPr lang="ru-RU" sz="1400" cap="none" spc="0" noProof="0" dirty="0" err="1">
                          <a:solidFill>
                            <a:schemeClr val="tx1"/>
                          </a:solidFill>
                        </a:rPr>
                        <a:t>наднационный</a:t>
                      </a: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 супер-массив данных  и служить информационным обеспечением привилегированного доступа участников  к рынкам,  ресурсам и операциям как цифровой </a:t>
                      </a:r>
                      <a:r>
                        <a:rPr lang="ru-RU" sz="1600" cap="none" spc="0" noProof="0" dirty="0">
                          <a:solidFill>
                            <a:schemeClr val="accent1"/>
                          </a:solidFill>
                        </a:rPr>
                        <a:t>коммуникационный супер-сервис</a:t>
                      </a:r>
                    </a:p>
                  </a:txBody>
                  <a:tcPr marL="151061" marR="151061" marT="151061" marB="15106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38100" cmpd="sng">
                      <a:noFill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85369860"/>
                  </a:ext>
                </a:extLst>
              </a:tr>
              <a:tr h="1319037">
                <a:tc vMerge="1">
                  <a:txBody>
                    <a:bodyPr/>
                    <a:lstStyle/>
                    <a:p>
                      <a:pPr algn="just" rtl="0"/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Сценарии </a:t>
                      </a:r>
                      <a:r>
                        <a:rPr lang="ru-RU" sz="1600" cap="none" spc="0" noProof="0" dirty="0">
                          <a:solidFill>
                            <a:schemeClr val="tx1"/>
                          </a:solidFill>
                        </a:rPr>
                        <a:t>оптимизации  налоговой нагрузки </a:t>
                      </a: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(налоговый калькулятор,  ИИ и </a:t>
                      </a:r>
                      <a:r>
                        <a:rPr lang="ru-RU" sz="1400" cap="none" spc="0" noProof="0" dirty="0" err="1">
                          <a:solidFill>
                            <a:schemeClr val="accent1"/>
                          </a:solidFill>
                        </a:rPr>
                        <a:t>нейросетевой</a:t>
                      </a:r>
                      <a:r>
                        <a:rPr lang="ru-RU" sz="1400" cap="none" spc="0" noProof="0" dirty="0">
                          <a:solidFill>
                            <a:schemeClr val="accent1"/>
                          </a:solidFill>
                        </a:rPr>
                        <a:t> анализ </a:t>
                      </a:r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L="151061" marR="151061" marT="151061" marB="15106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rtl="0"/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Информационные активы как инструмент стимулирования  и привлечения инвестиций на уровне налогоплательщика</a:t>
                      </a:r>
                    </a:p>
                  </a:txBody>
                  <a:tcPr marL="151061" marR="151061" marT="151061" marB="15106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400" cap="none" spc="0" noProof="0" dirty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151061" marR="151061" marT="151061" marB="15106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ru-RU" sz="1400" cap="none" spc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151061" marR="151061" marT="151061" marB="151061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78144993"/>
                  </a:ext>
                </a:extLst>
              </a:tr>
            </a:tbl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3" name="Рукописный ввод 2">
                <a:extLst>
                  <a:ext uri="{FF2B5EF4-FFF2-40B4-BE49-F238E27FC236}">
                    <a16:creationId xmlns:a16="http://schemas.microsoft.com/office/drawing/2014/main" xmlns="" id="{426BC6E0-306A-6297-D003-42E41A9B4B7C}"/>
                  </a:ext>
                </a:extLst>
              </p14:cNvPr>
              <p14:cNvContentPartPr/>
              <p14:nvPr/>
            </p14:nvContentPartPr>
            <p14:xfrm>
              <a:off x="4119272" y="3041337"/>
              <a:ext cx="26280" cy="360"/>
            </p14:xfrm>
          </p:contentPart>
        </mc:Choice>
        <mc:Fallback xmlns="">
          <p:pic>
            <p:nvPicPr>
              <p:cNvPr id="3" name="Рукописный ввод 2">
                <a:extLst>
                  <a:ext uri="{FF2B5EF4-FFF2-40B4-BE49-F238E27FC236}">
                    <a16:creationId xmlns:a16="http://schemas.microsoft.com/office/drawing/2014/main" id="{426BC6E0-306A-6297-D003-42E41A9B4B7C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065632" y="2933337"/>
                <a:ext cx="13392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5" name="Рукописный ввод 4">
                <a:extLst>
                  <a:ext uri="{FF2B5EF4-FFF2-40B4-BE49-F238E27FC236}">
                    <a16:creationId xmlns:a16="http://schemas.microsoft.com/office/drawing/2014/main" xmlns="" id="{1DF16516-27FD-1BB1-EE8B-43B001769A40}"/>
                  </a:ext>
                </a:extLst>
              </p14:cNvPr>
              <p14:cNvContentPartPr/>
              <p14:nvPr/>
            </p14:nvContentPartPr>
            <p14:xfrm>
              <a:off x="4157792" y="3002097"/>
              <a:ext cx="1896840" cy="48960"/>
            </p14:xfrm>
          </p:contentPart>
        </mc:Choice>
        <mc:Fallback xmlns="">
          <p:pic>
            <p:nvPicPr>
              <p:cNvPr id="5" name="Рукописный ввод 4">
                <a:extLst>
                  <a:ext uri="{FF2B5EF4-FFF2-40B4-BE49-F238E27FC236}">
                    <a16:creationId xmlns:a16="http://schemas.microsoft.com/office/drawing/2014/main" id="{1DF16516-27FD-1BB1-EE8B-43B001769A40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03792" y="2894457"/>
                <a:ext cx="2004480" cy="264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6" name="Рукописный ввод 5">
                <a:extLst>
                  <a:ext uri="{FF2B5EF4-FFF2-40B4-BE49-F238E27FC236}">
                    <a16:creationId xmlns:a16="http://schemas.microsoft.com/office/drawing/2014/main" xmlns="" id="{541F1BBE-975D-A66F-1CA7-2B25DBB139A6}"/>
                  </a:ext>
                </a:extLst>
              </p14:cNvPr>
              <p14:cNvContentPartPr/>
              <p14:nvPr/>
            </p14:nvContentPartPr>
            <p14:xfrm>
              <a:off x="2184272" y="2944497"/>
              <a:ext cx="1375560" cy="21240"/>
            </p14:xfrm>
          </p:contentPart>
        </mc:Choice>
        <mc:Fallback xmlns="">
          <p:pic>
            <p:nvPicPr>
              <p:cNvPr id="6" name="Рукописный ввод 5">
                <a:extLst>
                  <a:ext uri="{FF2B5EF4-FFF2-40B4-BE49-F238E27FC236}">
                    <a16:creationId xmlns:a16="http://schemas.microsoft.com/office/drawing/2014/main" id="{541F1BBE-975D-A66F-1CA7-2B25DBB139A6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130632" y="2836857"/>
                <a:ext cx="1483200" cy="236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7" name="Рукописный ввод 6">
                <a:extLst>
                  <a:ext uri="{FF2B5EF4-FFF2-40B4-BE49-F238E27FC236}">
                    <a16:creationId xmlns:a16="http://schemas.microsoft.com/office/drawing/2014/main" xmlns="" id="{DB4B0CF2-DE57-75A3-2CD7-194E927A96F3}"/>
                  </a:ext>
                </a:extLst>
              </p14:cNvPr>
              <p14:cNvContentPartPr/>
              <p14:nvPr/>
            </p14:nvContentPartPr>
            <p14:xfrm>
              <a:off x="1337552" y="4966257"/>
              <a:ext cx="1817640" cy="59040"/>
            </p14:xfrm>
          </p:contentPart>
        </mc:Choice>
        <mc:Fallback xmlns="">
          <p:pic>
            <p:nvPicPr>
              <p:cNvPr id="7" name="Рукописный ввод 6">
                <a:extLst>
                  <a:ext uri="{FF2B5EF4-FFF2-40B4-BE49-F238E27FC236}">
                    <a16:creationId xmlns:a16="http://schemas.microsoft.com/office/drawing/2014/main" id="{DB4B0CF2-DE57-75A3-2CD7-194E927A96F3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283552" y="4858257"/>
                <a:ext cx="1925280" cy="274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8" name="Рукописный ввод 7">
                <a:extLst>
                  <a:ext uri="{FF2B5EF4-FFF2-40B4-BE49-F238E27FC236}">
                    <a16:creationId xmlns:a16="http://schemas.microsoft.com/office/drawing/2014/main" xmlns="" id="{6B9E2E00-A948-694B-2237-D176E5CF90CA}"/>
                  </a:ext>
                </a:extLst>
              </p14:cNvPr>
              <p14:cNvContentPartPr/>
              <p14:nvPr/>
            </p14:nvContentPartPr>
            <p14:xfrm>
              <a:off x="4157792" y="4032777"/>
              <a:ext cx="596160" cy="360"/>
            </p14:xfrm>
          </p:contentPart>
        </mc:Choice>
        <mc:Fallback xmlns="">
          <p:pic>
            <p:nvPicPr>
              <p:cNvPr id="8" name="Рукописный ввод 7">
                <a:extLst>
                  <a:ext uri="{FF2B5EF4-FFF2-40B4-BE49-F238E27FC236}">
                    <a16:creationId xmlns:a16="http://schemas.microsoft.com/office/drawing/2014/main" id="{6B9E2E00-A948-694B-2237-D176E5CF90CA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4103792" y="3924777"/>
                <a:ext cx="7038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9" name="Рукописный ввод 8">
                <a:extLst>
                  <a:ext uri="{FF2B5EF4-FFF2-40B4-BE49-F238E27FC236}">
                    <a16:creationId xmlns:a16="http://schemas.microsoft.com/office/drawing/2014/main" xmlns="" id="{82F94A15-DE85-38AC-BA82-3232FB6D2B4F}"/>
                  </a:ext>
                </a:extLst>
              </p14:cNvPr>
              <p14:cNvContentPartPr/>
              <p14:nvPr/>
            </p14:nvContentPartPr>
            <p14:xfrm>
              <a:off x="4196312" y="4224657"/>
              <a:ext cx="1261440" cy="48960"/>
            </p14:xfrm>
          </p:contentPart>
        </mc:Choice>
        <mc:Fallback xmlns="">
          <p:pic>
            <p:nvPicPr>
              <p:cNvPr id="9" name="Рукописный ввод 8">
                <a:extLst>
                  <a:ext uri="{FF2B5EF4-FFF2-40B4-BE49-F238E27FC236}">
                    <a16:creationId xmlns:a16="http://schemas.microsoft.com/office/drawing/2014/main" id="{82F94A15-DE85-38AC-BA82-3232FB6D2B4F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4142312" y="4117017"/>
                <a:ext cx="1369080" cy="264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10" name="Рукописный ввод 9">
                <a:extLst>
                  <a:ext uri="{FF2B5EF4-FFF2-40B4-BE49-F238E27FC236}">
                    <a16:creationId xmlns:a16="http://schemas.microsoft.com/office/drawing/2014/main" xmlns="" id="{E4A6CE9A-F379-81E1-43BA-2024126A56C5}"/>
                  </a:ext>
                </a:extLst>
              </p14:cNvPr>
              <p14:cNvContentPartPr/>
              <p14:nvPr/>
            </p14:nvContentPartPr>
            <p14:xfrm>
              <a:off x="4437152" y="4493577"/>
              <a:ext cx="1539360" cy="40320"/>
            </p14:xfrm>
          </p:contentPart>
        </mc:Choice>
        <mc:Fallback xmlns="">
          <p:pic>
            <p:nvPicPr>
              <p:cNvPr id="10" name="Рукописный ввод 9">
                <a:extLst>
                  <a:ext uri="{FF2B5EF4-FFF2-40B4-BE49-F238E27FC236}">
                    <a16:creationId xmlns:a16="http://schemas.microsoft.com/office/drawing/2014/main" id="{E4A6CE9A-F379-81E1-43BA-2024126A56C5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4383152" y="4385577"/>
                <a:ext cx="1647000" cy="255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11" name="Рукописный ввод 10">
                <a:extLst>
                  <a:ext uri="{FF2B5EF4-FFF2-40B4-BE49-F238E27FC236}">
                    <a16:creationId xmlns:a16="http://schemas.microsoft.com/office/drawing/2014/main" xmlns="" id="{F5B87EB3-939C-F9BF-55FB-EA7AB2CCDEE9}"/>
                  </a:ext>
                </a:extLst>
              </p14:cNvPr>
              <p14:cNvContentPartPr/>
              <p14:nvPr/>
            </p14:nvContentPartPr>
            <p14:xfrm>
              <a:off x="4109552" y="4541817"/>
              <a:ext cx="346680" cy="20880"/>
            </p14:xfrm>
          </p:contentPart>
        </mc:Choice>
        <mc:Fallback xmlns="">
          <p:pic>
            <p:nvPicPr>
              <p:cNvPr id="11" name="Рукописный ввод 10">
                <a:extLst>
                  <a:ext uri="{FF2B5EF4-FFF2-40B4-BE49-F238E27FC236}">
                    <a16:creationId xmlns:a16="http://schemas.microsoft.com/office/drawing/2014/main" id="{F5B87EB3-939C-F9BF-55FB-EA7AB2CCDEE9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4055912" y="4434177"/>
                <a:ext cx="454320" cy="236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12" name="Рукописный ввод 11">
                <a:extLst>
                  <a:ext uri="{FF2B5EF4-FFF2-40B4-BE49-F238E27FC236}">
                    <a16:creationId xmlns:a16="http://schemas.microsoft.com/office/drawing/2014/main" xmlns="" id="{84B022CE-AAB8-A3FB-277A-D552BABF0A5E}"/>
                  </a:ext>
                </a:extLst>
              </p14:cNvPr>
              <p14:cNvContentPartPr/>
              <p14:nvPr/>
            </p14:nvContentPartPr>
            <p14:xfrm>
              <a:off x="6631352" y="3735777"/>
              <a:ext cx="1099080" cy="37440"/>
            </p14:xfrm>
          </p:contentPart>
        </mc:Choice>
        <mc:Fallback xmlns="">
          <p:pic>
            <p:nvPicPr>
              <p:cNvPr id="12" name="Рукописный ввод 11">
                <a:extLst>
                  <a:ext uri="{FF2B5EF4-FFF2-40B4-BE49-F238E27FC236}">
                    <a16:creationId xmlns:a16="http://schemas.microsoft.com/office/drawing/2014/main" id="{84B022CE-AAB8-A3FB-277A-D552BABF0A5E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577712" y="3627777"/>
                <a:ext cx="1206720" cy="253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2">
            <p14:nvContentPartPr>
              <p14:cNvPr id="13" name="Рукописный ввод 12">
                <a:extLst>
                  <a:ext uri="{FF2B5EF4-FFF2-40B4-BE49-F238E27FC236}">
                    <a16:creationId xmlns:a16="http://schemas.microsoft.com/office/drawing/2014/main" xmlns="" id="{3649EFFF-4E8A-DB08-E236-13DAFFFFD0E3}"/>
                  </a:ext>
                </a:extLst>
              </p14:cNvPr>
              <p14:cNvContentPartPr/>
              <p14:nvPr/>
            </p14:nvContentPartPr>
            <p14:xfrm>
              <a:off x="6737192" y="3936297"/>
              <a:ext cx="1865880" cy="59400"/>
            </p14:xfrm>
          </p:contentPart>
        </mc:Choice>
        <mc:Fallback xmlns="">
          <p:pic>
            <p:nvPicPr>
              <p:cNvPr id="13" name="Рукописный ввод 12">
                <a:extLst>
                  <a:ext uri="{FF2B5EF4-FFF2-40B4-BE49-F238E27FC236}">
                    <a16:creationId xmlns:a16="http://schemas.microsoft.com/office/drawing/2014/main" id="{3649EFFF-4E8A-DB08-E236-13DAFFFFD0E3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6683552" y="3828297"/>
                <a:ext cx="1973520" cy="275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4">
            <p14:nvContentPartPr>
              <p14:cNvPr id="14" name="Рукописный ввод 13">
                <a:extLst>
                  <a:ext uri="{FF2B5EF4-FFF2-40B4-BE49-F238E27FC236}">
                    <a16:creationId xmlns:a16="http://schemas.microsoft.com/office/drawing/2014/main" xmlns="" id="{7E800440-B207-78C0-69A7-6C245D4C1766}"/>
                  </a:ext>
                </a:extLst>
              </p14:cNvPr>
              <p14:cNvContentPartPr/>
              <p14:nvPr/>
            </p14:nvContentPartPr>
            <p14:xfrm>
              <a:off x="7950032" y="4377297"/>
              <a:ext cx="482040" cy="108360"/>
            </p14:xfrm>
          </p:contentPart>
        </mc:Choice>
        <mc:Fallback xmlns="">
          <p:pic>
            <p:nvPicPr>
              <p:cNvPr id="14" name="Рукописный ввод 13">
                <a:extLst>
                  <a:ext uri="{FF2B5EF4-FFF2-40B4-BE49-F238E27FC236}">
                    <a16:creationId xmlns:a16="http://schemas.microsoft.com/office/drawing/2014/main" id="{7E800440-B207-78C0-69A7-6C245D4C1766}"/>
                  </a:ext>
                </a:extLst>
              </p:cNvPr>
              <p:cNvPicPr/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7896392" y="4269657"/>
                <a:ext cx="589680" cy="32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6">
            <p14:nvContentPartPr>
              <p14:cNvPr id="15" name="Рукописный ввод 14">
                <a:extLst>
                  <a:ext uri="{FF2B5EF4-FFF2-40B4-BE49-F238E27FC236}">
                    <a16:creationId xmlns:a16="http://schemas.microsoft.com/office/drawing/2014/main" xmlns="" id="{1731131D-8CF1-E558-DC59-7E370F979F30}"/>
                  </a:ext>
                </a:extLst>
              </p14:cNvPr>
              <p14:cNvContentPartPr/>
              <p14:nvPr/>
            </p14:nvContentPartPr>
            <p14:xfrm>
              <a:off x="6554312" y="4609137"/>
              <a:ext cx="1451880" cy="68760"/>
            </p14:xfrm>
          </p:contentPart>
        </mc:Choice>
        <mc:Fallback xmlns="">
          <p:pic>
            <p:nvPicPr>
              <p:cNvPr id="15" name="Рукописный ввод 14">
                <a:extLst>
                  <a:ext uri="{FF2B5EF4-FFF2-40B4-BE49-F238E27FC236}">
                    <a16:creationId xmlns:a16="http://schemas.microsoft.com/office/drawing/2014/main" id="{1731131D-8CF1-E558-DC59-7E370F979F30}"/>
                  </a:ext>
                </a:extLst>
              </p:cNvPr>
              <p:cNvPicPr/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6500312" y="4501497"/>
                <a:ext cx="1559520" cy="284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8">
            <p14:nvContentPartPr>
              <p14:cNvPr id="16" name="Рукописный ввод 15">
                <a:extLst>
                  <a:ext uri="{FF2B5EF4-FFF2-40B4-BE49-F238E27FC236}">
                    <a16:creationId xmlns:a16="http://schemas.microsoft.com/office/drawing/2014/main" xmlns="" id="{E676B7F9-C014-DA9D-1E60-DCD14D0D5189}"/>
                  </a:ext>
                </a:extLst>
              </p14:cNvPr>
              <p14:cNvContentPartPr/>
              <p14:nvPr/>
            </p14:nvContentPartPr>
            <p14:xfrm>
              <a:off x="10183112" y="3310977"/>
              <a:ext cx="1061640" cy="101520"/>
            </p14:xfrm>
          </p:contentPart>
        </mc:Choice>
        <mc:Fallback xmlns="">
          <p:pic>
            <p:nvPicPr>
              <p:cNvPr id="16" name="Рукописный ввод 15">
                <a:extLst>
                  <a:ext uri="{FF2B5EF4-FFF2-40B4-BE49-F238E27FC236}">
                    <a16:creationId xmlns:a16="http://schemas.microsoft.com/office/drawing/2014/main" id="{E676B7F9-C014-DA9D-1E60-DCD14D0D5189}"/>
                  </a:ext>
                </a:extLst>
              </p:cNvPr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10129112" y="3202977"/>
                <a:ext cx="1169280" cy="317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0">
            <p14:nvContentPartPr>
              <p14:cNvPr id="17" name="Рукописный ввод 16">
                <a:extLst>
                  <a:ext uri="{FF2B5EF4-FFF2-40B4-BE49-F238E27FC236}">
                    <a16:creationId xmlns:a16="http://schemas.microsoft.com/office/drawing/2014/main" xmlns="" id="{4641390F-7FF8-B335-B47D-AD7965EB0D30}"/>
                  </a:ext>
                </a:extLst>
              </p14:cNvPr>
              <p14:cNvContentPartPr/>
              <p14:nvPr/>
            </p14:nvContentPartPr>
            <p14:xfrm>
              <a:off x="8883512" y="3483417"/>
              <a:ext cx="1286640" cy="39600"/>
            </p14:xfrm>
          </p:contentPart>
        </mc:Choice>
        <mc:Fallback xmlns="">
          <p:pic>
            <p:nvPicPr>
              <p:cNvPr id="17" name="Рукописный ввод 16">
                <a:extLst>
                  <a:ext uri="{FF2B5EF4-FFF2-40B4-BE49-F238E27FC236}">
                    <a16:creationId xmlns:a16="http://schemas.microsoft.com/office/drawing/2014/main" id="{4641390F-7FF8-B335-B47D-AD7965EB0D30}"/>
                  </a:ext>
                </a:extLst>
              </p:cNvPr>
              <p:cNvPicPr/>
              <p:nvPr/>
            </p:nvPicPr>
            <p:blipFill>
              <a:blip r:embed="rId31"/>
              <a:stretch>
                <a:fillRect/>
              </a:stretch>
            </p:blipFill>
            <p:spPr>
              <a:xfrm>
                <a:off x="8829872" y="3375417"/>
                <a:ext cx="1394280" cy="255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2">
            <p14:nvContentPartPr>
              <p14:cNvPr id="18" name="Рукописный ввод 17">
                <a:extLst>
                  <a:ext uri="{FF2B5EF4-FFF2-40B4-BE49-F238E27FC236}">
                    <a16:creationId xmlns:a16="http://schemas.microsoft.com/office/drawing/2014/main" xmlns="" id="{43687DFA-6215-AE48-F7CD-52D14F7FF321}"/>
                  </a:ext>
                </a:extLst>
              </p14:cNvPr>
              <p14:cNvContentPartPr/>
              <p14:nvPr/>
            </p14:nvContentPartPr>
            <p14:xfrm>
              <a:off x="8845352" y="3906417"/>
              <a:ext cx="2222640" cy="59400"/>
            </p14:xfrm>
          </p:contentPart>
        </mc:Choice>
        <mc:Fallback xmlns="">
          <p:pic>
            <p:nvPicPr>
              <p:cNvPr id="18" name="Рукописный ввод 17">
                <a:extLst>
                  <a:ext uri="{FF2B5EF4-FFF2-40B4-BE49-F238E27FC236}">
                    <a16:creationId xmlns:a16="http://schemas.microsoft.com/office/drawing/2014/main" id="{43687DFA-6215-AE48-F7CD-52D14F7FF321}"/>
                  </a:ext>
                </a:extLst>
              </p:cNvPr>
              <p:cNvPicPr/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8791712" y="3798417"/>
                <a:ext cx="2330280" cy="2750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4">
            <p14:nvContentPartPr>
              <p14:cNvPr id="19" name="Рукописный ввод 18">
                <a:extLst>
                  <a:ext uri="{FF2B5EF4-FFF2-40B4-BE49-F238E27FC236}">
                    <a16:creationId xmlns:a16="http://schemas.microsoft.com/office/drawing/2014/main" xmlns="" id="{7D276F53-69AB-4E45-7311-44EE3D6D7EF4}"/>
                  </a:ext>
                </a:extLst>
              </p14:cNvPr>
              <p14:cNvContentPartPr/>
              <p14:nvPr/>
            </p14:nvContentPartPr>
            <p14:xfrm>
              <a:off x="10038752" y="4367937"/>
              <a:ext cx="1853280" cy="49680"/>
            </p14:xfrm>
          </p:contentPart>
        </mc:Choice>
        <mc:Fallback xmlns="">
          <p:pic>
            <p:nvPicPr>
              <p:cNvPr id="19" name="Рукописный ввод 18">
                <a:extLst>
                  <a:ext uri="{FF2B5EF4-FFF2-40B4-BE49-F238E27FC236}">
                    <a16:creationId xmlns:a16="http://schemas.microsoft.com/office/drawing/2014/main" id="{7D276F53-69AB-4E45-7311-44EE3D6D7EF4}"/>
                  </a:ext>
                </a:extLst>
              </p:cNvPr>
              <p:cNvPicPr/>
              <p:nvPr/>
            </p:nvPicPr>
            <p:blipFill>
              <a:blip r:embed="rId35"/>
              <a:stretch>
                <a:fillRect/>
              </a:stretch>
            </p:blipFill>
            <p:spPr>
              <a:xfrm>
                <a:off x="9984752" y="4260297"/>
                <a:ext cx="1960920" cy="265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6">
            <p14:nvContentPartPr>
              <p14:cNvPr id="20" name="Рукописный ввод 19">
                <a:extLst>
                  <a:ext uri="{FF2B5EF4-FFF2-40B4-BE49-F238E27FC236}">
                    <a16:creationId xmlns:a16="http://schemas.microsoft.com/office/drawing/2014/main" xmlns="" id="{79184EAA-60DC-688D-564E-97DBC92D151D}"/>
                  </a:ext>
                </a:extLst>
              </p14:cNvPr>
              <p14:cNvContentPartPr/>
              <p14:nvPr/>
            </p14:nvContentPartPr>
            <p14:xfrm>
              <a:off x="8902952" y="4654137"/>
              <a:ext cx="1425240" cy="63720"/>
            </p14:xfrm>
          </p:contentPart>
        </mc:Choice>
        <mc:Fallback xmlns="">
          <p:pic>
            <p:nvPicPr>
              <p:cNvPr id="20" name="Рукописный ввод 19">
                <a:extLst>
                  <a:ext uri="{FF2B5EF4-FFF2-40B4-BE49-F238E27FC236}">
                    <a16:creationId xmlns:a16="http://schemas.microsoft.com/office/drawing/2014/main" id="{79184EAA-60DC-688D-564E-97DBC92D151D}"/>
                  </a:ext>
                </a:extLst>
              </p:cNvPr>
              <p:cNvPicPr/>
              <p:nvPr/>
            </p:nvPicPr>
            <p:blipFill>
              <a:blip r:embed="rId37"/>
              <a:stretch>
                <a:fillRect/>
              </a:stretch>
            </p:blipFill>
            <p:spPr>
              <a:xfrm>
                <a:off x="8848952" y="4546137"/>
                <a:ext cx="1532880" cy="279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8">
            <p14:nvContentPartPr>
              <p14:cNvPr id="24" name="Рукописный ввод 23">
                <a:extLst>
                  <a:ext uri="{FF2B5EF4-FFF2-40B4-BE49-F238E27FC236}">
                    <a16:creationId xmlns:a16="http://schemas.microsoft.com/office/drawing/2014/main" xmlns="" id="{84200A89-8F46-2AF7-09F3-1BC680BE4F9D}"/>
                  </a:ext>
                </a:extLst>
              </p14:cNvPr>
              <p14:cNvContentPartPr/>
              <p14:nvPr/>
            </p14:nvContentPartPr>
            <p14:xfrm>
              <a:off x="7526672" y="5418777"/>
              <a:ext cx="360" cy="360"/>
            </p14:xfrm>
          </p:contentPart>
        </mc:Choice>
        <mc:Fallback xmlns="">
          <p:pic>
            <p:nvPicPr>
              <p:cNvPr id="24" name="Рукописный ввод 23">
                <a:extLst>
                  <a:ext uri="{FF2B5EF4-FFF2-40B4-BE49-F238E27FC236}">
                    <a16:creationId xmlns:a16="http://schemas.microsoft.com/office/drawing/2014/main" id="{84200A89-8F46-2AF7-09F3-1BC680BE4F9D}"/>
                  </a:ext>
                </a:extLst>
              </p:cNvPr>
              <p:cNvPicPr/>
              <p:nvPr/>
            </p:nvPicPr>
            <p:blipFill>
              <a:blip r:embed="rId39"/>
              <a:stretch>
                <a:fillRect/>
              </a:stretch>
            </p:blipFill>
            <p:spPr>
              <a:xfrm>
                <a:off x="7473032" y="5310777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0">
            <p14:nvContentPartPr>
              <p14:cNvPr id="25" name="Рукописный ввод 24">
                <a:extLst>
                  <a:ext uri="{FF2B5EF4-FFF2-40B4-BE49-F238E27FC236}">
                    <a16:creationId xmlns:a16="http://schemas.microsoft.com/office/drawing/2014/main" xmlns="" id="{2F12FCB2-7EB9-5A76-8EB1-BF0DAC94B1BA}"/>
                  </a:ext>
                </a:extLst>
              </p14:cNvPr>
              <p14:cNvContentPartPr/>
              <p14:nvPr/>
            </p14:nvContentPartPr>
            <p14:xfrm>
              <a:off x="10539152" y="5746017"/>
              <a:ext cx="360" cy="360"/>
            </p14:xfrm>
          </p:contentPart>
        </mc:Choice>
        <mc:Fallback xmlns="">
          <p:pic>
            <p:nvPicPr>
              <p:cNvPr id="25" name="Рукописный ввод 24">
                <a:extLst>
                  <a:ext uri="{FF2B5EF4-FFF2-40B4-BE49-F238E27FC236}">
                    <a16:creationId xmlns:a16="http://schemas.microsoft.com/office/drawing/2014/main" id="{2F12FCB2-7EB9-5A76-8EB1-BF0DAC94B1BA}"/>
                  </a:ext>
                </a:extLst>
              </p:cNvPr>
              <p:cNvPicPr/>
              <p:nvPr/>
            </p:nvPicPr>
            <p:blipFill>
              <a:blip r:embed="rId39"/>
              <a:stretch>
                <a:fillRect/>
              </a:stretch>
            </p:blipFill>
            <p:spPr>
              <a:xfrm>
                <a:off x="10485512" y="5638377"/>
                <a:ext cx="108000" cy="216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9335143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E5AF56B-F071-EE17-2D66-3DF08F2E22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404050"/>
            <a:ext cx="10058400" cy="1215026"/>
          </a:xfrm>
        </p:spPr>
        <p:txBody>
          <a:bodyPr>
            <a:normAutofit/>
          </a:bodyPr>
          <a:lstStyle/>
          <a:p>
            <a:r>
              <a:rPr lang="ru-RU" sz="2600" b="1" dirty="0"/>
              <a:t>Информационные активы цифровых налоговых сервисов: </a:t>
            </a:r>
            <a:r>
              <a:rPr lang="ru-RU" sz="2600" dirty="0"/>
              <a:t>Результаты  и ценности 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xmlns="" id="{8490791F-E8C4-1D40-1203-ADF25092EF4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4646525"/>
              </p:ext>
            </p:extLst>
          </p:nvPr>
        </p:nvGraphicFramePr>
        <p:xfrm>
          <a:off x="845293" y="1719742"/>
          <a:ext cx="10974795" cy="45636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495651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>
            <a:extLst>
              <a:ext uri="{FF2B5EF4-FFF2-40B4-BE49-F238E27FC236}">
                <a16:creationId xmlns:a16="http://schemas.microsoft.com/office/drawing/2014/main" xmlns="" id="{39AF3346-409C-C415-42F0-337912728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000" dirty="0"/>
              <a:t>Информационно-технологические инструменты обеспечения функциональной эволюции налоговых сервисов: будущее для внедрения</a:t>
            </a:r>
          </a:p>
        </p:txBody>
      </p:sp>
      <p:sp>
        <p:nvSpPr>
          <p:cNvPr id="11" name="Номер слайда 10">
            <a:extLst>
              <a:ext uri="{FF2B5EF4-FFF2-40B4-BE49-F238E27FC236}">
                <a16:creationId xmlns:a16="http://schemas.microsoft.com/office/drawing/2014/main" xmlns="" id="{81E76378-334F-2893-3BAE-7168DEF91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AEF9944-A4F6-4C59-AEBD-678D6480B8EA}" type="slidenum">
              <a:rPr lang="ru-RU" smtClean="0"/>
              <a:t>19</a:t>
            </a:fld>
            <a:endParaRPr lang="ru-RU" dirty="0"/>
          </a:p>
        </p:txBody>
      </p:sp>
      <p:graphicFrame>
        <p:nvGraphicFramePr>
          <p:cNvPr id="13" name="Таблица 13">
            <a:extLst>
              <a:ext uri="{FF2B5EF4-FFF2-40B4-BE49-F238E27FC236}">
                <a16:creationId xmlns:a16="http://schemas.microsoft.com/office/drawing/2014/main" xmlns="" id="{C0348E2D-8ABC-78D4-A627-73BE9368CD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8160648"/>
              </p:ext>
            </p:extLst>
          </p:nvPr>
        </p:nvGraphicFramePr>
        <p:xfrm>
          <a:off x="1082766" y="2220882"/>
          <a:ext cx="11109234" cy="43009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23920">
                  <a:extLst>
                    <a:ext uri="{9D8B030D-6E8A-4147-A177-3AD203B41FA5}">
                      <a16:colId xmlns:a16="http://schemas.microsoft.com/office/drawing/2014/main" xmlns="" val="36722938"/>
                    </a:ext>
                  </a:extLst>
                </a:gridCol>
                <a:gridCol w="7685314">
                  <a:extLst>
                    <a:ext uri="{9D8B030D-6E8A-4147-A177-3AD203B41FA5}">
                      <a16:colId xmlns:a16="http://schemas.microsoft.com/office/drawing/2014/main" xmlns="" val="1507517843"/>
                    </a:ext>
                  </a:extLst>
                </a:gridCol>
              </a:tblGrid>
              <a:tr h="626483">
                <a:tc>
                  <a:txBody>
                    <a:bodyPr/>
                    <a:lstStyle/>
                    <a:p>
                      <a:r>
                        <a:rPr lang="en-US" sz="1600" dirty="0"/>
                        <a:t>IT</a:t>
                      </a:r>
                      <a:r>
                        <a:rPr lang="ru-RU" sz="1600" dirty="0"/>
                        <a:t>- технолог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Налоговый сервис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26222814"/>
                  </a:ext>
                </a:extLst>
              </a:tr>
              <a:tr h="6264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Цифровые платформы</a:t>
                      </a:r>
                    </a:p>
                    <a:p>
                      <a:r>
                        <a:rPr lang="ru-RU" sz="1600" dirty="0"/>
                        <a:t>Облачные вычисления/удаленные вычислительные ресурс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Количественные базы данных налогоплательщиков, </a:t>
                      </a:r>
                      <a:r>
                        <a:rPr lang="ru-RU" sz="1600" b="1" dirty="0"/>
                        <a:t>Базы данных отраслевых, пространственных и финансовых микро- и макро-показателей . Системы цифрового прослеживания.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99846326"/>
                  </a:ext>
                </a:extLst>
              </a:tr>
              <a:tr h="357990">
                <a:tc>
                  <a:txBody>
                    <a:bodyPr/>
                    <a:lstStyle/>
                    <a:p>
                      <a:r>
                        <a:rPr lang="ru-RU" sz="1600" dirty="0"/>
                        <a:t>Большие данные </a:t>
                      </a:r>
                      <a:r>
                        <a:rPr lang="en-US" sz="1600" dirty="0"/>
                        <a:t>Big Data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/>
                        <a:t>Базы данных отраслевых, пространственных и финансовых микро- и макро-показателей, </a:t>
                      </a: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Анализ  больших массивов.  Налоговые органы как поставщик больших данных  рынкам и общественным институтам.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9556177"/>
                  </a:ext>
                </a:extLst>
              </a:tr>
              <a:tr h="626483">
                <a:tc>
                  <a:txBody>
                    <a:bodyPr/>
                    <a:lstStyle/>
                    <a:p>
                      <a:r>
                        <a:rPr lang="ru-RU" sz="1600" dirty="0"/>
                        <a:t>Искусственный интеллект. Нейросет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Сценарная  информационная поддержка налогоплательщика: моделирование поведенческой траектории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40569851"/>
                  </a:ext>
                </a:extLst>
              </a:tr>
              <a:tr h="626483">
                <a:tc>
                  <a:txBody>
                    <a:bodyPr/>
                    <a:lstStyle/>
                    <a:p>
                      <a:r>
                        <a:rPr lang="ru-RU" sz="1600" dirty="0"/>
                        <a:t>Технология распределенного реестра/</a:t>
                      </a:r>
                      <a:r>
                        <a:rPr lang="ru-RU" sz="1600" dirty="0" err="1"/>
                        <a:t>Блокчейн</a:t>
                      </a:r>
                      <a:r>
                        <a:rPr lang="ru-RU" sz="1600" dirty="0"/>
                        <a:t>/Смарт-контрак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Сервисы по обеспечению безопасности и достоверности информации, сервисы по распределению финансовых ресурсов, инфраструктура предоставления  гарантий в сценария привлечения капитала  или иных видах сделок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13027046"/>
                  </a:ext>
                </a:extLst>
              </a:tr>
              <a:tr h="520228">
                <a:tc>
                  <a:txBody>
                    <a:bodyPr/>
                    <a:lstStyle/>
                    <a:p>
                      <a:r>
                        <a:rPr lang="ru-RU" sz="1600" dirty="0"/>
                        <a:t>Системы поддержки принятия решени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Цифровой налоговый паспорт, цифровой паспорт социальной ответственности, </a:t>
                      </a: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поддержка стратегических решений налогоплательщика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777813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1069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Овал 24">
            <a:extLst>
              <a:ext uri="{FF2B5EF4-FFF2-40B4-BE49-F238E27FC236}">
                <a16:creationId xmlns:a16="http://schemas.microsoft.com/office/drawing/2014/main" xmlns="" id="{2466B14C-90D9-C74C-AA98-32EA70AD170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6574055" y="545006"/>
            <a:ext cx="2233061" cy="178277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cap="all" dirty="0">
                <a:solidFill>
                  <a:schemeClr val="accent1"/>
                </a:solidFill>
                <a:latin typeface="Impact" panose="020B0806030902050204" pitchFamily="34" charset="0"/>
              </a:rPr>
              <a:t>Налоговый комитет РТ</a:t>
            </a:r>
            <a:endParaRPr kumimoji="0" lang="ru-RU" sz="1800" i="0" u="none" strike="noStrike" kern="1200" cap="all" spc="0" normalizeH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Impact" panose="020B0806030902050204" pitchFamily="34" charset="0"/>
            </a:endParaRPr>
          </a:p>
        </p:txBody>
      </p:sp>
      <p:sp>
        <p:nvSpPr>
          <p:cNvPr id="26" name="Выноска: двойная изогнутая линия с границей и чертой 25">
            <a:extLst>
              <a:ext uri="{FF2B5EF4-FFF2-40B4-BE49-F238E27FC236}">
                <a16:creationId xmlns:a16="http://schemas.microsoft.com/office/drawing/2014/main" xmlns="" id="{26A05E7D-0119-917A-F835-BC73AA9FD1AD}"/>
              </a:ext>
            </a:extLst>
          </p:cNvPr>
          <p:cNvSpPr/>
          <p:nvPr/>
        </p:nvSpPr>
        <p:spPr>
          <a:xfrm>
            <a:off x="6574056" y="279457"/>
            <a:ext cx="5515276" cy="2194236"/>
          </a:xfrm>
          <a:prstGeom prst="accentBorderCallout3">
            <a:avLst/>
          </a:prstGeom>
          <a:noFill/>
          <a:effectLst>
            <a:glow rad="228600">
              <a:schemeClr val="accent3">
                <a:satMod val="175000"/>
                <a:alpha val="40000"/>
              </a:schemeClr>
            </a:glow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BE87D33-55E2-6624-FEFF-E8C08654FC1A}"/>
              </a:ext>
            </a:extLst>
          </p:cNvPr>
          <p:cNvSpPr txBox="1"/>
          <p:nvPr/>
        </p:nvSpPr>
        <p:spPr>
          <a:xfrm>
            <a:off x="8370972" y="617876"/>
            <a:ext cx="3458476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sz="1200" i="1" dirty="0">
                <a:latin typeface="Cavolini" panose="020B0502040204020203" pitchFamily="66" charset="0"/>
                <a:cs typeface="Cavolini" panose="020B0502040204020203" pitchFamily="66" charset="0"/>
              </a:rPr>
              <a:t>Новая редакция НК РТ с 2022 года</a:t>
            </a:r>
          </a:p>
          <a:p>
            <a:pPr algn="just"/>
            <a:endParaRPr lang="ru-RU" sz="1200" i="1" dirty="0">
              <a:latin typeface="Cavolini" panose="020B0502040204020203" pitchFamily="66" charset="0"/>
              <a:cs typeface="Cavolini" panose="020B0502040204020203" pitchFamily="66" charset="0"/>
            </a:endParaRP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sz="1200" i="1" dirty="0">
                <a:latin typeface="Cavolini" panose="020B0502040204020203" pitchFamily="66" charset="0"/>
                <a:cs typeface="Cavolini" panose="020B0502040204020203" pitchFamily="66" charset="0"/>
              </a:rPr>
              <a:t>Оптимизация числа</a:t>
            </a:r>
          </a:p>
          <a:p>
            <a:pPr algn="just"/>
            <a:r>
              <a:rPr lang="ru-RU" sz="1200" i="1" dirty="0">
                <a:latin typeface="Cavolini" panose="020B0502040204020203" pitchFamily="66" charset="0"/>
                <a:cs typeface="Cavolini" panose="020B0502040204020203" pitchFamily="66" charset="0"/>
              </a:rPr>
              <a:t>    сотрудников (1738 чел)</a:t>
            </a:r>
          </a:p>
          <a:p>
            <a:pPr algn="just"/>
            <a:endParaRPr lang="ru-RU" sz="1200" i="1" dirty="0">
              <a:latin typeface="Cavolini" panose="020B0502040204020203" pitchFamily="66" charset="0"/>
              <a:cs typeface="Cavolini" panose="020B0502040204020203" pitchFamily="66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200" i="1" dirty="0">
                <a:latin typeface="Cavolini" panose="020B0502040204020203" pitchFamily="66" charset="0"/>
                <a:cs typeface="Cavolini" panose="020B0502040204020203" pitchFamily="66" charset="0"/>
              </a:rPr>
              <a:t>Единая цифровая экосистема внутреннего взаимодействия служб</a:t>
            </a:r>
          </a:p>
          <a:p>
            <a:pPr algn="just"/>
            <a:endParaRPr lang="ru-RU" sz="1200" i="1" dirty="0">
              <a:latin typeface="Cavolini" panose="020B0502040204020203" pitchFamily="66" charset="0"/>
              <a:cs typeface="Cavolini" panose="020B0502040204020203" pitchFamily="66" charset="0"/>
            </a:endParaRPr>
          </a:p>
          <a:p>
            <a:pPr algn="just"/>
            <a:endParaRPr lang="ru-RU" sz="1600" i="1" dirty="0">
              <a:latin typeface="Cavolini" panose="020B0502040204020203" pitchFamily="66" charset="0"/>
              <a:cs typeface="Cavolini" panose="020B0502040204020203" pitchFamily="66" charset="0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ru-RU" sz="1800" i="1" dirty="0">
              <a:latin typeface="Cavolini" panose="020B0502040204020203" pitchFamily="66" charset="0"/>
              <a:cs typeface="Cavolini" panose="020B0502040204020203" pitchFamily="66" charset="0"/>
            </a:endParaRPr>
          </a:p>
          <a:p>
            <a:pPr algn="just"/>
            <a:r>
              <a:rPr lang="ru-RU" i="1" dirty="0">
                <a:latin typeface="Cavolini" panose="020B0502040204020203" pitchFamily="66" charset="0"/>
                <a:cs typeface="Cavolini" panose="020B0502040204020203" pitchFamily="66" charset="0"/>
              </a:rPr>
              <a:t>  </a:t>
            </a:r>
            <a:endParaRPr lang="ru-RU" sz="1800" i="1" dirty="0">
              <a:latin typeface="Cavolini" panose="020B0502040204020203" pitchFamily="66" charset="0"/>
              <a:cs typeface="Cavolini" panose="020B0502040204020203" pitchFamily="66" charset="0"/>
            </a:endParaRPr>
          </a:p>
          <a:p>
            <a:pPr algn="just"/>
            <a:endParaRPr lang="ru-RU" sz="1800" i="1" dirty="0">
              <a:latin typeface="Cavolini" panose="020B0502040204020203" pitchFamily="66" charset="0"/>
              <a:cs typeface="Cavolini" panose="020B0502040204020203" pitchFamily="66" charset="0"/>
            </a:endParaRPr>
          </a:p>
          <a:p>
            <a:pPr algn="just"/>
            <a:endParaRPr lang="ru-RU" sz="1800" i="1" dirty="0">
              <a:latin typeface="Cavolini" panose="020B0502040204020203" pitchFamily="66" charset="0"/>
              <a:cs typeface="Cavolini" panose="020B0502040204020203" pitchFamily="66" charset="0"/>
            </a:endParaRPr>
          </a:p>
        </p:txBody>
      </p:sp>
      <p:graphicFrame>
        <p:nvGraphicFramePr>
          <p:cNvPr id="34" name="Таблица 19">
            <a:extLst>
              <a:ext uri="{FF2B5EF4-FFF2-40B4-BE49-F238E27FC236}">
                <a16:creationId xmlns:a16="http://schemas.microsoft.com/office/drawing/2014/main" xmlns="" id="{0089D26A-4078-187A-2576-B6A419C590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6287074"/>
              </p:ext>
            </p:extLst>
          </p:nvPr>
        </p:nvGraphicFramePr>
        <p:xfrm>
          <a:off x="536010" y="424159"/>
          <a:ext cx="4669245" cy="5622559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4669245">
                  <a:extLst>
                    <a:ext uri="{9D8B030D-6E8A-4147-A177-3AD203B41FA5}">
                      <a16:colId xmlns:a16="http://schemas.microsoft.com/office/drawing/2014/main" xmlns="" val="493813631"/>
                    </a:ext>
                  </a:extLst>
                </a:gridCol>
              </a:tblGrid>
              <a:tr h="955618">
                <a:tc>
                  <a:txBody>
                    <a:bodyPr/>
                    <a:lstStyle/>
                    <a:p>
                      <a:pPr algn="l" rtl="0"/>
                      <a:r>
                        <a:rPr lang="ru-RU" sz="1800" b="0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граммы развития налогового администрирования в Республике Таджикистан на 2020-2025</a:t>
                      </a:r>
                      <a:endParaRPr lang="ru-RU" sz="11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0369641"/>
                  </a:ext>
                </a:extLst>
              </a:tr>
              <a:tr h="23129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рантовый проект № D835-TJ «Операция по налоговой реформе» </a:t>
                      </a:r>
                      <a:endParaRPr lang="ru-RU" sz="1050" i="1" noProof="0" dirty="0">
                        <a:gradFill>
                          <a:gsLst>
                            <a:gs pos="18000">
                              <a:schemeClr val="tx1"/>
                            </a:gs>
                            <a:gs pos="36000">
                              <a:schemeClr val="tx1"/>
                            </a:gs>
                          </a:gsLst>
                          <a:lin ang="5400000" scaled="1"/>
                        </a:gra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1782274"/>
                  </a:ext>
                </a:extLst>
              </a:tr>
              <a:tr h="3637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noProof="0" dirty="0">
                        <a:gradFill>
                          <a:gsLst>
                            <a:gs pos="18000">
                              <a:schemeClr val="tx1"/>
                            </a:gs>
                            <a:gs pos="36000">
                              <a:schemeClr val="tx1"/>
                            </a:gs>
                          </a:gsLst>
                          <a:lin ang="5400000" scaled="1"/>
                        </a:gra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93317174"/>
                  </a:ext>
                </a:extLst>
              </a:tr>
              <a:tr h="3637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noProof="0" dirty="0">
                          <a:solidFill>
                            <a:schemeClr val="accent3">
                              <a:lumMod val="20000"/>
                              <a:lumOff val="80000"/>
                            </a:schemeClr>
                          </a:solidFill>
                        </a:rPr>
                        <a:t>ПРИНЦИП КЛИЕНТООРИЕНТИРОВАННОСТИ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08639897"/>
                  </a:ext>
                </a:extLst>
              </a:tr>
              <a:tr h="16245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6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ель проекта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6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упрощение налоговой системы;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6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овышение качества услуг  налогоплательщиков;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16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лучшение добровольного соблюдения налогового законодательства.</a:t>
                      </a:r>
                      <a:endParaRPr lang="ru-RU" sz="1600" i="1" spc="-30" noProof="0" dirty="0">
                        <a:gradFill>
                          <a:gsLst>
                            <a:gs pos="18000">
                              <a:schemeClr val="tx1"/>
                            </a:gs>
                            <a:gs pos="36000">
                              <a:schemeClr val="tx1"/>
                            </a:gs>
                          </a:gsLst>
                          <a:lin ang="5400000" scaled="1"/>
                        </a:gra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16136156"/>
                  </a:ext>
                </a:extLst>
              </a:tr>
            </a:tbl>
          </a:graphicData>
        </a:graphic>
      </p:graphicFrame>
      <p:graphicFrame>
        <p:nvGraphicFramePr>
          <p:cNvPr id="37" name="Объект 3">
            <a:extLst>
              <a:ext uri="{FF2B5EF4-FFF2-40B4-BE49-F238E27FC236}">
                <a16:creationId xmlns:a16="http://schemas.microsoft.com/office/drawing/2014/main" xmlns="" id="{DF6B6BA5-F00A-C65E-3E87-B91E30FCE8A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2615008"/>
              </p:ext>
            </p:extLst>
          </p:nvPr>
        </p:nvGraphicFramePr>
        <p:xfrm>
          <a:off x="256560" y="1376413"/>
          <a:ext cx="5066526" cy="16844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8" name="Объект 33" descr="Диаграмма с подъемом со сплошной заливкой">
            <a:extLst>
              <a:ext uri="{FF2B5EF4-FFF2-40B4-BE49-F238E27FC236}">
                <a16:creationId xmlns:a16="http://schemas.microsoft.com/office/drawing/2014/main" xmlns="" id="{4175DA58-5736-1634-EEE2-0483AB809A3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652642" y="2579962"/>
            <a:ext cx="488315" cy="480872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E88006E0-2202-DB40-D505-FC3248823C4D}"/>
              </a:ext>
            </a:extLst>
          </p:cNvPr>
          <p:cNvSpPr txBox="1"/>
          <p:nvPr/>
        </p:nvSpPr>
        <p:spPr>
          <a:xfrm>
            <a:off x="6096000" y="2746959"/>
            <a:ext cx="6131294" cy="43617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accent1"/>
                </a:solidFill>
              </a:rPr>
              <a:t>Цифровая он-лайн среда бизнеса и налогообложения. Более 70 налоговых сервисов. Более  40 модулей обслуживания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1"/>
                </a:solidFill>
              </a:rPr>
              <a:t>IT-</a:t>
            </a:r>
            <a:r>
              <a:rPr lang="ru-RU" sz="1600" b="1" dirty="0">
                <a:solidFill>
                  <a:schemeClr val="accent1"/>
                </a:solidFill>
              </a:rPr>
              <a:t>Технологии прослеживания сделки</a:t>
            </a:r>
            <a:r>
              <a:rPr lang="en-US" sz="1600" b="1" dirty="0">
                <a:solidFill>
                  <a:schemeClr val="accent1"/>
                </a:solidFill>
              </a:rPr>
              <a:t> </a:t>
            </a:r>
            <a:r>
              <a:rPr lang="ru-RU" sz="1600" b="1" dirty="0">
                <a:solidFill>
                  <a:schemeClr val="accent1"/>
                </a:solidFill>
              </a:rPr>
              <a:t> и связей (Он-лайн ККТ, </a:t>
            </a:r>
            <a:r>
              <a:rPr lang="en-US" sz="1600" b="1" dirty="0">
                <a:solidFill>
                  <a:schemeClr val="accent1"/>
                </a:solidFill>
              </a:rPr>
              <a:t>IT –</a:t>
            </a:r>
            <a:r>
              <a:rPr lang="ru-RU" sz="1600" b="1" dirty="0">
                <a:solidFill>
                  <a:schemeClr val="accent1"/>
                </a:solidFill>
              </a:rPr>
              <a:t>учет НДС)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accent1"/>
                </a:solidFill>
              </a:rPr>
              <a:t>Цифровая стандартизация обслуживания налогоплательщиков (ст. 167 </a:t>
            </a:r>
            <a:r>
              <a:rPr lang="ru-RU" sz="1600" b="1">
                <a:solidFill>
                  <a:schemeClr val="accent1"/>
                </a:solidFill>
              </a:rPr>
              <a:t>НК РТ)</a:t>
            </a:r>
            <a:endParaRPr lang="ru-RU" sz="1600" b="1" dirty="0">
              <a:solidFill>
                <a:schemeClr val="accent1"/>
              </a:solidFill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accent1"/>
                </a:solidFill>
              </a:rPr>
              <a:t>Единая цифровая инфраструктура (</a:t>
            </a:r>
            <a:r>
              <a:rPr lang="en-US" sz="1600" b="1" dirty="0">
                <a:solidFill>
                  <a:schemeClr val="accent1"/>
                </a:solidFill>
              </a:rPr>
              <a:t>API</a:t>
            </a:r>
            <a:r>
              <a:rPr lang="ru-RU" sz="1600" b="1" dirty="0">
                <a:solidFill>
                  <a:schemeClr val="accent1"/>
                </a:solidFill>
              </a:rPr>
              <a:t>)</a:t>
            </a:r>
            <a:r>
              <a:rPr lang="en-US" sz="1600" b="1" dirty="0">
                <a:solidFill>
                  <a:schemeClr val="accent1"/>
                </a:solidFill>
              </a:rPr>
              <a:t> </a:t>
            </a:r>
            <a:r>
              <a:rPr lang="ru-RU" sz="1600" b="1" dirty="0">
                <a:solidFill>
                  <a:schemeClr val="accent1"/>
                </a:solidFill>
              </a:rPr>
              <a:t> с банками и органами государственного контроля, таможенными органами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accent1"/>
                </a:solidFill>
              </a:rPr>
              <a:t>Режим автоматизация расчетов обязательств и сдачи отчетности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accent1"/>
                </a:solidFill>
              </a:rPr>
              <a:t>Развитие </a:t>
            </a:r>
            <a:r>
              <a:rPr lang="ru-RU" sz="1600" b="1" dirty="0" err="1">
                <a:solidFill>
                  <a:schemeClr val="accent1"/>
                </a:solidFill>
              </a:rPr>
              <a:t>отношенческого</a:t>
            </a:r>
            <a:r>
              <a:rPr lang="ru-RU" sz="1600" b="1" dirty="0">
                <a:solidFill>
                  <a:schemeClr val="accent1"/>
                </a:solidFill>
              </a:rPr>
              <a:t> капитала с налогоплательщиком. Горизонтальный налоговый мониторинг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600" b="1" dirty="0">
              <a:solidFill>
                <a:schemeClr val="accent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dirty="0"/>
          </a:p>
        </p:txBody>
      </p:sp>
      <p:sp>
        <p:nvSpPr>
          <p:cNvPr id="46" name="Текст 19">
            <a:extLst>
              <a:ext uri="{FF2B5EF4-FFF2-40B4-BE49-F238E27FC236}">
                <a16:creationId xmlns:a16="http://schemas.microsoft.com/office/drawing/2014/main" xmlns="" id="{80EC9DEF-EB60-5D68-D079-0677BD09E704}"/>
              </a:ext>
            </a:extLst>
          </p:cNvPr>
          <p:cNvSpPr txBox="1">
            <a:spLocks/>
          </p:cNvSpPr>
          <p:nvPr/>
        </p:nvSpPr>
        <p:spPr>
          <a:xfrm>
            <a:off x="4785606" y="2703431"/>
            <a:ext cx="1634532" cy="1193819"/>
          </a:xfrm>
          <a:prstGeom prst="ellipse">
            <a:avLst/>
          </a:prstGeom>
          <a:solidFill>
            <a:schemeClr val="tx1">
              <a:alpha val="20000"/>
            </a:schemeClr>
          </a:solidFill>
        </p:spPr>
        <p:txBody>
          <a:bodyPr lIns="0" tIns="0" rIns="0" bIns="0" rtlCol="0" anchor="ctr" anchorCtr="0">
            <a:no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1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ru-RU" sz="2400" b="1" dirty="0">
                <a:solidFill>
                  <a:srgbClr val="0070C0"/>
                </a:solidFill>
              </a:rPr>
              <a:t>50</a:t>
            </a:r>
          </a:p>
          <a:p>
            <a:pPr rtl="0"/>
            <a:r>
              <a:rPr lang="ru-RU" dirty="0">
                <a:solidFill>
                  <a:srgbClr val="0070C0"/>
                </a:solidFill>
              </a:rPr>
              <a:t> </a:t>
            </a:r>
            <a:r>
              <a:rPr lang="ru-RU" sz="1400" dirty="0" err="1">
                <a:solidFill>
                  <a:srgbClr val="0070C0"/>
                </a:solidFill>
              </a:rPr>
              <a:t>млн.долл</a:t>
            </a:r>
            <a:r>
              <a:rPr lang="ru-RU" sz="1400" dirty="0">
                <a:solidFill>
                  <a:srgbClr val="0070C0"/>
                </a:solidFill>
              </a:rPr>
              <a:t>. Всемирный Банк</a:t>
            </a:r>
          </a:p>
        </p:txBody>
      </p:sp>
    </p:spTree>
    <p:extLst>
      <p:ext uri="{BB962C8B-B14F-4D97-AF65-F5344CB8AC3E}">
        <p14:creationId xmlns:p14="http://schemas.microsoft.com/office/powerpoint/2010/main" val="37641853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664081DB-1923-4878-AB15-AD54F35A1D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4622" y="1138041"/>
            <a:ext cx="4862811" cy="2019488"/>
          </a:xfrm>
        </p:spPr>
        <p:txBody>
          <a:bodyPr rtlCol="0"/>
          <a:lstStyle/>
          <a:p>
            <a:pPr rtl="0"/>
            <a:r>
              <a:rPr lang="ru-RU" dirty="0"/>
              <a:t>Благодарим за внимание</a:t>
            </a:r>
          </a:p>
        </p:txBody>
      </p:sp>
      <p:pic>
        <p:nvPicPr>
          <p:cNvPr id="32" name="Рисунок 31" descr="Два человека работают в ноутбуке и планшете с диаграммами и таблицами ">
            <a:extLst>
              <a:ext uri="{FF2B5EF4-FFF2-40B4-BE49-F238E27FC236}">
                <a16:creationId xmlns:a16="http://schemas.microsoft.com/office/drawing/2014/main" xmlns="" id="{C4A8B214-180D-446B-9616-62B7371F3DD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58023" y="4941"/>
            <a:ext cx="5333977" cy="3392053"/>
          </a:xfrm>
        </p:spPr>
      </p:pic>
      <p:pic>
        <p:nvPicPr>
          <p:cNvPr id="30" name="Рисунок 29" descr="Лестницы в офисе, свисающие светильники">
            <a:extLst>
              <a:ext uri="{FF2B5EF4-FFF2-40B4-BE49-F238E27FC236}">
                <a16:creationId xmlns:a16="http://schemas.microsoft.com/office/drawing/2014/main" xmlns="" id="{C1CA27C7-F47D-4606-AAE8-32BD4D06983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7712" y="3461002"/>
            <a:ext cx="5728215" cy="3396997"/>
          </a:xfrm>
        </p:spPr>
      </p:pic>
      <p:sp>
        <p:nvSpPr>
          <p:cNvPr id="33" name="Дата 32">
            <a:extLst>
              <a:ext uri="{FF2B5EF4-FFF2-40B4-BE49-F238E27FC236}">
                <a16:creationId xmlns:a16="http://schemas.microsoft.com/office/drawing/2014/main" xmlns="" id="{0D675628-85B5-4093-90F8-769A1F3405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73821" y="6080760"/>
            <a:ext cx="2736329" cy="457200"/>
          </a:xfrm>
        </p:spPr>
        <p:txBody>
          <a:bodyPr rtlCol="0"/>
          <a:lstStyle/>
          <a:p>
            <a:pPr rtl="0"/>
            <a:r>
              <a:rPr lang="ru-RU" dirty="0"/>
              <a:t>19 сентября 2022</a:t>
            </a:r>
          </a:p>
        </p:txBody>
      </p:sp>
      <p:sp>
        <p:nvSpPr>
          <p:cNvPr id="35" name="Номер слайда 34">
            <a:extLst>
              <a:ext uri="{FF2B5EF4-FFF2-40B4-BE49-F238E27FC236}">
                <a16:creationId xmlns:a16="http://schemas.microsoft.com/office/drawing/2014/main" xmlns="" id="{6F05ADB0-C4C0-4EB9-ACD6-D5D69C07C0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69202" y="6309360"/>
            <a:ext cx="979879" cy="457200"/>
          </a:xfrm>
        </p:spPr>
        <p:txBody>
          <a:bodyPr rtlCol="0"/>
          <a:lstStyle/>
          <a:p>
            <a:pPr rtl="0"/>
            <a:fld id="{FAEF9944-A4F6-4C59-AEBD-678D6480B8EA}" type="slidenum">
              <a:rPr lang="ru-RU" smtClean="0"/>
              <a:pPr rtl="0"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82039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0DA66EE-CECC-9F71-63E6-6FD08765A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2"/>
            <a:ext cx="10436817" cy="1331115"/>
          </a:xfrm>
        </p:spPr>
        <p:txBody>
          <a:bodyPr anchor="b">
            <a:normAutofit/>
          </a:bodyPr>
          <a:lstStyle/>
          <a:p>
            <a:pPr algn="ctr"/>
            <a:r>
              <a:rPr lang="ru-RU" sz="2600" b="1" cap="small" dirty="0"/>
              <a:t>Объемы налогового учета и администрирования Республики Таджикистан.  </a:t>
            </a:r>
            <a:br>
              <a:rPr lang="ru-RU" sz="2600" b="1" cap="small" dirty="0"/>
            </a:br>
            <a:r>
              <a:rPr lang="ru-RU" sz="2600" b="1" cap="small" dirty="0"/>
              <a:t>Фактор роста</a:t>
            </a:r>
            <a:r>
              <a:rPr lang="ru-RU" sz="2600" dirty="0"/>
              <a:t>.</a:t>
            </a:r>
          </a:p>
        </p:txBody>
      </p:sp>
      <p:grpSp>
        <p:nvGrpSpPr>
          <p:cNvPr id="107" name="Группа 106" descr="двухмерная карта мира">
            <a:extLst>
              <a:ext uri="{FF2B5EF4-FFF2-40B4-BE49-F238E27FC236}">
                <a16:creationId xmlns:a16="http://schemas.microsoft.com/office/drawing/2014/main" xmlns="" id="{69AB3FB1-4C06-FF0F-464B-7A4FE70B3002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GrpSpPr/>
          <p:nvPr/>
        </p:nvGrpSpPr>
        <p:grpSpPr>
          <a:xfrm>
            <a:off x="8446503" y="2184935"/>
            <a:ext cx="2421064" cy="1204743"/>
            <a:chOff x="538789" y="1131575"/>
            <a:chExt cx="5819028" cy="2895599"/>
          </a:xfrm>
          <a:solidFill>
            <a:schemeClr val="accent5">
              <a:lumMod val="20000"/>
              <a:lumOff val="80000"/>
            </a:schemeClr>
          </a:solidFill>
        </p:grpSpPr>
        <p:grpSp>
          <p:nvGrpSpPr>
            <p:cNvPr id="108" name="Группа 341">
              <a:extLst>
                <a:ext uri="{FF2B5EF4-FFF2-40B4-BE49-F238E27FC236}">
                  <a16:creationId xmlns:a16="http://schemas.microsoft.com/office/drawing/2014/main" xmlns="" id="{88416D9B-DC75-D02A-8DCF-C7818B26B98E}"/>
                </a:ext>
              </a:extLst>
            </p:cNvPr>
            <p:cNvGrpSpPr/>
            <p:nvPr/>
          </p:nvGrpSpPr>
          <p:grpSpPr>
            <a:xfrm>
              <a:off x="2984512" y="2355982"/>
              <a:ext cx="1110006" cy="1241414"/>
              <a:chOff x="4097338" y="2217738"/>
              <a:chExt cx="1139825" cy="1274763"/>
            </a:xfrm>
            <a:grpFill/>
          </p:grpSpPr>
          <p:sp>
            <p:nvSpPr>
              <p:cNvPr id="279" name="Полилиния 5">
                <a:extLst>
                  <a:ext uri="{FF2B5EF4-FFF2-40B4-BE49-F238E27FC236}">
                    <a16:creationId xmlns:a16="http://schemas.microsoft.com/office/drawing/2014/main" xmlns="" id="{D36E7448-5A93-8483-4886-5C0DB71927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2225" y="3086100"/>
                <a:ext cx="120650" cy="233363"/>
              </a:xfrm>
              <a:custGeom>
                <a:avLst/>
                <a:gdLst/>
                <a:ahLst/>
                <a:cxnLst>
                  <a:cxn ang="0">
                    <a:pos x="9" y="114"/>
                  </a:cxn>
                  <a:cxn ang="0">
                    <a:pos x="18" y="94"/>
                  </a:cxn>
                  <a:cxn ang="0">
                    <a:pos x="11" y="71"/>
                  </a:cxn>
                  <a:cxn ang="0">
                    <a:pos x="40" y="43"/>
                  </a:cxn>
                  <a:cxn ang="0">
                    <a:pos x="71" y="13"/>
                  </a:cxn>
                  <a:cxn ang="0">
                    <a:pos x="73" y="0"/>
                  </a:cxn>
                  <a:cxn ang="0">
                    <a:pos x="91" y="42"/>
                  </a:cxn>
                  <a:cxn ang="0">
                    <a:pos x="91" y="49"/>
                  </a:cxn>
                  <a:cxn ang="0">
                    <a:pos x="84" y="47"/>
                  </a:cxn>
                  <a:cxn ang="0">
                    <a:pos x="64" y="126"/>
                  </a:cxn>
                  <a:cxn ang="0">
                    <a:pos x="25" y="175"/>
                  </a:cxn>
                  <a:cxn ang="0">
                    <a:pos x="5" y="151"/>
                  </a:cxn>
                  <a:cxn ang="0">
                    <a:pos x="5" y="140"/>
                  </a:cxn>
                  <a:cxn ang="0">
                    <a:pos x="0" y="122"/>
                  </a:cxn>
                  <a:cxn ang="0">
                    <a:pos x="9" y="114"/>
                  </a:cxn>
                </a:cxnLst>
                <a:rect l="0" t="0" r="r" b="b"/>
                <a:pathLst>
                  <a:path w="91" h="175">
                    <a:moveTo>
                      <a:pt x="9" y="114"/>
                    </a:moveTo>
                    <a:cubicBezTo>
                      <a:pt x="9" y="114"/>
                      <a:pt x="18" y="95"/>
                      <a:pt x="18" y="94"/>
                    </a:cubicBezTo>
                    <a:cubicBezTo>
                      <a:pt x="18" y="89"/>
                      <a:pt x="11" y="78"/>
                      <a:pt x="11" y="71"/>
                    </a:cubicBezTo>
                    <a:cubicBezTo>
                      <a:pt x="11" y="49"/>
                      <a:pt x="27" y="50"/>
                      <a:pt x="40" y="43"/>
                    </a:cubicBezTo>
                    <a:cubicBezTo>
                      <a:pt x="50" y="37"/>
                      <a:pt x="64" y="20"/>
                      <a:pt x="71" y="13"/>
                    </a:cubicBezTo>
                    <a:cubicBezTo>
                      <a:pt x="73" y="11"/>
                      <a:pt x="72" y="4"/>
                      <a:pt x="73" y="0"/>
                    </a:cubicBezTo>
                    <a:cubicBezTo>
                      <a:pt x="88" y="2"/>
                      <a:pt x="87" y="31"/>
                      <a:pt x="91" y="42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89" y="48"/>
                      <a:pt x="85" y="47"/>
                      <a:pt x="84" y="47"/>
                    </a:cubicBezTo>
                    <a:cubicBezTo>
                      <a:pt x="84" y="79"/>
                      <a:pt x="74" y="101"/>
                      <a:pt x="64" y="126"/>
                    </a:cubicBezTo>
                    <a:cubicBezTo>
                      <a:pt x="56" y="146"/>
                      <a:pt x="52" y="175"/>
                      <a:pt x="25" y="175"/>
                    </a:cubicBezTo>
                    <a:cubicBezTo>
                      <a:pt x="14" y="175"/>
                      <a:pt x="5" y="163"/>
                      <a:pt x="5" y="151"/>
                    </a:cubicBezTo>
                    <a:cubicBezTo>
                      <a:pt x="5" y="145"/>
                      <a:pt x="6" y="143"/>
                      <a:pt x="5" y="140"/>
                    </a:cubicBezTo>
                    <a:cubicBezTo>
                      <a:pt x="0" y="136"/>
                      <a:pt x="0" y="129"/>
                      <a:pt x="0" y="122"/>
                    </a:cubicBezTo>
                    <a:cubicBezTo>
                      <a:pt x="0" y="121"/>
                      <a:pt x="8" y="114"/>
                      <a:pt x="9" y="114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80" name="Полилиния 6">
                <a:extLst>
                  <a:ext uri="{FF2B5EF4-FFF2-40B4-BE49-F238E27FC236}">
                    <a16:creationId xmlns:a16="http://schemas.microsoft.com/office/drawing/2014/main" xmlns="" id="{99BBA920-E929-9DE3-FD4B-59996D2642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7338" y="2217738"/>
                <a:ext cx="1139825" cy="1274763"/>
              </a:xfrm>
              <a:custGeom>
                <a:avLst/>
                <a:gdLst/>
                <a:ahLst/>
                <a:cxnLst>
                  <a:cxn ang="0">
                    <a:pos x="499" y="66"/>
                  </a:cxn>
                  <a:cxn ang="0">
                    <a:pos x="527" y="81"/>
                  </a:cxn>
                  <a:cxn ang="0">
                    <a:pos x="609" y="86"/>
                  </a:cxn>
                  <a:cxn ang="0">
                    <a:pos x="644" y="89"/>
                  </a:cxn>
                  <a:cxn ang="0">
                    <a:pos x="644" y="136"/>
                  </a:cxn>
                  <a:cxn ang="0">
                    <a:pos x="620" y="115"/>
                  </a:cxn>
                  <a:cxn ang="0">
                    <a:pos x="679" y="223"/>
                  </a:cxn>
                  <a:cxn ang="0">
                    <a:pos x="699" y="267"/>
                  </a:cxn>
                  <a:cxn ang="0">
                    <a:pos x="730" y="310"/>
                  </a:cxn>
                  <a:cxn ang="0">
                    <a:pos x="755" y="348"/>
                  </a:cxn>
                  <a:cxn ang="0">
                    <a:pos x="787" y="359"/>
                  </a:cxn>
                  <a:cxn ang="0">
                    <a:pos x="853" y="346"/>
                  </a:cxn>
                  <a:cxn ang="0">
                    <a:pos x="826" y="425"/>
                  </a:cxn>
                  <a:cxn ang="0">
                    <a:pos x="719" y="541"/>
                  </a:cxn>
                  <a:cxn ang="0">
                    <a:pos x="708" y="600"/>
                  </a:cxn>
                  <a:cxn ang="0">
                    <a:pos x="721" y="638"/>
                  </a:cxn>
                  <a:cxn ang="0">
                    <a:pos x="720" y="676"/>
                  </a:cxn>
                  <a:cxn ang="0">
                    <a:pos x="660" y="745"/>
                  </a:cxn>
                  <a:cxn ang="0">
                    <a:pos x="659" y="788"/>
                  </a:cxn>
                  <a:cxn ang="0">
                    <a:pos x="643" y="816"/>
                  </a:cxn>
                  <a:cxn ang="0">
                    <a:pos x="627" y="846"/>
                  </a:cxn>
                  <a:cxn ang="0">
                    <a:pos x="592" y="902"/>
                  </a:cxn>
                  <a:cxn ang="0">
                    <a:pos x="538" y="946"/>
                  </a:cxn>
                  <a:cxn ang="0">
                    <a:pos x="512" y="944"/>
                  </a:cxn>
                  <a:cxn ang="0">
                    <a:pos x="452" y="949"/>
                  </a:cxn>
                  <a:cxn ang="0">
                    <a:pos x="440" y="929"/>
                  </a:cxn>
                  <a:cxn ang="0">
                    <a:pos x="431" y="893"/>
                  </a:cxn>
                  <a:cxn ang="0">
                    <a:pos x="395" y="789"/>
                  </a:cxn>
                  <a:cxn ang="0">
                    <a:pos x="360" y="708"/>
                  </a:cxn>
                  <a:cxn ang="0">
                    <a:pos x="382" y="621"/>
                  </a:cxn>
                  <a:cxn ang="0">
                    <a:pos x="364" y="558"/>
                  </a:cxn>
                  <a:cxn ang="0">
                    <a:pos x="337" y="490"/>
                  </a:cxn>
                  <a:cxn ang="0">
                    <a:pos x="342" y="461"/>
                  </a:cxn>
                  <a:cxn ang="0">
                    <a:pos x="295" y="443"/>
                  </a:cxn>
                  <a:cxn ang="0">
                    <a:pos x="206" y="433"/>
                  </a:cxn>
                  <a:cxn ang="0">
                    <a:pos x="164" y="434"/>
                  </a:cxn>
                  <a:cxn ang="0">
                    <a:pos x="109" y="439"/>
                  </a:cxn>
                  <a:cxn ang="0">
                    <a:pos x="40" y="369"/>
                  </a:cxn>
                  <a:cxn ang="0">
                    <a:pos x="7" y="338"/>
                  </a:cxn>
                  <a:cxn ang="0">
                    <a:pos x="7" y="324"/>
                  </a:cxn>
                  <a:cxn ang="0">
                    <a:pos x="18" y="269"/>
                  </a:cxn>
                  <a:cxn ang="0">
                    <a:pos x="22" y="199"/>
                  </a:cxn>
                  <a:cxn ang="0">
                    <a:pos x="77" y="132"/>
                  </a:cxn>
                  <a:cxn ang="0">
                    <a:pos x="104" y="77"/>
                  </a:cxn>
                  <a:cxn ang="0">
                    <a:pos x="141" y="36"/>
                  </a:cxn>
                  <a:cxn ang="0">
                    <a:pos x="187" y="35"/>
                  </a:cxn>
                  <a:cxn ang="0">
                    <a:pos x="273" y="6"/>
                  </a:cxn>
                  <a:cxn ang="0">
                    <a:pos x="307" y="4"/>
                  </a:cxn>
                  <a:cxn ang="0">
                    <a:pos x="338" y="0"/>
                  </a:cxn>
                  <a:cxn ang="0">
                    <a:pos x="358" y="6"/>
                  </a:cxn>
                  <a:cxn ang="0">
                    <a:pos x="357" y="27"/>
                  </a:cxn>
                  <a:cxn ang="0">
                    <a:pos x="371" y="64"/>
                  </a:cxn>
                  <a:cxn ang="0">
                    <a:pos x="455" y="100"/>
                  </a:cxn>
                  <a:cxn ang="0">
                    <a:pos x="464" y="84"/>
                  </a:cxn>
                  <a:cxn ang="0">
                    <a:pos x="490" y="66"/>
                  </a:cxn>
                </a:cxnLst>
                <a:rect l="0" t="0" r="r" b="b"/>
                <a:pathLst>
                  <a:path w="856" h="957">
                    <a:moveTo>
                      <a:pt x="490" y="66"/>
                    </a:moveTo>
                    <a:cubicBezTo>
                      <a:pt x="499" y="66"/>
                      <a:pt x="499" y="66"/>
                      <a:pt x="499" y="66"/>
                    </a:cubicBezTo>
                    <a:cubicBezTo>
                      <a:pt x="499" y="73"/>
                      <a:pt x="504" y="74"/>
                      <a:pt x="506" y="77"/>
                    </a:cubicBezTo>
                    <a:cubicBezTo>
                      <a:pt x="510" y="82"/>
                      <a:pt x="520" y="78"/>
                      <a:pt x="527" y="81"/>
                    </a:cubicBezTo>
                    <a:cubicBezTo>
                      <a:pt x="541" y="86"/>
                      <a:pt x="561" y="93"/>
                      <a:pt x="576" y="93"/>
                    </a:cubicBezTo>
                    <a:cubicBezTo>
                      <a:pt x="591" y="93"/>
                      <a:pt x="595" y="86"/>
                      <a:pt x="609" y="86"/>
                    </a:cubicBezTo>
                    <a:cubicBezTo>
                      <a:pt x="617" y="86"/>
                      <a:pt x="622" y="92"/>
                      <a:pt x="632" y="92"/>
                    </a:cubicBezTo>
                    <a:cubicBezTo>
                      <a:pt x="638" y="92"/>
                      <a:pt x="638" y="90"/>
                      <a:pt x="644" y="89"/>
                    </a:cubicBezTo>
                    <a:cubicBezTo>
                      <a:pt x="647" y="96"/>
                      <a:pt x="653" y="102"/>
                      <a:pt x="653" y="111"/>
                    </a:cubicBezTo>
                    <a:cubicBezTo>
                      <a:pt x="653" y="115"/>
                      <a:pt x="646" y="131"/>
                      <a:pt x="644" y="136"/>
                    </a:cubicBezTo>
                    <a:cubicBezTo>
                      <a:pt x="635" y="135"/>
                      <a:pt x="627" y="115"/>
                      <a:pt x="620" y="107"/>
                    </a:cubicBezTo>
                    <a:cubicBezTo>
                      <a:pt x="620" y="115"/>
                      <a:pt x="620" y="115"/>
                      <a:pt x="620" y="115"/>
                    </a:cubicBezTo>
                    <a:cubicBezTo>
                      <a:pt x="662" y="189"/>
                      <a:pt x="662" y="189"/>
                      <a:pt x="662" y="189"/>
                    </a:cubicBezTo>
                    <a:cubicBezTo>
                      <a:pt x="659" y="198"/>
                      <a:pt x="673" y="218"/>
                      <a:pt x="679" y="223"/>
                    </a:cubicBezTo>
                    <a:cubicBezTo>
                      <a:pt x="679" y="246"/>
                      <a:pt x="679" y="246"/>
                      <a:pt x="679" y="246"/>
                    </a:cubicBezTo>
                    <a:cubicBezTo>
                      <a:pt x="684" y="258"/>
                      <a:pt x="692" y="258"/>
                      <a:pt x="699" y="267"/>
                    </a:cubicBezTo>
                    <a:cubicBezTo>
                      <a:pt x="707" y="278"/>
                      <a:pt x="702" y="289"/>
                      <a:pt x="710" y="297"/>
                    </a:cubicBezTo>
                    <a:cubicBezTo>
                      <a:pt x="717" y="304"/>
                      <a:pt x="722" y="305"/>
                      <a:pt x="730" y="310"/>
                    </a:cubicBezTo>
                    <a:cubicBezTo>
                      <a:pt x="737" y="316"/>
                      <a:pt x="741" y="334"/>
                      <a:pt x="755" y="334"/>
                    </a:cubicBezTo>
                    <a:cubicBezTo>
                      <a:pt x="755" y="341"/>
                      <a:pt x="759" y="343"/>
                      <a:pt x="755" y="348"/>
                    </a:cubicBezTo>
                    <a:cubicBezTo>
                      <a:pt x="761" y="352"/>
                      <a:pt x="767" y="366"/>
                      <a:pt x="774" y="366"/>
                    </a:cubicBezTo>
                    <a:cubicBezTo>
                      <a:pt x="781" y="366"/>
                      <a:pt x="782" y="361"/>
                      <a:pt x="787" y="359"/>
                    </a:cubicBezTo>
                    <a:cubicBezTo>
                      <a:pt x="794" y="357"/>
                      <a:pt x="798" y="360"/>
                      <a:pt x="805" y="359"/>
                    </a:cubicBezTo>
                    <a:cubicBezTo>
                      <a:pt x="822" y="356"/>
                      <a:pt x="838" y="350"/>
                      <a:pt x="853" y="346"/>
                    </a:cubicBezTo>
                    <a:cubicBezTo>
                      <a:pt x="855" y="348"/>
                      <a:pt x="856" y="350"/>
                      <a:pt x="856" y="352"/>
                    </a:cubicBezTo>
                    <a:cubicBezTo>
                      <a:pt x="856" y="377"/>
                      <a:pt x="837" y="410"/>
                      <a:pt x="826" y="425"/>
                    </a:cubicBezTo>
                    <a:cubicBezTo>
                      <a:pt x="812" y="443"/>
                      <a:pt x="807" y="459"/>
                      <a:pt x="790" y="471"/>
                    </a:cubicBezTo>
                    <a:cubicBezTo>
                      <a:pt x="761" y="494"/>
                      <a:pt x="730" y="501"/>
                      <a:pt x="719" y="541"/>
                    </a:cubicBezTo>
                    <a:cubicBezTo>
                      <a:pt x="716" y="552"/>
                      <a:pt x="704" y="555"/>
                      <a:pt x="704" y="567"/>
                    </a:cubicBezTo>
                    <a:cubicBezTo>
                      <a:pt x="704" y="581"/>
                      <a:pt x="708" y="587"/>
                      <a:pt x="708" y="600"/>
                    </a:cubicBezTo>
                    <a:cubicBezTo>
                      <a:pt x="708" y="615"/>
                      <a:pt x="724" y="623"/>
                      <a:pt x="724" y="631"/>
                    </a:cubicBezTo>
                    <a:cubicBezTo>
                      <a:pt x="724" y="634"/>
                      <a:pt x="722" y="637"/>
                      <a:pt x="721" y="638"/>
                    </a:cubicBezTo>
                    <a:cubicBezTo>
                      <a:pt x="721" y="649"/>
                      <a:pt x="721" y="649"/>
                      <a:pt x="721" y="649"/>
                    </a:cubicBezTo>
                    <a:cubicBezTo>
                      <a:pt x="721" y="656"/>
                      <a:pt x="720" y="664"/>
                      <a:pt x="720" y="676"/>
                    </a:cubicBezTo>
                    <a:cubicBezTo>
                      <a:pt x="722" y="679"/>
                      <a:pt x="723" y="682"/>
                      <a:pt x="723" y="685"/>
                    </a:cubicBezTo>
                    <a:cubicBezTo>
                      <a:pt x="723" y="720"/>
                      <a:pt x="665" y="716"/>
                      <a:pt x="660" y="745"/>
                    </a:cubicBezTo>
                    <a:cubicBezTo>
                      <a:pt x="654" y="746"/>
                      <a:pt x="647" y="753"/>
                      <a:pt x="647" y="758"/>
                    </a:cubicBezTo>
                    <a:cubicBezTo>
                      <a:pt x="647" y="768"/>
                      <a:pt x="659" y="774"/>
                      <a:pt x="659" y="788"/>
                    </a:cubicBezTo>
                    <a:cubicBezTo>
                      <a:pt x="659" y="795"/>
                      <a:pt x="658" y="809"/>
                      <a:pt x="656" y="813"/>
                    </a:cubicBezTo>
                    <a:cubicBezTo>
                      <a:pt x="653" y="817"/>
                      <a:pt x="646" y="815"/>
                      <a:pt x="643" y="816"/>
                    </a:cubicBezTo>
                    <a:cubicBezTo>
                      <a:pt x="632" y="822"/>
                      <a:pt x="626" y="826"/>
                      <a:pt x="621" y="837"/>
                    </a:cubicBezTo>
                    <a:cubicBezTo>
                      <a:pt x="624" y="839"/>
                      <a:pt x="627" y="842"/>
                      <a:pt x="627" y="846"/>
                    </a:cubicBezTo>
                    <a:cubicBezTo>
                      <a:pt x="627" y="859"/>
                      <a:pt x="615" y="868"/>
                      <a:pt x="610" y="874"/>
                    </a:cubicBezTo>
                    <a:cubicBezTo>
                      <a:pt x="600" y="883"/>
                      <a:pt x="599" y="893"/>
                      <a:pt x="592" y="902"/>
                    </a:cubicBezTo>
                    <a:cubicBezTo>
                      <a:pt x="581" y="916"/>
                      <a:pt x="576" y="929"/>
                      <a:pt x="558" y="938"/>
                    </a:cubicBezTo>
                    <a:cubicBezTo>
                      <a:pt x="550" y="941"/>
                      <a:pt x="539" y="938"/>
                      <a:pt x="538" y="946"/>
                    </a:cubicBezTo>
                    <a:cubicBezTo>
                      <a:pt x="532" y="946"/>
                      <a:pt x="529" y="949"/>
                      <a:pt x="525" y="949"/>
                    </a:cubicBezTo>
                    <a:cubicBezTo>
                      <a:pt x="520" y="949"/>
                      <a:pt x="517" y="944"/>
                      <a:pt x="512" y="944"/>
                    </a:cubicBezTo>
                    <a:cubicBezTo>
                      <a:pt x="494" y="944"/>
                      <a:pt x="483" y="957"/>
                      <a:pt x="466" y="957"/>
                    </a:cubicBezTo>
                    <a:cubicBezTo>
                      <a:pt x="459" y="957"/>
                      <a:pt x="455" y="953"/>
                      <a:pt x="452" y="949"/>
                    </a:cubicBezTo>
                    <a:cubicBezTo>
                      <a:pt x="449" y="949"/>
                      <a:pt x="449" y="950"/>
                      <a:pt x="448" y="951"/>
                    </a:cubicBezTo>
                    <a:cubicBezTo>
                      <a:pt x="448" y="942"/>
                      <a:pt x="443" y="932"/>
                      <a:pt x="440" y="929"/>
                    </a:cubicBezTo>
                    <a:cubicBezTo>
                      <a:pt x="443" y="925"/>
                      <a:pt x="445" y="922"/>
                      <a:pt x="445" y="917"/>
                    </a:cubicBezTo>
                    <a:cubicBezTo>
                      <a:pt x="445" y="910"/>
                      <a:pt x="433" y="897"/>
                      <a:pt x="431" y="893"/>
                    </a:cubicBezTo>
                    <a:cubicBezTo>
                      <a:pt x="415" y="866"/>
                      <a:pt x="395" y="840"/>
                      <a:pt x="395" y="801"/>
                    </a:cubicBezTo>
                    <a:cubicBezTo>
                      <a:pt x="395" y="794"/>
                      <a:pt x="395" y="792"/>
                      <a:pt x="395" y="789"/>
                    </a:cubicBezTo>
                    <a:cubicBezTo>
                      <a:pt x="395" y="783"/>
                      <a:pt x="389" y="781"/>
                      <a:pt x="386" y="774"/>
                    </a:cubicBezTo>
                    <a:cubicBezTo>
                      <a:pt x="374" y="754"/>
                      <a:pt x="360" y="737"/>
                      <a:pt x="360" y="708"/>
                    </a:cubicBezTo>
                    <a:cubicBezTo>
                      <a:pt x="360" y="677"/>
                      <a:pt x="388" y="670"/>
                      <a:pt x="388" y="646"/>
                    </a:cubicBezTo>
                    <a:cubicBezTo>
                      <a:pt x="388" y="635"/>
                      <a:pt x="384" y="631"/>
                      <a:pt x="382" y="621"/>
                    </a:cubicBezTo>
                    <a:cubicBezTo>
                      <a:pt x="379" y="602"/>
                      <a:pt x="376" y="596"/>
                      <a:pt x="371" y="585"/>
                    </a:cubicBezTo>
                    <a:cubicBezTo>
                      <a:pt x="368" y="576"/>
                      <a:pt x="370" y="566"/>
                      <a:pt x="364" y="558"/>
                    </a:cubicBezTo>
                    <a:cubicBezTo>
                      <a:pt x="352" y="544"/>
                      <a:pt x="327" y="528"/>
                      <a:pt x="327" y="508"/>
                    </a:cubicBezTo>
                    <a:cubicBezTo>
                      <a:pt x="327" y="503"/>
                      <a:pt x="334" y="492"/>
                      <a:pt x="337" y="490"/>
                    </a:cubicBezTo>
                    <a:cubicBezTo>
                      <a:pt x="336" y="486"/>
                      <a:pt x="337" y="485"/>
                      <a:pt x="337" y="483"/>
                    </a:cubicBezTo>
                    <a:cubicBezTo>
                      <a:pt x="337" y="478"/>
                      <a:pt x="337" y="465"/>
                      <a:pt x="342" y="461"/>
                    </a:cubicBezTo>
                    <a:cubicBezTo>
                      <a:pt x="337" y="451"/>
                      <a:pt x="329" y="443"/>
                      <a:pt x="314" y="443"/>
                    </a:cubicBezTo>
                    <a:cubicBezTo>
                      <a:pt x="306" y="443"/>
                      <a:pt x="299" y="443"/>
                      <a:pt x="295" y="443"/>
                    </a:cubicBezTo>
                    <a:cubicBezTo>
                      <a:pt x="282" y="443"/>
                      <a:pt x="279" y="417"/>
                      <a:pt x="261" y="417"/>
                    </a:cubicBezTo>
                    <a:cubicBezTo>
                      <a:pt x="239" y="417"/>
                      <a:pt x="223" y="427"/>
                      <a:pt x="206" y="433"/>
                    </a:cubicBezTo>
                    <a:cubicBezTo>
                      <a:pt x="199" y="435"/>
                      <a:pt x="197" y="440"/>
                      <a:pt x="191" y="440"/>
                    </a:cubicBezTo>
                    <a:cubicBezTo>
                      <a:pt x="184" y="440"/>
                      <a:pt x="173" y="434"/>
                      <a:pt x="164" y="434"/>
                    </a:cubicBezTo>
                    <a:cubicBezTo>
                      <a:pt x="147" y="434"/>
                      <a:pt x="139" y="443"/>
                      <a:pt x="122" y="443"/>
                    </a:cubicBezTo>
                    <a:cubicBezTo>
                      <a:pt x="117" y="443"/>
                      <a:pt x="111" y="440"/>
                      <a:pt x="109" y="439"/>
                    </a:cubicBezTo>
                    <a:cubicBezTo>
                      <a:pt x="97" y="430"/>
                      <a:pt x="71" y="415"/>
                      <a:pt x="62" y="401"/>
                    </a:cubicBezTo>
                    <a:cubicBezTo>
                      <a:pt x="53" y="388"/>
                      <a:pt x="51" y="377"/>
                      <a:pt x="40" y="369"/>
                    </a:cubicBezTo>
                    <a:cubicBezTo>
                      <a:pt x="37" y="366"/>
                      <a:pt x="13" y="346"/>
                      <a:pt x="13" y="344"/>
                    </a:cubicBezTo>
                    <a:cubicBezTo>
                      <a:pt x="11" y="341"/>
                      <a:pt x="10" y="340"/>
                      <a:pt x="7" y="338"/>
                    </a:cubicBezTo>
                    <a:cubicBezTo>
                      <a:pt x="9" y="338"/>
                      <a:pt x="9" y="338"/>
                      <a:pt x="9" y="338"/>
                    </a:cubicBezTo>
                    <a:cubicBezTo>
                      <a:pt x="9" y="331"/>
                      <a:pt x="7" y="328"/>
                      <a:pt x="7" y="324"/>
                    </a:cubicBezTo>
                    <a:cubicBezTo>
                      <a:pt x="7" y="317"/>
                      <a:pt x="3" y="315"/>
                      <a:pt x="0" y="309"/>
                    </a:cubicBezTo>
                    <a:cubicBezTo>
                      <a:pt x="10" y="304"/>
                      <a:pt x="18" y="280"/>
                      <a:pt x="18" y="269"/>
                    </a:cubicBezTo>
                    <a:cubicBezTo>
                      <a:pt x="18" y="250"/>
                      <a:pt x="10" y="238"/>
                      <a:pt x="10" y="220"/>
                    </a:cubicBezTo>
                    <a:cubicBezTo>
                      <a:pt x="10" y="211"/>
                      <a:pt x="20" y="206"/>
                      <a:pt x="22" y="199"/>
                    </a:cubicBezTo>
                    <a:cubicBezTo>
                      <a:pt x="28" y="182"/>
                      <a:pt x="41" y="158"/>
                      <a:pt x="52" y="144"/>
                    </a:cubicBezTo>
                    <a:cubicBezTo>
                      <a:pt x="58" y="135"/>
                      <a:pt x="69" y="136"/>
                      <a:pt x="77" y="132"/>
                    </a:cubicBezTo>
                    <a:cubicBezTo>
                      <a:pt x="84" y="128"/>
                      <a:pt x="95" y="119"/>
                      <a:pt x="97" y="112"/>
                    </a:cubicBezTo>
                    <a:cubicBezTo>
                      <a:pt x="102" y="96"/>
                      <a:pt x="96" y="89"/>
                      <a:pt x="104" y="77"/>
                    </a:cubicBezTo>
                    <a:cubicBezTo>
                      <a:pt x="116" y="63"/>
                      <a:pt x="131" y="49"/>
                      <a:pt x="142" y="36"/>
                    </a:cubicBezTo>
                    <a:cubicBezTo>
                      <a:pt x="141" y="36"/>
                      <a:pt x="141" y="36"/>
                      <a:pt x="141" y="36"/>
                    </a:cubicBezTo>
                    <a:cubicBezTo>
                      <a:pt x="145" y="31"/>
                      <a:pt x="146" y="27"/>
                      <a:pt x="150" y="24"/>
                    </a:cubicBezTo>
                    <a:cubicBezTo>
                      <a:pt x="161" y="32"/>
                      <a:pt x="172" y="35"/>
                      <a:pt x="187" y="35"/>
                    </a:cubicBezTo>
                    <a:cubicBezTo>
                      <a:pt x="197" y="35"/>
                      <a:pt x="198" y="29"/>
                      <a:pt x="204" y="27"/>
                    </a:cubicBezTo>
                    <a:cubicBezTo>
                      <a:pt x="221" y="18"/>
                      <a:pt x="254" y="6"/>
                      <a:pt x="273" y="6"/>
                    </a:cubicBezTo>
                    <a:cubicBezTo>
                      <a:pt x="280" y="6"/>
                      <a:pt x="285" y="10"/>
                      <a:pt x="289" y="10"/>
                    </a:cubicBezTo>
                    <a:cubicBezTo>
                      <a:pt x="294" y="10"/>
                      <a:pt x="301" y="4"/>
                      <a:pt x="307" y="4"/>
                    </a:cubicBezTo>
                    <a:cubicBezTo>
                      <a:pt x="313" y="4"/>
                      <a:pt x="316" y="7"/>
                      <a:pt x="321" y="7"/>
                    </a:cubicBezTo>
                    <a:cubicBezTo>
                      <a:pt x="329" y="7"/>
                      <a:pt x="330" y="0"/>
                      <a:pt x="338" y="0"/>
                    </a:cubicBezTo>
                    <a:cubicBezTo>
                      <a:pt x="347" y="0"/>
                      <a:pt x="344" y="8"/>
                      <a:pt x="351" y="8"/>
                    </a:cubicBezTo>
                    <a:cubicBezTo>
                      <a:pt x="354" y="8"/>
                      <a:pt x="355" y="6"/>
                      <a:pt x="358" y="6"/>
                    </a:cubicBezTo>
                    <a:cubicBezTo>
                      <a:pt x="358" y="12"/>
                      <a:pt x="351" y="11"/>
                      <a:pt x="351" y="17"/>
                    </a:cubicBezTo>
                    <a:cubicBezTo>
                      <a:pt x="351" y="21"/>
                      <a:pt x="357" y="23"/>
                      <a:pt x="357" y="27"/>
                    </a:cubicBezTo>
                    <a:cubicBezTo>
                      <a:pt x="357" y="33"/>
                      <a:pt x="351" y="37"/>
                      <a:pt x="351" y="44"/>
                    </a:cubicBezTo>
                    <a:cubicBezTo>
                      <a:pt x="351" y="55"/>
                      <a:pt x="363" y="64"/>
                      <a:pt x="371" y="64"/>
                    </a:cubicBezTo>
                    <a:cubicBezTo>
                      <a:pt x="377" y="64"/>
                      <a:pt x="380" y="64"/>
                      <a:pt x="384" y="64"/>
                    </a:cubicBezTo>
                    <a:cubicBezTo>
                      <a:pt x="412" y="64"/>
                      <a:pt x="423" y="100"/>
                      <a:pt x="455" y="100"/>
                    </a:cubicBezTo>
                    <a:cubicBezTo>
                      <a:pt x="459" y="100"/>
                      <a:pt x="464" y="95"/>
                      <a:pt x="464" y="93"/>
                    </a:cubicBezTo>
                    <a:cubicBezTo>
                      <a:pt x="464" y="90"/>
                      <a:pt x="464" y="87"/>
                      <a:pt x="464" y="84"/>
                    </a:cubicBezTo>
                    <a:cubicBezTo>
                      <a:pt x="464" y="70"/>
                      <a:pt x="475" y="70"/>
                      <a:pt x="488" y="66"/>
                    </a:cubicBezTo>
                    <a:lnTo>
                      <a:pt x="490" y="66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</p:grpSp>
        <p:grpSp>
          <p:nvGrpSpPr>
            <p:cNvPr id="109" name="Группа 274">
              <a:extLst>
                <a:ext uri="{FF2B5EF4-FFF2-40B4-BE49-F238E27FC236}">
                  <a16:creationId xmlns:a16="http://schemas.microsoft.com/office/drawing/2014/main" xmlns="" id="{7A7F6D5A-8366-7E89-F618-DA0D6034B7F7}"/>
                </a:ext>
              </a:extLst>
            </p:cNvPr>
            <p:cNvGrpSpPr/>
            <p:nvPr/>
          </p:nvGrpSpPr>
          <p:grpSpPr>
            <a:xfrm>
              <a:off x="1945621" y="2801220"/>
              <a:ext cx="759070" cy="1225954"/>
              <a:chOff x="3030538" y="2674938"/>
              <a:chExt cx="779463" cy="1258888"/>
            </a:xfrm>
            <a:grpFill/>
          </p:grpSpPr>
          <p:sp>
            <p:nvSpPr>
              <p:cNvPr id="277" name="Полилиния 22">
                <a:extLst>
                  <a:ext uri="{FF2B5EF4-FFF2-40B4-BE49-F238E27FC236}">
                    <a16:creationId xmlns:a16="http://schemas.microsoft.com/office/drawing/2014/main" xmlns="" id="{E5470A93-3487-94C1-9CF0-C79E680C8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1713" y="2881313"/>
                <a:ext cx="39688" cy="3175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20" y="4"/>
                  </a:cxn>
                  <a:cxn ang="0">
                    <a:pos x="27" y="5"/>
                  </a:cxn>
                  <a:cxn ang="0">
                    <a:pos x="30" y="9"/>
                  </a:cxn>
                  <a:cxn ang="0">
                    <a:pos x="18" y="23"/>
                  </a:cxn>
                  <a:cxn ang="0">
                    <a:pos x="0" y="11"/>
                  </a:cxn>
                  <a:cxn ang="0">
                    <a:pos x="9" y="0"/>
                  </a:cxn>
                  <a:cxn ang="0">
                    <a:pos x="10" y="0"/>
                  </a:cxn>
                </a:cxnLst>
                <a:rect l="0" t="0" r="r" b="b"/>
                <a:pathLst>
                  <a:path w="30" h="23">
                    <a:moveTo>
                      <a:pt x="10" y="0"/>
                    </a:moveTo>
                    <a:cubicBezTo>
                      <a:pt x="13" y="1"/>
                      <a:pt x="16" y="4"/>
                      <a:pt x="20" y="4"/>
                    </a:cubicBezTo>
                    <a:cubicBezTo>
                      <a:pt x="21" y="9"/>
                      <a:pt x="25" y="5"/>
                      <a:pt x="27" y="5"/>
                    </a:cubicBezTo>
                    <a:cubicBezTo>
                      <a:pt x="29" y="5"/>
                      <a:pt x="30" y="8"/>
                      <a:pt x="30" y="9"/>
                    </a:cubicBezTo>
                    <a:cubicBezTo>
                      <a:pt x="30" y="12"/>
                      <a:pt x="23" y="23"/>
                      <a:pt x="18" y="23"/>
                    </a:cubicBezTo>
                    <a:cubicBezTo>
                      <a:pt x="11" y="23"/>
                      <a:pt x="0" y="15"/>
                      <a:pt x="0" y="11"/>
                    </a:cubicBezTo>
                    <a:cubicBezTo>
                      <a:pt x="0" y="4"/>
                      <a:pt x="3" y="0"/>
                      <a:pt x="9" y="0"/>
                    </a:cubicBezTo>
                    <a:cubicBezTo>
                      <a:pt x="9" y="0"/>
                      <a:pt x="10" y="0"/>
                      <a:pt x="10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78" name="Полилиния 23">
                <a:extLst>
                  <a:ext uri="{FF2B5EF4-FFF2-40B4-BE49-F238E27FC236}">
                    <a16:creationId xmlns:a16="http://schemas.microsoft.com/office/drawing/2014/main" xmlns="" id="{C855D6B6-88BC-C393-4336-2C3B8357F6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0538" y="2674938"/>
                <a:ext cx="779463" cy="1258888"/>
              </a:xfrm>
              <a:custGeom>
                <a:avLst/>
                <a:gdLst/>
                <a:ahLst/>
                <a:cxnLst>
                  <a:cxn ang="0">
                    <a:pos x="46" y="91"/>
                  </a:cxn>
                  <a:cxn ang="0">
                    <a:pos x="51" y="51"/>
                  </a:cxn>
                  <a:cxn ang="0">
                    <a:pos x="59" y="46"/>
                  </a:cxn>
                  <a:cxn ang="0">
                    <a:pos x="82" y="18"/>
                  </a:cxn>
                  <a:cxn ang="0">
                    <a:pos x="128" y="6"/>
                  </a:cxn>
                  <a:cxn ang="0">
                    <a:pos x="126" y="42"/>
                  </a:cxn>
                  <a:cxn ang="0">
                    <a:pos x="136" y="13"/>
                  </a:cxn>
                  <a:cxn ang="0">
                    <a:pos x="146" y="5"/>
                  </a:cxn>
                  <a:cxn ang="0">
                    <a:pos x="194" y="24"/>
                  </a:cxn>
                  <a:cxn ang="0">
                    <a:pos x="227" y="20"/>
                  </a:cxn>
                  <a:cxn ang="0">
                    <a:pos x="233" y="26"/>
                  </a:cxn>
                  <a:cxn ang="0">
                    <a:pos x="270" y="50"/>
                  </a:cxn>
                  <a:cxn ang="0">
                    <a:pos x="328" y="84"/>
                  </a:cxn>
                  <a:cxn ang="0">
                    <a:pos x="354" y="89"/>
                  </a:cxn>
                  <a:cxn ang="0">
                    <a:pos x="389" y="130"/>
                  </a:cxn>
                  <a:cxn ang="0">
                    <a:pos x="383" y="170"/>
                  </a:cxn>
                  <a:cxn ang="0">
                    <a:pos x="403" y="185"/>
                  </a:cxn>
                  <a:cxn ang="0">
                    <a:pos x="454" y="175"/>
                  </a:cxn>
                  <a:cxn ang="0">
                    <a:pos x="467" y="191"/>
                  </a:cxn>
                  <a:cxn ang="0">
                    <a:pos x="513" y="191"/>
                  </a:cxn>
                  <a:cxn ang="0">
                    <a:pos x="575" y="220"/>
                  </a:cxn>
                  <a:cxn ang="0">
                    <a:pos x="549" y="310"/>
                  </a:cxn>
                  <a:cxn ang="0">
                    <a:pos x="532" y="374"/>
                  </a:cxn>
                  <a:cxn ang="0">
                    <a:pos x="522" y="405"/>
                  </a:cxn>
                  <a:cxn ang="0">
                    <a:pos x="485" y="449"/>
                  </a:cxn>
                  <a:cxn ang="0">
                    <a:pos x="429" y="474"/>
                  </a:cxn>
                  <a:cxn ang="0">
                    <a:pos x="412" y="524"/>
                  </a:cxn>
                  <a:cxn ang="0">
                    <a:pos x="388" y="559"/>
                  </a:cxn>
                  <a:cxn ang="0">
                    <a:pos x="311" y="614"/>
                  </a:cxn>
                  <a:cxn ang="0">
                    <a:pos x="297" y="619"/>
                  </a:cxn>
                  <a:cxn ang="0">
                    <a:pos x="308" y="654"/>
                  </a:cxn>
                  <a:cxn ang="0">
                    <a:pos x="244" y="677"/>
                  </a:cxn>
                  <a:cxn ang="0">
                    <a:pos x="240" y="707"/>
                  </a:cxn>
                  <a:cxn ang="0">
                    <a:pos x="205" y="711"/>
                  </a:cxn>
                  <a:cxn ang="0">
                    <a:pos x="225" y="730"/>
                  </a:cxn>
                  <a:cxn ang="0">
                    <a:pos x="214" y="739"/>
                  </a:cxn>
                  <a:cxn ang="0">
                    <a:pos x="178" y="787"/>
                  </a:cxn>
                  <a:cxn ang="0">
                    <a:pos x="176" y="846"/>
                  </a:cxn>
                  <a:cxn ang="0">
                    <a:pos x="161" y="884"/>
                  </a:cxn>
                  <a:cxn ang="0">
                    <a:pos x="200" y="935"/>
                  </a:cxn>
                  <a:cxn ang="0">
                    <a:pos x="169" y="945"/>
                  </a:cxn>
                  <a:cxn ang="0">
                    <a:pos x="127" y="921"/>
                  </a:cxn>
                  <a:cxn ang="0">
                    <a:pos x="92" y="903"/>
                  </a:cxn>
                  <a:cxn ang="0">
                    <a:pos x="93" y="889"/>
                  </a:cxn>
                  <a:cxn ang="0">
                    <a:pos x="84" y="857"/>
                  </a:cxn>
                  <a:cxn ang="0">
                    <a:pos x="82" y="791"/>
                  </a:cxn>
                  <a:cxn ang="0">
                    <a:pos x="86" y="782"/>
                  </a:cxn>
                  <a:cxn ang="0">
                    <a:pos x="112" y="718"/>
                  </a:cxn>
                  <a:cxn ang="0">
                    <a:pos x="95" y="708"/>
                  </a:cxn>
                  <a:cxn ang="0">
                    <a:pos x="102" y="680"/>
                  </a:cxn>
                  <a:cxn ang="0">
                    <a:pos x="114" y="626"/>
                  </a:cxn>
                  <a:cxn ang="0">
                    <a:pos x="124" y="562"/>
                  </a:cxn>
                  <a:cxn ang="0">
                    <a:pos x="136" y="494"/>
                  </a:cxn>
                  <a:cxn ang="0">
                    <a:pos x="143" y="434"/>
                  </a:cxn>
                  <a:cxn ang="0">
                    <a:pos x="104" y="370"/>
                  </a:cxn>
                  <a:cxn ang="0">
                    <a:pos x="62" y="330"/>
                  </a:cxn>
                  <a:cxn ang="0">
                    <a:pos x="28" y="261"/>
                  </a:cxn>
                  <a:cxn ang="0">
                    <a:pos x="11" y="242"/>
                  </a:cxn>
                  <a:cxn ang="0">
                    <a:pos x="18" y="191"/>
                  </a:cxn>
                  <a:cxn ang="0">
                    <a:pos x="14" y="148"/>
                  </a:cxn>
                  <a:cxn ang="0">
                    <a:pos x="47" y="106"/>
                  </a:cxn>
                </a:cxnLst>
                <a:rect l="0" t="0" r="r" b="b"/>
                <a:pathLst>
                  <a:path w="586" h="945">
                    <a:moveTo>
                      <a:pt x="49" y="103"/>
                    </a:moveTo>
                    <a:cubicBezTo>
                      <a:pt x="49" y="102"/>
                      <a:pt x="49" y="101"/>
                      <a:pt x="49" y="100"/>
                    </a:cubicBezTo>
                    <a:cubicBezTo>
                      <a:pt x="49" y="97"/>
                      <a:pt x="46" y="94"/>
                      <a:pt x="46" y="91"/>
                    </a:cubicBezTo>
                    <a:cubicBezTo>
                      <a:pt x="46" y="85"/>
                      <a:pt x="48" y="84"/>
                      <a:pt x="48" y="79"/>
                    </a:cubicBezTo>
                    <a:cubicBezTo>
                      <a:pt x="48" y="70"/>
                      <a:pt x="40" y="71"/>
                      <a:pt x="40" y="63"/>
                    </a:cubicBezTo>
                    <a:cubicBezTo>
                      <a:pt x="40" y="57"/>
                      <a:pt x="49" y="55"/>
                      <a:pt x="51" y="51"/>
                    </a:cubicBezTo>
                    <a:cubicBezTo>
                      <a:pt x="55" y="52"/>
                      <a:pt x="53" y="52"/>
                      <a:pt x="57" y="51"/>
                    </a:cubicBezTo>
                    <a:cubicBezTo>
                      <a:pt x="57" y="50"/>
                      <a:pt x="57" y="49"/>
                      <a:pt x="57" y="48"/>
                    </a:cubicBezTo>
                    <a:cubicBezTo>
                      <a:pt x="57" y="48"/>
                      <a:pt x="58" y="46"/>
                      <a:pt x="59" y="46"/>
                    </a:cubicBezTo>
                    <a:cubicBezTo>
                      <a:pt x="59" y="42"/>
                      <a:pt x="64" y="40"/>
                      <a:pt x="66" y="39"/>
                    </a:cubicBezTo>
                    <a:cubicBezTo>
                      <a:pt x="69" y="37"/>
                      <a:pt x="69" y="31"/>
                      <a:pt x="70" y="28"/>
                    </a:cubicBezTo>
                    <a:cubicBezTo>
                      <a:pt x="72" y="21"/>
                      <a:pt x="76" y="19"/>
                      <a:pt x="82" y="18"/>
                    </a:cubicBezTo>
                    <a:cubicBezTo>
                      <a:pt x="93" y="14"/>
                      <a:pt x="100" y="12"/>
                      <a:pt x="111" y="9"/>
                    </a:cubicBezTo>
                    <a:cubicBezTo>
                      <a:pt x="117" y="7"/>
                      <a:pt x="118" y="0"/>
                      <a:pt x="124" y="0"/>
                    </a:cubicBezTo>
                    <a:cubicBezTo>
                      <a:pt x="126" y="0"/>
                      <a:pt x="128" y="5"/>
                      <a:pt x="128" y="6"/>
                    </a:cubicBezTo>
                    <a:cubicBezTo>
                      <a:pt x="128" y="9"/>
                      <a:pt x="125" y="11"/>
                      <a:pt x="123" y="11"/>
                    </a:cubicBezTo>
                    <a:cubicBezTo>
                      <a:pt x="122" y="18"/>
                      <a:pt x="119" y="25"/>
                      <a:pt x="119" y="29"/>
                    </a:cubicBezTo>
                    <a:cubicBezTo>
                      <a:pt x="119" y="34"/>
                      <a:pt x="122" y="42"/>
                      <a:pt x="126" y="42"/>
                    </a:cubicBezTo>
                    <a:cubicBezTo>
                      <a:pt x="128" y="42"/>
                      <a:pt x="131" y="37"/>
                      <a:pt x="131" y="35"/>
                    </a:cubicBezTo>
                    <a:cubicBezTo>
                      <a:pt x="131" y="30"/>
                      <a:pt x="125" y="27"/>
                      <a:pt x="125" y="21"/>
                    </a:cubicBezTo>
                    <a:cubicBezTo>
                      <a:pt x="125" y="15"/>
                      <a:pt x="132" y="16"/>
                      <a:pt x="136" y="13"/>
                    </a:cubicBezTo>
                    <a:cubicBezTo>
                      <a:pt x="147" y="13"/>
                      <a:pt x="147" y="13"/>
                      <a:pt x="147" y="13"/>
                    </a:cubicBezTo>
                    <a:cubicBezTo>
                      <a:pt x="145" y="8"/>
                      <a:pt x="139" y="10"/>
                      <a:pt x="139" y="5"/>
                    </a:cubicBezTo>
                    <a:cubicBezTo>
                      <a:pt x="146" y="5"/>
                      <a:pt x="146" y="5"/>
                      <a:pt x="146" y="5"/>
                    </a:cubicBezTo>
                    <a:cubicBezTo>
                      <a:pt x="148" y="12"/>
                      <a:pt x="158" y="14"/>
                      <a:pt x="165" y="16"/>
                    </a:cubicBezTo>
                    <a:cubicBezTo>
                      <a:pt x="165" y="20"/>
                      <a:pt x="167" y="23"/>
                      <a:pt x="170" y="24"/>
                    </a:cubicBezTo>
                    <a:cubicBezTo>
                      <a:pt x="177" y="24"/>
                      <a:pt x="190" y="24"/>
                      <a:pt x="194" y="24"/>
                    </a:cubicBezTo>
                    <a:cubicBezTo>
                      <a:pt x="194" y="28"/>
                      <a:pt x="199" y="29"/>
                      <a:pt x="203" y="29"/>
                    </a:cubicBezTo>
                    <a:cubicBezTo>
                      <a:pt x="209" y="28"/>
                      <a:pt x="214" y="28"/>
                      <a:pt x="216" y="22"/>
                    </a:cubicBezTo>
                    <a:cubicBezTo>
                      <a:pt x="217" y="21"/>
                      <a:pt x="226" y="21"/>
                      <a:pt x="227" y="20"/>
                    </a:cubicBezTo>
                    <a:cubicBezTo>
                      <a:pt x="232" y="20"/>
                      <a:pt x="240" y="21"/>
                      <a:pt x="240" y="21"/>
                    </a:cubicBezTo>
                    <a:cubicBezTo>
                      <a:pt x="238" y="23"/>
                      <a:pt x="234" y="23"/>
                      <a:pt x="233" y="22"/>
                    </a:cubicBezTo>
                    <a:cubicBezTo>
                      <a:pt x="233" y="26"/>
                      <a:pt x="233" y="26"/>
                      <a:pt x="233" y="26"/>
                    </a:cubicBezTo>
                    <a:cubicBezTo>
                      <a:pt x="236" y="32"/>
                      <a:pt x="245" y="33"/>
                      <a:pt x="252" y="36"/>
                    </a:cubicBezTo>
                    <a:cubicBezTo>
                      <a:pt x="258" y="37"/>
                      <a:pt x="256" y="44"/>
                      <a:pt x="258" y="50"/>
                    </a:cubicBezTo>
                    <a:cubicBezTo>
                      <a:pt x="270" y="50"/>
                      <a:pt x="270" y="50"/>
                      <a:pt x="270" y="50"/>
                    </a:cubicBezTo>
                    <a:cubicBezTo>
                      <a:pt x="279" y="58"/>
                      <a:pt x="283" y="57"/>
                      <a:pt x="288" y="68"/>
                    </a:cubicBezTo>
                    <a:cubicBezTo>
                      <a:pt x="289" y="70"/>
                      <a:pt x="293" y="70"/>
                      <a:pt x="295" y="70"/>
                    </a:cubicBezTo>
                    <a:cubicBezTo>
                      <a:pt x="298" y="83"/>
                      <a:pt x="316" y="81"/>
                      <a:pt x="328" y="84"/>
                    </a:cubicBezTo>
                    <a:cubicBezTo>
                      <a:pt x="340" y="84"/>
                      <a:pt x="340" y="84"/>
                      <a:pt x="340" y="84"/>
                    </a:cubicBezTo>
                    <a:cubicBezTo>
                      <a:pt x="343" y="85"/>
                      <a:pt x="350" y="89"/>
                      <a:pt x="354" y="89"/>
                    </a:cubicBezTo>
                    <a:cubicBezTo>
                      <a:pt x="354" y="89"/>
                      <a:pt x="354" y="89"/>
                      <a:pt x="354" y="89"/>
                    </a:cubicBezTo>
                    <a:cubicBezTo>
                      <a:pt x="355" y="89"/>
                      <a:pt x="356" y="89"/>
                      <a:pt x="357" y="89"/>
                    </a:cubicBezTo>
                    <a:cubicBezTo>
                      <a:pt x="364" y="89"/>
                      <a:pt x="373" y="104"/>
                      <a:pt x="381" y="106"/>
                    </a:cubicBezTo>
                    <a:cubicBezTo>
                      <a:pt x="381" y="111"/>
                      <a:pt x="386" y="125"/>
                      <a:pt x="389" y="130"/>
                    </a:cubicBezTo>
                    <a:cubicBezTo>
                      <a:pt x="391" y="134"/>
                      <a:pt x="397" y="134"/>
                      <a:pt x="397" y="139"/>
                    </a:cubicBezTo>
                    <a:cubicBezTo>
                      <a:pt x="390" y="148"/>
                      <a:pt x="377" y="152"/>
                      <a:pt x="377" y="165"/>
                    </a:cubicBezTo>
                    <a:cubicBezTo>
                      <a:pt x="377" y="170"/>
                      <a:pt x="381" y="169"/>
                      <a:pt x="383" y="170"/>
                    </a:cubicBezTo>
                    <a:cubicBezTo>
                      <a:pt x="387" y="172"/>
                      <a:pt x="390" y="176"/>
                      <a:pt x="390" y="180"/>
                    </a:cubicBezTo>
                    <a:cubicBezTo>
                      <a:pt x="401" y="180"/>
                      <a:pt x="401" y="180"/>
                      <a:pt x="401" y="180"/>
                    </a:cubicBezTo>
                    <a:cubicBezTo>
                      <a:pt x="401" y="182"/>
                      <a:pt x="402" y="185"/>
                      <a:pt x="403" y="185"/>
                    </a:cubicBezTo>
                    <a:cubicBezTo>
                      <a:pt x="405" y="185"/>
                      <a:pt x="407" y="182"/>
                      <a:pt x="408" y="180"/>
                    </a:cubicBezTo>
                    <a:cubicBezTo>
                      <a:pt x="413" y="173"/>
                      <a:pt x="418" y="164"/>
                      <a:pt x="425" y="164"/>
                    </a:cubicBezTo>
                    <a:cubicBezTo>
                      <a:pt x="433" y="164"/>
                      <a:pt x="449" y="172"/>
                      <a:pt x="454" y="175"/>
                    </a:cubicBezTo>
                    <a:cubicBezTo>
                      <a:pt x="458" y="178"/>
                      <a:pt x="462" y="177"/>
                      <a:pt x="463" y="180"/>
                    </a:cubicBezTo>
                    <a:cubicBezTo>
                      <a:pt x="464" y="184"/>
                      <a:pt x="464" y="187"/>
                      <a:pt x="464" y="191"/>
                    </a:cubicBezTo>
                    <a:cubicBezTo>
                      <a:pt x="467" y="191"/>
                      <a:pt x="467" y="191"/>
                      <a:pt x="467" y="191"/>
                    </a:cubicBezTo>
                    <a:cubicBezTo>
                      <a:pt x="471" y="190"/>
                      <a:pt x="472" y="186"/>
                      <a:pt x="476" y="186"/>
                    </a:cubicBezTo>
                    <a:cubicBezTo>
                      <a:pt x="486" y="186"/>
                      <a:pt x="487" y="194"/>
                      <a:pt x="496" y="194"/>
                    </a:cubicBezTo>
                    <a:cubicBezTo>
                      <a:pt x="513" y="191"/>
                      <a:pt x="513" y="191"/>
                      <a:pt x="513" y="191"/>
                    </a:cubicBezTo>
                    <a:cubicBezTo>
                      <a:pt x="521" y="193"/>
                      <a:pt x="529" y="196"/>
                      <a:pt x="534" y="198"/>
                    </a:cubicBezTo>
                    <a:cubicBezTo>
                      <a:pt x="538" y="205"/>
                      <a:pt x="551" y="217"/>
                      <a:pt x="558" y="220"/>
                    </a:cubicBezTo>
                    <a:cubicBezTo>
                      <a:pt x="565" y="221"/>
                      <a:pt x="569" y="219"/>
                      <a:pt x="575" y="220"/>
                    </a:cubicBezTo>
                    <a:cubicBezTo>
                      <a:pt x="584" y="223"/>
                      <a:pt x="586" y="232"/>
                      <a:pt x="586" y="242"/>
                    </a:cubicBezTo>
                    <a:cubicBezTo>
                      <a:pt x="586" y="274"/>
                      <a:pt x="568" y="283"/>
                      <a:pt x="556" y="301"/>
                    </a:cubicBezTo>
                    <a:cubicBezTo>
                      <a:pt x="553" y="305"/>
                      <a:pt x="551" y="306"/>
                      <a:pt x="549" y="310"/>
                    </a:cubicBezTo>
                    <a:cubicBezTo>
                      <a:pt x="544" y="317"/>
                      <a:pt x="540" y="317"/>
                      <a:pt x="535" y="322"/>
                    </a:cubicBezTo>
                    <a:cubicBezTo>
                      <a:pt x="529" y="328"/>
                      <a:pt x="535" y="343"/>
                      <a:pt x="535" y="353"/>
                    </a:cubicBezTo>
                    <a:cubicBezTo>
                      <a:pt x="535" y="361"/>
                      <a:pt x="532" y="369"/>
                      <a:pt x="532" y="374"/>
                    </a:cubicBezTo>
                    <a:cubicBezTo>
                      <a:pt x="532" y="377"/>
                      <a:pt x="530" y="378"/>
                      <a:pt x="530" y="380"/>
                    </a:cubicBezTo>
                    <a:cubicBezTo>
                      <a:pt x="528" y="382"/>
                      <a:pt x="524" y="386"/>
                      <a:pt x="524" y="390"/>
                    </a:cubicBezTo>
                    <a:cubicBezTo>
                      <a:pt x="524" y="394"/>
                      <a:pt x="523" y="403"/>
                      <a:pt x="522" y="405"/>
                    </a:cubicBezTo>
                    <a:cubicBezTo>
                      <a:pt x="515" y="415"/>
                      <a:pt x="513" y="419"/>
                      <a:pt x="506" y="428"/>
                    </a:cubicBezTo>
                    <a:cubicBezTo>
                      <a:pt x="505" y="431"/>
                      <a:pt x="505" y="436"/>
                      <a:pt x="504" y="438"/>
                    </a:cubicBezTo>
                    <a:cubicBezTo>
                      <a:pt x="502" y="443"/>
                      <a:pt x="492" y="449"/>
                      <a:pt x="485" y="449"/>
                    </a:cubicBezTo>
                    <a:cubicBezTo>
                      <a:pt x="476" y="449"/>
                      <a:pt x="470" y="449"/>
                      <a:pt x="463" y="452"/>
                    </a:cubicBezTo>
                    <a:cubicBezTo>
                      <a:pt x="461" y="453"/>
                      <a:pt x="460" y="455"/>
                      <a:pt x="459" y="457"/>
                    </a:cubicBezTo>
                    <a:cubicBezTo>
                      <a:pt x="448" y="467"/>
                      <a:pt x="437" y="461"/>
                      <a:pt x="429" y="474"/>
                    </a:cubicBezTo>
                    <a:cubicBezTo>
                      <a:pt x="426" y="479"/>
                      <a:pt x="420" y="479"/>
                      <a:pt x="416" y="483"/>
                    </a:cubicBezTo>
                    <a:cubicBezTo>
                      <a:pt x="411" y="489"/>
                      <a:pt x="412" y="495"/>
                      <a:pt x="412" y="503"/>
                    </a:cubicBezTo>
                    <a:cubicBezTo>
                      <a:pt x="412" y="524"/>
                      <a:pt x="412" y="524"/>
                      <a:pt x="412" y="524"/>
                    </a:cubicBezTo>
                    <a:cubicBezTo>
                      <a:pt x="403" y="528"/>
                      <a:pt x="398" y="536"/>
                      <a:pt x="394" y="545"/>
                    </a:cubicBezTo>
                    <a:cubicBezTo>
                      <a:pt x="394" y="545"/>
                      <a:pt x="394" y="545"/>
                      <a:pt x="394" y="545"/>
                    </a:cubicBezTo>
                    <a:cubicBezTo>
                      <a:pt x="391" y="550"/>
                      <a:pt x="391" y="553"/>
                      <a:pt x="388" y="559"/>
                    </a:cubicBezTo>
                    <a:cubicBezTo>
                      <a:pt x="380" y="571"/>
                      <a:pt x="371" y="572"/>
                      <a:pt x="364" y="584"/>
                    </a:cubicBezTo>
                    <a:cubicBezTo>
                      <a:pt x="355" y="597"/>
                      <a:pt x="351" y="619"/>
                      <a:pt x="331" y="619"/>
                    </a:cubicBezTo>
                    <a:cubicBezTo>
                      <a:pt x="324" y="619"/>
                      <a:pt x="314" y="614"/>
                      <a:pt x="311" y="614"/>
                    </a:cubicBezTo>
                    <a:cubicBezTo>
                      <a:pt x="305" y="614"/>
                      <a:pt x="299" y="609"/>
                      <a:pt x="293" y="609"/>
                    </a:cubicBezTo>
                    <a:cubicBezTo>
                      <a:pt x="291" y="609"/>
                      <a:pt x="289" y="610"/>
                      <a:pt x="289" y="611"/>
                    </a:cubicBezTo>
                    <a:cubicBezTo>
                      <a:pt x="289" y="615"/>
                      <a:pt x="296" y="617"/>
                      <a:pt x="297" y="619"/>
                    </a:cubicBezTo>
                    <a:cubicBezTo>
                      <a:pt x="300" y="622"/>
                      <a:pt x="300" y="627"/>
                      <a:pt x="302" y="632"/>
                    </a:cubicBezTo>
                    <a:cubicBezTo>
                      <a:pt x="304" y="637"/>
                      <a:pt x="311" y="637"/>
                      <a:pt x="311" y="642"/>
                    </a:cubicBezTo>
                    <a:cubicBezTo>
                      <a:pt x="311" y="647"/>
                      <a:pt x="311" y="650"/>
                      <a:pt x="308" y="654"/>
                    </a:cubicBezTo>
                    <a:cubicBezTo>
                      <a:pt x="304" y="660"/>
                      <a:pt x="301" y="663"/>
                      <a:pt x="297" y="667"/>
                    </a:cubicBezTo>
                    <a:cubicBezTo>
                      <a:pt x="289" y="675"/>
                      <a:pt x="280" y="673"/>
                      <a:pt x="270" y="676"/>
                    </a:cubicBezTo>
                    <a:cubicBezTo>
                      <a:pt x="263" y="678"/>
                      <a:pt x="248" y="673"/>
                      <a:pt x="244" y="677"/>
                    </a:cubicBezTo>
                    <a:cubicBezTo>
                      <a:pt x="238" y="683"/>
                      <a:pt x="243" y="696"/>
                      <a:pt x="240" y="703"/>
                    </a:cubicBezTo>
                    <a:cubicBezTo>
                      <a:pt x="240" y="702"/>
                      <a:pt x="240" y="702"/>
                      <a:pt x="240" y="702"/>
                    </a:cubicBezTo>
                    <a:cubicBezTo>
                      <a:pt x="240" y="703"/>
                      <a:pt x="240" y="706"/>
                      <a:pt x="240" y="707"/>
                    </a:cubicBezTo>
                    <a:cubicBezTo>
                      <a:pt x="240" y="709"/>
                      <a:pt x="233" y="712"/>
                      <a:pt x="229" y="712"/>
                    </a:cubicBezTo>
                    <a:cubicBezTo>
                      <a:pt x="220" y="712"/>
                      <a:pt x="218" y="706"/>
                      <a:pt x="210" y="706"/>
                    </a:cubicBezTo>
                    <a:cubicBezTo>
                      <a:pt x="207" y="706"/>
                      <a:pt x="205" y="709"/>
                      <a:pt x="205" y="711"/>
                    </a:cubicBezTo>
                    <a:cubicBezTo>
                      <a:pt x="205" y="717"/>
                      <a:pt x="211" y="729"/>
                      <a:pt x="214" y="729"/>
                    </a:cubicBezTo>
                    <a:cubicBezTo>
                      <a:pt x="217" y="729"/>
                      <a:pt x="219" y="726"/>
                      <a:pt x="221" y="726"/>
                    </a:cubicBezTo>
                    <a:cubicBezTo>
                      <a:pt x="222" y="728"/>
                      <a:pt x="225" y="728"/>
                      <a:pt x="225" y="730"/>
                    </a:cubicBezTo>
                    <a:cubicBezTo>
                      <a:pt x="225" y="733"/>
                      <a:pt x="221" y="736"/>
                      <a:pt x="220" y="736"/>
                    </a:cubicBezTo>
                    <a:cubicBezTo>
                      <a:pt x="215" y="736"/>
                      <a:pt x="213" y="732"/>
                      <a:pt x="209" y="732"/>
                    </a:cubicBezTo>
                    <a:cubicBezTo>
                      <a:pt x="209" y="737"/>
                      <a:pt x="211" y="738"/>
                      <a:pt x="214" y="739"/>
                    </a:cubicBezTo>
                    <a:cubicBezTo>
                      <a:pt x="206" y="747"/>
                      <a:pt x="206" y="755"/>
                      <a:pt x="203" y="766"/>
                    </a:cubicBezTo>
                    <a:cubicBezTo>
                      <a:pt x="202" y="770"/>
                      <a:pt x="194" y="771"/>
                      <a:pt x="191" y="771"/>
                    </a:cubicBezTo>
                    <a:cubicBezTo>
                      <a:pt x="184" y="773"/>
                      <a:pt x="178" y="779"/>
                      <a:pt x="178" y="787"/>
                    </a:cubicBezTo>
                    <a:cubicBezTo>
                      <a:pt x="178" y="804"/>
                      <a:pt x="198" y="798"/>
                      <a:pt x="198" y="811"/>
                    </a:cubicBezTo>
                    <a:cubicBezTo>
                      <a:pt x="198" y="824"/>
                      <a:pt x="187" y="825"/>
                      <a:pt x="181" y="831"/>
                    </a:cubicBezTo>
                    <a:cubicBezTo>
                      <a:pt x="177" y="835"/>
                      <a:pt x="178" y="841"/>
                      <a:pt x="176" y="846"/>
                    </a:cubicBezTo>
                    <a:cubicBezTo>
                      <a:pt x="173" y="852"/>
                      <a:pt x="166" y="850"/>
                      <a:pt x="162" y="854"/>
                    </a:cubicBezTo>
                    <a:cubicBezTo>
                      <a:pt x="156" y="859"/>
                      <a:pt x="154" y="865"/>
                      <a:pt x="154" y="874"/>
                    </a:cubicBezTo>
                    <a:cubicBezTo>
                      <a:pt x="154" y="878"/>
                      <a:pt x="158" y="883"/>
                      <a:pt x="161" y="884"/>
                    </a:cubicBezTo>
                    <a:cubicBezTo>
                      <a:pt x="169" y="888"/>
                      <a:pt x="168" y="908"/>
                      <a:pt x="174" y="914"/>
                    </a:cubicBezTo>
                    <a:cubicBezTo>
                      <a:pt x="184" y="924"/>
                      <a:pt x="196" y="928"/>
                      <a:pt x="207" y="934"/>
                    </a:cubicBezTo>
                    <a:cubicBezTo>
                      <a:pt x="206" y="936"/>
                      <a:pt x="203" y="935"/>
                      <a:pt x="200" y="935"/>
                    </a:cubicBezTo>
                    <a:cubicBezTo>
                      <a:pt x="194" y="935"/>
                      <a:pt x="183" y="943"/>
                      <a:pt x="179" y="943"/>
                    </a:cubicBezTo>
                    <a:cubicBezTo>
                      <a:pt x="176" y="943"/>
                      <a:pt x="176" y="943"/>
                      <a:pt x="174" y="943"/>
                    </a:cubicBezTo>
                    <a:cubicBezTo>
                      <a:pt x="173" y="943"/>
                      <a:pt x="171" y="945"/>
                      <a:pt x="169" y="945"/>
                    </a:cubicBezTo>
                    <a:cubicBezTo>
                      <a:pt x="165" y="945"/>
                      <a:pt x="162" y="945"/>
                      <a:pt x="157" y="945"/>
                    </a:cubicBezTo>
                    <a:cubicBezTo>
                      <a:pt x="147" y="945"/>
                      <a:pt x="151" y="933"/>
                      <a:pt x="143" y="931"/>
                    </a:cubicBezTo>
                    <a:cubicBezTo>
                      <a:pt x="137" y="929"/>
                      <a:pt x="127" y="929"/>
                      <a:pt x="127" y="921"/>
                    </a:cubicBezTo>
                    <a:cubicBezTo>
                      <a:pt x="124" y="921"/>
                      <a:pt x="122" y="921"/>
                      <a:pt x="119" y="921"/>
                    </a:cubicBezTo>
                    <a:cubicBezTo>
                      <a:pt x="115" y="921"/>
                      <a:pt x="114" y="917"/>
                      <a:pt x="114" y="915"/>
                    </a:cubicBezTo>
                    <a:cubicBezTo>
                      <a:pt x="102" y="915"/>
                      <a:pt x="98" y="909"/>
                      <a:pt x="92" y="903"/>
                    </a:cubicBezTo>
                    <a:cubicBezTo>
                      <a:pt x="91" y="902"/>
                      <a:pt x="88" y="900"/>
                      <a:pt x="88" y="899"/>
                    </a:cubicBezTo>
                    <a:cubicBezTo>
                      <a:pt x="88" y="895"/>
                      <a:pt x="96" y="895"/>
                      <a:pt x="97" y="891"/>
                    </a:cubicBezTo>
                    <a:cubicBezTo>
                      <a:pt x="95" y="891"/>
                      <a:pt x="94" y="890"/>
                      <a:pt x="93" y="889"/>
                    </a:cubicBezTo>
                    <a:cubicBezTo>
                      <a:pt x="94" y="887"/>
                      <a:pt x="96" y="884"/>
                      <a:pt x="96" y="882"/>
                    </a:cubicBezTo>
                    <a:cubicBezTo>
                      <a:pt x="96" y="871"/>
                      <a:pt x="84" y="873"/>
                      <a:pt x="84" y="863"/>
                    </a:cubicBezTo>
                    <a:cubicBezTo>
                      <a:pt x="84" y="860"/>
                      <a:pt x="84" y="859"/>
                      <a:pt x="84" y="857"/>
                    </a:cubicBezTo>
                    <a:cubicBezTo>
                      <a:pt x="84" y="848"/>
                      <a:pt x="78" y="832"/>
                      <a:pt x="78" y="825"/>
                    </a:cubicBezTo>
                    <a:cubicBezTo>
                      <a:pt x="78" y="817"/>
                      <a:pt x="88" y="814"/>
                      <a:pt x="88" y="807"/>
                    </a:cubicBezTo>
                    <a:cubicBezTo>
                      <a:pt x="88" y="803"/>
                      <a:pt x="83" y="796"/>
                      <a:pt x="82" y="791"/>
                    </a:cubicBezTo>
                    <a:cubicBezTo>
                      <a:pt x="82" y="787"/>
                      <a:pt x="82" y="787"/>
                      <a:pt x="82" y="787"/>
                    </a:cubicBezTo>
                    <a:cubicBezTo>
                      <a:pt x="82" y="787"/>
                      <a:pt x="82" y="787"/>
                      <a:pt x="82" y="787"/>
                    </a:cubicBezTo>
                    <a:cubicBezTo>
                      <a:pt x="82" y="784"/>
                      <a:pt x="84" y="782"/>
                      <a:pt x="86" y="782"/>
                    </a:cubicBezTo>
                    <a:cubicBezTo>
                      <a:pt x="94" y="782"/>
                      <a:pt x="91" y="790"/>
                      <a:pt x="98" y="790"/>
                    </a:cubicBezTo>
                    <a:cubicBezTo>
                      <a:pt x="112" y="725"/>
                      <a:pt x="112" y="725"/>
                      <a:pt x="112" y="725"/>
                    </a:cubicBezTo>
                    <a:cubicBezTo>
                      <a:pt x="112" y="718"/>
                      <a:pt x="112" y="718"/>
                      <a:pt x="112" y="718"/>
                    </a:cubicBezTo>
                    <a:cubicBezTo>
                      <a:pt x="111" y="718"/>
                      <a:pt x="109" y="717"/>
                      <a:pt x="108" y="718"/>
                    </a:cubicBezTo>
                    <a:cubicBezTo>
                      <a:pt x="105" y="719"/>
                      <a:pt x="105" y="723"/>
                      <a:pt x="102" y="723"/>
                    </a:cubicBezTo>
                    <a:cubicBezTo>
                      <a:pt x="98" y="723"/>
                      <a:pt x="95" y="713"/>
                      <a:pt x="95" y="708"/>
                    </a:cubicBezTo>
                    <a:cubicBezTo>
                      <a:pt x="95" y="699"/>
                      <a:pt x="98" y="696"/>
                      <a:pt x="100" y="688"/>
                    </a:cubicBezTo>
                    <a:cubicBezTo>
                      <a:pt x="103" y="688"/>
                      <a:pt x="104" y="687"/>
                      <a:pt x="104" y="685"/>
                    </a:cubicBezTo>
                    <a:cubicBezTo>
                      <a:pt x="104" y="683"/>
                      <a:pt x="102" y="680"/>
                      <a:pt x="102" y="680"/>
                    </a:cubicBezTo>
                    <a:cubicBezTo>
                      <a:pt x="100" y="680"/>
                      <a:pt x="99" y="668"/>
                      <a:pt x="99" y="665"/>
                    </a:cubicBezTo>
                    <a:cubicBezTo>
                      <a:pt x="99" y="655"/>
                      <a:pt x="106" y="645"/>
                      <a:pt x="109" y="639"/>
                    </a:cubicBezTo>
                    <a:cubicBezTo>
                      <a:pt x="111" y="635"/>
                      <a:pt x="112" y="629"/>
                      <a:pt x="114" y="626"/>
                    </a:cubicBezTo>
                    <a:cubicBezTo>
                      <a:pt x="116" y="624"/>
                      <a:pt x="118" y="625"/>
                      <a:pt x="118" y="623"/>
                    </a:cubicBezTo>
                    <a:cubicBezTo>
                      <a:pt x="121" y="613"/>
                      <a:pt x="121" y="605"/>
                      <a:pt x="124" y="595"/>
                    </a:cubicBezTo>
                    <a:cubicBezTo>
                      <a:pt x="124" y="562"/>
                      <a:pt x="124" y="562"/>
                      <a:pt x="124" y="562"/>
                    </a:cubicBezTo>
                    <a:cubicBezTo>
                      <a:pt x="121" y="554"/>
                      <a:pt x="126" y="548"/>
                      <a:pt x="126" y="541"/>
                    </a:cubicBezTo>
                    <a:cubicBezTo>
                      <a:pt x="126" y="524"/>
                      <a:pt x="136" y="513"/>
                      <a:pt x="136" y="498"/>
                    </a:cubicBezTo>
                    <a:cubicBezTo>
                      <a:pt x="136" y="497"/>
                      <a:pt x="136" y="495"/>
                      <a:pt x="136" y="494"/>
                    </a:cubicBezTo>
                    <a:cubicBezTo>
                      <a:pt x="136" y="491"/>
                      <a:pt x="138" y="483"/>
                      <a:pt x="139" y="478"/>
                    </a:cubicBezTo>
                    <a:cubicBezTo>
                      <a:pt x="139" y="465"/>
                      <a:pt x="139" y="465"/>
                      <a:pt x="139" y="459"/>
                    </a:cubicBezTo>
                    <a:cubicBezTo>
                      <a:pt x="139" y="453"/>
                      <a:pt x="143" y="441"/>
                      <a:pt x="143" y="434"/>
                    </a:cubicBezTo>
                    <a:cubicBezTo>
                      <a:pt x="143" y="429"/>
                      <a:pt x="141" y="403"/>
                      <a:pt x="140" y="399"/>
                    </a:cubicBezTo>
                    <a:cubicBezTo>
                      <a:pt x="136" y="388"/>
                      <a:pt x="128" y="381"/>
                      <a:pt x="121" y="377"/>
                    </a:cubicBezTo>
                    <a:cubicBezTo>
                      <a:pt x="114" y="374"/>
                      <a:pt x="109" y="375"/>
                      <a:pt x="104" y="370"/>
                    </a:cubicBezTo>
                    <a:cubicBezTo>
                      <a:pt x="99" y="365"/>
                      <a:pt x="96" y="363"/>
                      <a:pt x="90" y="362"/>
                    </a:cubicBezTo>
                    <a:cubicBezTo>
                      <a:pt x="78" y="358"/>
                      <a:pt x="72" y="351"/>
                      <a:pt x="64" y="343"/>
                    </a:cubicBezTo>
                    <a:cubicBezTo>
                      <a:pt x="60" y="340"/>
                      <a:pt x="62" y="335"/>
                      <a:pt x="62" y="330"/>
                    </a:cubicBezTo>
                    <a:cubicBezTo>
                      <a:pt x="62" y="323"/>
                      <a:pt x="55" y="319"/>
                      <a:pt x="53" y="313"/>
                    </a:cubicBezTo>
                    <a:cubicBezTo>
                      <a:pt x="50" y="302"/>
                      <a:pt x="41" y="294"/>
                      <a:pt x="38" y="285"/>
                    </a:cubicBezTo>
                    <a:cubicBezTo>
                      <a:pt x="35" y="275"/>
                      <a:pt x="32" y="269"/>
                      <a:pt x="28" y="261"/>
                    </a:cubicBezTo>
                    <a:cubicBezTo>
                      <a:pt x="27" y="258"/>
                      <a:pt x="24" y="259"/>
                      <a:pt x="23" y="257"/>
                    </a:cubicBezTo>
                    <a:cubicBezTo>
                      <a:pt x="20" y="254"/>
                      <a:pt x="19" y="248"/>
                      <a:pt x="17" y="245"/>
                    </a:cubicBezTo>
                    <a:cubicBezTo>
                      <a:pt x="16" y="242"/>
                      <a:pt x="12" y="243"/>
                      <a:pt x="11" y="242"/>
                    </a:cubicBezTo>
                    <a:cubicBezTo>
                      <a:pt x="6" y="237"/>
                      <a:pt x="0" y="228"/>
                      <a:pt x="0" y="220"/>
                    </a:cubicBezTo>
                    <a:cubicBezTo>
                      <a:pt x="0" y="215"/>
                      <a:pt x="3" y="209"/>
                      <a:pt x="5" y="207"/>
                    </a:cubicBezTo>
                    <a:cubicBezTo>
                      <a:pt x="8" y="200"/>
                      <a:pt x="16" y="198"/>
                      <a:pt x="18" y="191"/>
                    </a:cubicBezTo>
                    <a:cubicBezTo>
                      <a:pt x="14" y="189"/>
                      <a:pt x="15" y="191"/>
                      <a:pt x="12" y="191"/>
                    </a:cubicBezTo>
                    <a:cubicBezTo>
                      <a:pt x="5" y="191"/>
                      <a:pt x="5" y="182"/>
                      <a:pt x="5" y="176"/>
                    </a:cubicBezTo>
                    <a:cubicBezTo>
                      <a:pt x="5" y="166"/>
                      <a:pt x="16" y="168"/>
                      <a:pt x="14" y="148"/>
                    </a:cubicBezTo>
                    <a:cubicBezTo>
                      <a:pt x="26" y="148"/>
                      <a:pt x="29" y="136"/>
                      <a:pt x="32" y="129"/>
                    </a:cubicBezTo>
                    <a:cubicBezTo>
                      <a:pt x="37" y="119"/>
                      <a:pt x="49" y="123"/>
                      <a:pt x="51" y="111"/>
                    </a:cubicBezTo>
                    <a:cubicBezTo>
                      <a:pt x="49" y="110"/>
                      <a:pt x="47" y="107"/>
                      <a:pt x="47" y="106"/>
                    </a:cubicBezTo>
                    <a:cubicBezTo>
                      <a:pt x="49" y="103"/>
                      <a:pt x="49" y="103"/>
                      <a:pt x="49" y="10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</p:grpSp>
        <p:grpSp>
          <p:nvGrpSpPr>
            <p:cNvPr id="110" name="Группа 109">
              <a:extLst>
                <a:ext uri="{FF2B5EF4-FFF2-40B4-BE49-F238E27FC236}">
                  <a16:creationId xmlns:a16="http://schemas.microsoft.com/office/drawing/2014/main" xmlns="" id="{E3CA6154-AFD4-49C8-0ABA-B640DBBAD038}"/>
                </a:ext>
              </a:extLst>
            </p:cNvPr>
            <p:cNvGrpSpPr/>
            <p:nvPr/>
          </p:nvGrpSpPr>
          <p:grpSpPr>
            <a:xfrm>
              <a:off x="538789" y="1131575"/>
              <a:ext cx="2523022" cy="1757766"/>
              <a:chOff x="1585913" y="960438"/>
              <a:chExt cx="2590800" cy="1804987"/>
            </a:xfrm>
            <a:grpFill/>
          </p:grpSpPr>
          <p:sp>
            <p:nvSpPr>
              <p:cNvPr id="214" name="Полилиния 21">
                <a:extLst>
                  <a:ext uri="{FF2B5EF4-FFF2-40B4-BE49-F238E27FC236}">
                    <a16:creationId xmlns:a16="http://schemas.microsoft.com/office/drawing/2014/main" xmlns="" id="{FC154738-89B5-BD56-8F59-92406D556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9150" y="2703513"/>
                <a:ext cx="12700" cy="14288"/>
              </a:xfrm>
              <a:custGeom>
                <a:avLst/>
                <a:gdLst/>
                <a:ahLst/>
                <a:cxnLst>
                  <a:cxn ang="0">
                    <a:pos x="9" y="4"/>
                  </a:cxn>
                  <a:cxn ang="0">
                    <a:pos x="9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4" y="9"/>
                  </a:cxn>
                  <a:cxn ang="0">
                    <a:pos x="9" y="4"/>
                  </a:cxn>
                </a:cxnLst>
                <a:rect l="0" t="0" r="r" b="b"/>
                <a:pathLst>
                  <a:path w="9" h="11">
                    <a:moveTo>
                      <a:pt x="9" y="4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8" y="0"/>
                      <a:pt x="6" y="0"/>
                      <a:pt x="5" y="0"/>
                    </a:cubicBezTo>
                    <a:cubicBezTo>
                      <a:pt x="2" y="0"/>
                      <a:pt x="0" y="5"/>
                      <a:pt x="0" y="9"/>
                    </a:cubicBezTo>
                    <a:cubicBezTo>
                      <a:pt x="0" y="11"/>
                      <a:pt x="2" y="9"/>
                      <a:pt x="4" y="9"/>
                    </a:cubicBezTo>
                    <a:cubicBezTo>
                      <a:pt x="6" y="9"/>
                      <a:pt x="8" y="5"/>
                      <a:pt x="9" y="4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15" name="Полилиния 39">
                <a:extLst>
                  <a:ext uri="{FF2B5EF4-FFF2-40B4-BE49-F238E27FC236}">
                    <a16:creationId xmlns:a16="http://schemas.microsoft.com/office/drawing/2014/main" xmlns="" id="{2C8CC6B2-021A-7437-6478-164176DA5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9388" y="1552575"/>
                <a:ext cx="169863" cy="77788"/>
              </a:xfrm>
              <a:custGeom>
                <a:avLst/>
                <a:gdLst/>
                <a:ahLst/>
                <a:cxnLst>
                  <a:cxn ang="0">
                    <a:pos x="127" y="31"/>
                  </a:cxn>
                  <a:cxn ang="0">
                    <a:pos x="108" y="47"/>
                  </a:cxn>
                  <a:cxn ang="0">
                    <a:pos x="74" y="58"/>
                  </a:cxn>
                  <a:cxn ang="0">
                    <a:pos x="34" y="50"/>
                  </a:cxn>
                  <a:cxn ang="0">
                    <a:pos x="14" y="42"/>
                  </a:cxn>
                  <a:cxn ang="0">
                    <a:pos x="18" y="40"/>
                  </a:cxn>
                  <a:cxn ang="0">
                    <a:pos x="21" y="27"/>
                  </a:cxn>
                  <a:cxn ang="0">
                    <a:pos x="2" y="25"/>
                  </a:cxn>
                  <a:cxn ang="0">
                    <a:pos x="25" y="21"/>
                  </a:cxn>
                  <a:cxn ang="0">
                    <a:pos x="23" y="18"/>
                  </a:cxn>
                  <a:cxn ang="0">
                    <a:pos x="0" y="8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7" y="0"/>
                  </a:cxn>
                  <a:cxn ang="0">
                    <a:pos x="21" y="0"/>
                  </a:cxn>
                  <a:cxn ang="0">
                    <a:pos x="23" y="7"/>
                  </a:cxn>
                  <a:cxn ang="0">
                    <a:pos x="30" y="16"/>
                  </a:cxn>
                  <a:cxn ang="0">
                    <a:pos x="38" y="13"/>
                  </a:cxn>
                  <a:cxn ang="0">
                    <a:pos x="38" y="8"/>
                  </a:cxn>
                  <a:cxn ang="0">
                    <a:pos x="44" y="12"/>
                  </a:cxn>
                  <a:cxn ang="0">
                    <a:pos x="54" y="9"/>
                  </a:cxn>
                  <a:cxn ang="0">
                    <a:pos x="60" y="12"/>
                  </a:cxn>
                  <a:cxn ang="0">
                    <a:pos x="60" y="8"/>
                  </a:cxn>
                  <a:cxn ang="0">
                    <a:pos x="74" y="9"/>
                  </a:cxn>
                  <a:cxn ang="0">
                    <a:pos x="89" y="8"/>
                  </a:cxn>
                  <a:cxn ang="0">
                    <a:pos x="91" y="1"/>
                  </a:cxn>
                  <a:cxn ang="0">
                    <a:pos x="96" y="1"/>
                  </a:cxn>
                  <a:cxn ang="0">
                    <a:pos x="104" y="7"/>
                  </a:cxn>
                  <a:cxn ang="0">
                    <a:pos x="115" y="4"/>
                  </a:cxn>
                  <a:cxn ang="0">
                    <a:pos x="112" y="8"/>
                  </a:cxn>
                  <a:cxn ang="0">
                    <a:pos x="128" y="30"/>
                  </a:cxn>
                  <a:cxn ang="0">
                    <a:pos x="127" y="31"/>
                  </a:cxn>
                </a:cxnLst>
                <a:rect l="0" t="0" r="r" b="b"/>
                <a:pathLst>
                  <a:path w="128" h="58">
                    <a:moveTo>
                      <a:pt x="127" y="31"/>
                    </a:moveTo>
                    <a:cubicBezTo>
                      <a:pt x="124" y="38"/>
                      <a:pt x="113" y="45"/>
                      <a:pt x="108" y="47"/>
                    </a:cubicBezTo>
                    <a:cubicBezTo>
                      <a:pt x="97" y="51"/>
                      <a:pt x="89" y="58"/>
                      <a:pt x="74" y="58"/>
                    </a:cubicBezTo>
                    <a:cubicBezTo>
                      <a:pt x="57" y="58"/>
                      <a:pt x="46" y="54"/>
                      <a:pt x="34" y="50"/>
                    </a:cubicBezTo>
                    <a:cubicBezTo>
                      <a:pt x="28" y="49"/>
                      <a:pt x="24" y="42"/>
                      <a:pt x="14" y="42"/>
                    </a:cubicBezTo>
                    <a:cubicBezTo>
                      <a:pt x="16" y="41"/>
                      <a:pt x="17" y="40"/>
                      <a:pt x="18" y="40"/>
                    </a:cubicBezTo>
                    <a:cubicBezTo>
                      <a:pt x="18" y="34"/>
                      <a:pt x="20" y="32"/>
                      <a:pt x="21" y="27"/>
                    </a:cubicBezTo>
                    <a:cubicBezTo>
                      <a:pt x="14" y="25"/>
                      <a:pt x="6" y="30"/>
                      <a:pt x="2" y="25"/>
                    </a:cubicBezTo>
                    <a:cubicBezTo>
                      <a:pt x="8" y="25"/>
                      <a:pt x="20" y="23"/>
                      <a:pt x="25" y="21"/>
                    </a:cubicBezTo>
                    <a:cubicBezTo>
                      <a:pt x="23" y="20"/>
                      <a:pt x="23" y="19"/>
                      <a:pt x="23" y="18"/>
                    </a:cubicBezTo>
                    <a:cubicBezTo>
                      <a:pt x="18" y="18"/>
                      <a:pt x="1" y="13"/>
                      <a:pt x="0" y="8"/>
                    </a:cubicBezTo>
                    <a:cubicBezTo>
                      <a:pt x="4" y="7"/>
                      <a:pt x="7" y="8"/>
                      <a:pt x="9" y="9"/>
                    </a:cubicBezTo>
                    <a:cubicBezTo>
                      <a:pt x="9" y="8"/>
                      <a:pt x="9" y="7"/>
                      <a:pt x="9" y="5"/>
                    </a:cubicBezTo>
                    <a:cubicBezTo>
                      <a:pt x="13" y="5"/>
                      <a:pt x="14" y="0"/>
                      <a:pt x="17" y="0"/>
                    </a:cubicBezTo>
                    <a:cubicBezTo>
                      <a:pt x="18" y="0"/>
                      <a:pt x="19" y="0"/>
                      <a:pt x="21" y="0"/>
                    </a:cubicBezTo>
                    <a:cubicBezTo>
                      <a:pt x="21" y="3"/>
                      <a:pt x="23" y="4"/>
                      <a:pt x="23" y="7"/>
                    </a:cubicBezTo>
                    <a:cubicBezTo>
                      <a:pt x="23" y="10"/>
                      <a:pt x="27" y="16"/>
                      <a:pt x="30" y="16"/>
                    </a:cubicBezTo>
                    <a:cubicBezTo>
                      <a:pt x="33" y="16"/>
                      <a:pt x="36" y="14"/>
                      <a:pt x="38" y="13"/>
                    </a:cubicBezTo>
                    <a:cubicBezTo>
                      <a:pt x="37" y="10"/>
                      <a:pt x="37" y="9"/>
                      <a:pt x="38" y="8"/>
                    </a:cubicBezTo>
                    <a:cubicBezTo>
                      <a:pt x="40" y="9"/>
                      <a:pt x="41" y="12"/>
                      <a:pt x="44" y="12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8" y="10"/>
                      <a:pt x="59" y="11"/>
                      <a:pt x="60" y="12"/>
                    </a:cubicBezTo>
                    <a:cubicBezTo>
                      <a:pt x="60" y="11"/>
                      <a:pt x="60" y="9"/>
                      <a:pt x="60" y="8"/>
                    </a:cubicBezTo>
                    <a:cubicBezTo>
                      <a:pt x="67" y="8"/>
                      <a:pt x="70" y="9"/>
                      <a:pt x="74" y="9"/>
                    </a:cubicBezTo>
                    <a:cubicBezTo>
                      <a:pt x="80" y="9"/>
                      <a:pt x="85" y="4"/>
                      <a:pt x="89" y="8"/>
                    </a:cubicBezTo>
                    <a:cubicBezTo>
                      <a:pt x="89" y="4"/>
                      <a:pt x="90" y="3"/>
                      <a:pt x="91" y="1"/>
                    </a:cubicBezTo>
                    <a:cubicBezTo>
                      <a:pt x="94" y="2"/>
                      <a:pt x="94" y="2"/>
                      <a:pt x="96" y="1"/>
                    </a:cubicBezTo>
                    <a:cubicBezTo>
                      <a:pt x="96" y="6"/>
                      <a:pt x="100" y="7"/>
                      <a:pt x="104" y="7"/>
                    </a:cubicBezTo>
                    <a:cubicBezTo>
                      <a:pt x="108" y="7"/>
                      <a:pt x="111" y="4"/>
                      <a:pt x="115" y="4"/>
                    </a:cubicBezTo>
                    <a:cubicBezTo>
                      <a:pt x="113" y="5"/>
                      <a:pt x="112" y="7"/>
                      <a:pt x="112" y="8"/>
                    </a:cubicBezTo>
                    <a:cubicBezTo>
                      <a:pt x="112" y="21"/>
                      <a:pt x="128" y="18"/>
                      <a:pt x="128" y="30"/>
                    </a:cubicBezTo>
                    <a:lnTo>
                      <a:pt x="127" y="31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16" name="Полилиния 40">
                <a:extLst>
                  <a:ext uri="{FF2B5EF4-FFF2-40B4-BE49-F238E27FC236}">
                    <a16:creationId xmlns:a16="http://schemas.microsoft.com/office/drawing/2014/main" xmlns="" id="{D4CB3CC2-EC23-6B39-8A6E-3FE4A0A2A7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1800" y="2487613"/>
                <a:ext cx="174625" cy="60325"/>
              </a:xfrm>
              <a:custGeom>
                <a:avLst/>
                <a:gdLst/>
                <a:ahLst/>
                <a:cxnLst>
                  <a:cxn ang="0">
                    <a:pos x="131" y="40"/>
                  </a:cxn>
                  <a:cxn ang="0">
                    <a:pos x="114" y="45"/>
                  </a:cxn>
                  <a:cxn ang="0">
                    <a:pos x="88" y="42"/>
                  </a:cxn>
                  <a:cxn ang="0">
                    <a:pos x="88" y="39"/>
                  </a:cxn>
                  <a:cxn ang="0">
                    <a:pos x="93" y="35"/>
                  </a:cxn>
                  <a:cxn ang="0">
                    <a:pos x="78" y="26"/>
                  </a:cxn>
                  <a:cxn ang="0">
                    <a:pos x="73" y="22"/>
                  </a:cxn>
                  <a:cxn ang="0">
                    <a:pos x="64" y="22"/>
                  </a:cxn>
                  <a:cxn ang="0">
                    <a:pos x="48" y="15"/>
                  </a:cxn>
                  <a:cxn ang="0">
                    <a:pos x="35" y="15"/>
                  </a:cxn>
                  <a:cxn ang="0">
                    <a:pos x="34" y="10"/>
                  </a:cxn>
                  <a:cxn ang="0">
                    <a:pos x="28" y="9"/>
                  </a:cxn>
                  <a:cxn ang="0">
                    <a:pos x="4" y="20"/>
                  </a:cxn>
                  <a:cxn ang="0">
                    <a:pos x="0" y="20"/>
                  </a:cxn>
                  <a:cxn ang="0">
                    <a:pos x="36" y="0"/>
                  </a:cxn>
                  <a:cxn ang="0">
                    <a:pos x="79" y="11"/>
                  </a:cxn>
                  <a:cxn ang="0">
                    <a:pos x="86" y="17"/>
                  </a:cxn>
                  <a:cxn ang="0">
                    <a:pos x="114" y="28"/>
                  </a:cxn>
                  <a:cxn ang="0">
                    <a:pos x="114" y="31"/>
                  </a:cxn>
                  <a:cxn ang="0">
                    <a:pos x="120" y="31"/>
                  </a:cxn>
                  <a:cxn ang="0">
                    <a:pos x="131" y="40"/>
                  </a:cxn>
                </a:cxnLst>
                <a:rect l="0" t="0" r="r" b="b"/>
                <a:pathLst>
                  <a:path w="131" h="45">
                    <a:moveTo>
                      <a:pt x="131" y="40"/>
                    </a:moveTo>
                    <a:cubicBezTo>
                      <a:pt x="127" y="45"/>
                      <a:pt x="119" y="45"/>
                      <a:pt x="114" y="45"/>
                    </a:cubicBezTo>
                    <a:cubicBezTo>
                      <a:pt x="104" y="45"/>
                      <a:pt x="97" y="42"/>
                      <a:pt x="88" y="42"/>
                    </a:cubicBezTo>
                    <a:cubicBezTo>
                      <a:pt x="88" y="41"/>
                      <a:pt x="88" y="40"/>
                      <a:pt x="88" y="39"/>
                    </a:cubicBezTo>
                    <a:cubicBezTo>
                      <a:pt x="90" y="39"/>
                      <a:pt x="92" y="38"/>
                      <a:pt x="93" y="35"/>
                    </a:cubicBezTo>
                    <a:cubicBezTo>
                      <a:pt x="86" y="32"/>
                      <a:pt x="79" y="33"/>
                      <a:pt x="78" y="26"/>
                    </a:cubicBezTo>
                    <a:cubicBezTo>
                      <a:pt x="74" y="26"/>
                      <a:pt x="75" y="23"/>
                      <a:pt x="73" y="22"/>
                    </a:cubicBezTo>
                    <a:cubicBezTo>
                      <a:pt x="69" y="20"/>
                      <a:pt x="67" y="22"/>
                      <a:pt x="64" y="22"/>
                    </a:cubicBezTo>
                    <a:cubicBezTo>
                      <a:pt x="57" y="22"/>
                      <a:pt x="54" y="15"/>
                      <a:pt x="48" y="15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33" y="13"/>
                      <a:pt x="33" y="12"/>
                      <a:pt x="34" y="10"/>
                    </a:cubicBezTo>
                    <a:cubicBezTo>
                      <a:pt x="33" y="9"/>
                      <a:pt x="30" y="9"/>
                      <a:pt x="28" y="9"/>
                    </a:cubicBezTo>
                    <a:cubicBezTo>
                      <a:pt x="20" y="9"/>
                      <a:pt x="8" y="15"/>
                      <a:pt x="4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7" y="8"/>
                      <a:pt x="16" y="0"/>
                      <a:pt x="36" y="0"/>
                    </a:cubicBezTo>
                    <a:cubicBezTo>
                      <a:pt x="55" y="0"/>
                      <a:pt x="64" y="11"/>
                      <a:pt x="79" y="11"/>
                    </a:cubicBezTo>
                    <a:cubicBezTo>
                      <a:pt x="82" y="11"/>
                      <a:pt x="86" y="16"/>
                      <a:pt x="86" y="17"/>
                    </a:cubicBezTo>
                    <a:cubicBezTo>
                      <a:pt x="93" y="23"/>
                      <a:pt x="104" y="28"/>
                      <a:pt x="114" y="28"/>
                    </a:cubicBezTo>
                    <a:cubicBezTo>
                      <a:pt x="114" y="28"/>
                      <a:pt x="113" y="30"/>
                      <a:pt x="114" y="31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25" y="32"/>
                      <a:pt x="127" y="39"/>
                      <a:pt x="131" y="4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17" name="Полилиния 41">
                <a:extLst>
                  <a:ext uri="{FF2B5EF4-FFF2-40B4-BE49-F238E27FC236}">
                    <a16:creationId xmlns:a16="http://schemas.microsoft.com/office/drawing/2014/main" xmlns="" id="{4B83361E-2456-0FFA-AE67-BF17B8CCC2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5613" y="2509838"/>
                <a:ext cx="9525" cy="11113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7"/>
                  </a:cxn>
                  <a:cxn ang="0">
                    <a:pos x="0" y="7"/>
                  </a:cxn>
                  <a:cxn ang="0">
                    <a:pos x="4" y="3"/>
                  </a:cxn>
                  <a:cxn ang="0">
                    <a:pos x="4" y="0"/>
                  </a:cxn>
                  <a:cxn ang="0">
                    <a:pos x="5" y="0"/>
                  </a:cxn>
                  <a:cxn ang="0">
                    <a:pos x="6" y="0"/>
                  </a:cxn>
                </a:cxnLst>
                <a:rect l="0" t="0" r="r" b="b"/>
                <a:pathLst>
                  <a:path w="7" h="8">
                    <a:moveTo>
                      <a:pt x="6" y="0"/>
                    </a:moveTo>
                    <a:cubicBezTo>
                      <a:pt x="6" y="3"/>
                      <a:pt x="7" y="5"/>
                      <a:pt x="6" y="7"/>
                    </a:cubicBezTo>
                    <a:cubicBezTo>
                      <a:pt x="5" y="7"/>
                      <a:pt x="0" y="8"/>
                      <a:pt x="0" y="7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0"/>
                      <a:pt x="5" y="0"/>
                    </a:cubicBezTo>
                    <a:lnTo>
                      <a:pt x="6" y="0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18" name="Полилиния 42">
                <a:extLst>
                  <a:ext uri="{FF2B5EF4-FFF2-40B4-BE49-F238E27FC236}">
                    <a16:creationId xmlns:a16="http://schemas.microsoft.com/office/drawing/2014/main" xmlns="" id="{D8232C02-A16D-B801-AFDC-7285E33853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2925" y="2568575"/>
                <a:ext cx="28575" cy="14288"/>
              </a:xfrm>
              <a:custGeom>
                <a:avLst/>
                <a:gdLst/>
                <a:ahLst/>
                <a:cxnLst>
                  <a:cxn ang="0">
                    <a:pos x="18" y="3"/>
                  </a:cxn>
                  <a:cxn ang="0">
                    <a:pos x="22" y="7"/>
                  </a:cxn>
                  <a:cxn ang="0">
                    <a:pos x="7" y="10"/>
                  </a:cxn>
                  <a:cxn ang="0">
                    <a:pos x="0" y="3"/>
                  </a:cxn>
                  <a:cxn ang="0">
                    <a:pos x="5" y="0"/>
                  </a:cxn>
                  <a:cxn ang="0">
                    <a:pos x="19" y="4"/>
                  </a:cxn>
                  <a:cxn ang="0">
                    <a:pos x="18" y="3"/>
                  </a:cxn>
                </a:cxnLst>
                <a:rect l="0" t="0" r="r" b="b"/>
                <a:pathLst>
                  <a:path w="22" h="10">
                    <a:moveTo>
                      <a:pt x="18" y="3"/>
                    </a:moveTo>
                    <a:cubicBezTo>
                      <a:pt x="21" y="4"/>
                      <a:pt x="22" y="5"/>
                      <a:pt x="22" y="7"/>
                    </a:cubicBezTo>
                    <a:cubicBezTo>
                      <a:pt x="17" y="8"/>
                      <a:pt x="13" y="10"/>
                      <a:pt x="7" y="10"/>
                    </a:cubicBezTo>
                    <a:cubicBezTo>
                      <a:pt x="4" y="10"/>
                      <a:pt x="0" y="7"/>
                      <a:pt x="0" y="3"/>
                    </a:cubicBezTo>
                    <a:cubicBezTo>
                      <a:pt x="0" y="1"/>
                      <a:pt x="3" y="0"/>
                      <a:pt x="5" y="0"/>
                    </a:cubicBezTo>
                    <a:cubicBezTo>
                      <a:pt x="10" y="0"/>
                      <a:pt x="16" y="3"/>
                      <a:pt x="19" y="4"/>
                    </a:cubicBezTo>
                    <a:lnTo>
                      <a:pt x="18" y="3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19" name="Полилиния 43">
                <a:extLst>
                  <a:ext uri="{FF2B5EF4-FFF2-40B4-BE49-F238E27FC236}">
                    <a16:creationId xmlns:a16="http://schemas.microsoft.com/office/drawing/2014/main" xmlns="" id="{2182500E-0E65-9166-1102-E0347888E5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7075" y="2568575"/>
                <a:ext cx="23813" cy="9525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11" y="7"/>
                  </a:cxn>
                  <a:cxn ang="0">
                    <a:pos x="0" y="2"/>
                  </a:cxn>
                  <a:cxn ang="0">
                    <a:pos x="5" y="0"/>
                  </a:cxn>
                  <a:cxn ang="0">
                    <a:pos x="18" y="4"/>
                  </a:cxn>
                </a:cxnLst>
                <a:rect l="0" t="0" r="r" b="b"/>
                <a:pathLst>
                  <a:path w="18" h="7">
                    <a:moveTo>
                      <a:pt x="18" y="4"/>
                    </a:moveTo>
                    <a:cubicBezTo>
                      <a:pt x="17" y="7"/>
                      <a:pt x="14" y="7"/>
                      <a:pt x="11" y="7"/>
                    </a:cubicBezTo>
                    <a:cubicBezTo>
                      <a:pt x="6" y="7"/>
                      <a:pt x="0" y="7"/>
                      <a:pt x="0" y="2"/>
                    </a:cubicBezTo>
                    <a:cubicBezTo>
                      <a:pt x="0" y="0"/>
                      <a:pt x="4" y="0"/>
                      <a:pt x="5" y="0"/>
                    </a:cubicBezTo>
                    <a:cubicBezTo>
                      <a:pt x="6" y="0"/>
                      <a:pt x="17" y="2"/>
                      <a:pt x="18" y="4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20" name="Полилиния 44">
                <a:extLst>
                  <a:ext uri="{FF2B5EF4-FFF2-40B4-BE49-F238E27FC236}">
                    <a16:creationId xmlns:a16="http://schemas.microsoft.com/office/drawing/2014/main" xmlns="" id="{34961CA6-853C-E752-BB29-BF52D3E22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425" y="2543175"/>
                <a:ext cx="100013" cy="39688"/>
              </a:xfrm>
              <a:custGeom>
                <a:avLst/>
                <a:gdLst/>
                <a:ahLst/>
                <a:cxnLst>
                  <a:cxn ang="0">
                    <a:pos x="64" y="11"/>
                  </a:cxn>
                  <a:cxn ang="0">
                    <a:pos x="75" y="21"/>
                  </a:cxn>
                  <a:cxn ang="0">
                    <a:pos x="59" y="21"/>
                  </a:cxn>
                  <a:cxn ang="0">
                    <a:pos x="51" y="24"/>
                  </a:cxn>
                  <a:cxn ang="0">
                    <a:pos x="47" y="22"/>
                  </a:cxn>
                  <a:cxn ang="0">
                    <a:pos x="37" y="30"/>
                  </a:cxn>
                  <a:cxn ang="0">
                    <a:pos x="31" y="24"/>
                  </a:cxn>
                  <a:cxn ang="0">
                    <a:pos x="11" y="23"/>
                  </a:cxn>
                  <a:cxn ang="0">
                    <a:pos x="6" y="23"/>
                  </a:cxn>
                  <a:cxn ang="0">
                    <a:pos x="6" y="27"/>
                  </a:cxn>
                  <a:cxn ang="0">
                    <a:pos x="0" y="19"/>
                  </a:cxn>
                  <a:cxn ang="0">
                    <a:pos x="3" y="18"/>
                  </a:cxn>
                  <a:cxn ang="0">
                    <a:pos x="22" y="17"/>
                  </a:cxn>
                  <a:cxn ang="0">
                    <a:pos x="19" y="8"/>
                  </a:cxn>
                  <a:cxn ang="0">
                    <a:pos x="14" y="3"/>
                  </a:cxn>
                  <a:cxn ang="0">
                    <a:pos x="17" y="0"/>
                  </a:cxn>
                  <a:cxn ang="0">
                    <a:pos x="28" y="3"/>
                  </a:cxn>
                  <a:cxn ang="0">
                    <a:pos x="41" y="1"/>
                  </a:cxn>
                  <a:cxn ang="0">
                    <a:pos x="66" y="13"/>
                  </a:cxn>
                  <a:cxn ang="0">
                    <a:pos x="64" y="11"/>
                  </a:cxn>
                </a:cxnLst>
                <a:rect l="0" t="0" r="r" b="b"/>
                <a:pathLst>
                  <a:path w="75" h="30">
                    <a:moveTo>
                      <a:pt x="64" y="11"/>
                    </a:moveTo>
                    <a:cubicBezTo>
                      <a:pt x="68" y="15"/>
                      <a:pt x="72" y="16"/>
                      <a:pt x="75" y="21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23"/>
                      <a:pt x="54" y="24"/>
                      <a:pt x="51" y="24"/>
                    </a:cubicBezTo>
                    <a:cubicBezTo>
                      <a:pt x="49" y="24"/>
                      <a:pt x="49" y="22"/>
                      <a:pt x="47" y="22"/>
                    </a:cubicBezTo>
                    <a:cubicBezTo>
                      <a:pt x="41" y="22"/>
                      <a:pt x="41" y="30"/>
                      <a:pt x="37" y="30"/>
                    </a:cubicBezTo>
                    <a:cubicBezTo>
                      <a:pt x="33" y="30"/>
                      <a:pt x="34" y="26"/>
                      <a:pt x="31" y="24"/>
                    </a:cubicBezTo>
                    <a:cubicBezTo>
                      <a:pt x="27" y="22"/>
                      <a:pt x="17" y="23"/>
                      <a:pt x="11" y="23"/>
                    </a:cubicBezTo>
                    <a:cubicBezTo>
                      <a:pt x="8" y="23"/>
                      <a:pt x="8" y="24"/>
                      <a:pt x="6" y="23"/>
                    </a:cubicBezTo>
                    <a:cubicBezTo>
                      <a:pt x="6" y="24"/>
                      <a:pt x="6" y="25"/>
                      <a:pt x="6" y="27"/>
                    </a:cubicBezTo>
                    <a:cubicBezTo>
                      <a:pt x="3" y="26"/>
                      <a:pt x="0" y="22"/>
                      <a:pt x="0" y="19"/>
                    </a:cubicBezTo>
                    <a:cubicBezTo>
                      <a:pt x="1" y="19"/>
                      <a:pt x="2" y="18"/>
                      <a:pt x="3" y="18"/>
                    </a:cubicBezTo>
                    <a:cubicBezTo>
                      <a:pt x="13" y="18"/>
                      <a:pt x="17" y="20"/>
                      <a:pt x="22" y="17"/>
                    </a:cubicBezTo>
                    <a:cubicBezTo>
                      <a:pt x="20" y="15"/>
                      <a:pt x="19" y="12"/>
                      <a:pt x="19" y="8"/>
                    </a:cubicBezTo>
                    <a:cubicBezTo>
                      <a:pt x="17" y="8"/>
                      <a:pt x="14" y="6"/>
                      <a:pt x="14" y="3"/>
                    </a:cubicBezTo>
                    <a:cubicBezTo>
                      <a:pt x="14" y="2"/>
                      <a:pt x="16" y="0"/>
                      <a:pt x="17" y="0"/>
                    </a:cubicBezTo>
                    <a:cubicBezTo>
                      <a:pt x="21" y="0"/>
                      <a:pt x="24" y="3"/>
                      <a:pt x="28" y="3"/>
                    </a:cubicBezTo>
                    <a:cubicBezTo>
                      <a:pt x="34" y="3"/>
                      <a:pt x="36" y="1"/>
                      <a:pt x="41" y="1"/>
                    </a:cubicBezTo>
                    <a:cubicBezTo>
                      <a:pt x="55" y="1"/>
                      <a:pt x="58" y="9"/>
                      <a:pt x="66" y="13"/>
                    </a:cubicBezTo>
                    <a:lnTo>
                      <a:pt x="64" y="11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21" name="Полилиния 45">
                <a:extLst>
                  <a:ext uri="{FF2B5EF4-FFF2-40B4-BE49-F238E27FC236}">
                    <a16:creationId xmlns:a16="http://schemas.microsoft.com/office/drawing/2014/main" xmlns="" id="{26283043-A17F-273C-8937-E849765BF4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6575" y="2455863"/>
                <a:ext cx="9525" cy="1111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7" y="6"/>
                  </a:cxn>
                  <a:cxn ang="0">
                    <a:pos x="5" y="8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7" h="8">
                    <a:moveTo>
                      <a:pt x="2" y="0"/>
                    </a:moveTo>
                    <a:cubicBezTo>
                      <a:pt x="6" y="0"/>
                      <a:pt x="7" y="3"/>
                      <a:pt x="7" y="6"/>
                    </a:cubicBezTo>
                    <a:cubicBezTo>
                      <a:pt x="7" y="7"/>
                      <a:pt x="6" y="8"/>
                      <a:pt x="5" y="8"/>
                    </a:cubicBezTo>
                    <a:cubicBezTo>
                      <a:pt x="0" y="8"/>
                      <a:pt x="0" y="3"/>
                      <a:pt x="0" y="0"/>
                    </a:cubicBezTo>
                    <a:cubicBezTo>
                      <a:pt x="0" y="0"/>
                      <a:pt x="2" y="0"/>
                      <a:pt x="2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22" name="Полилиния 46">
                <a:extLst>
                  <a:ext uri="{FF2B5EF4-FFF2-40B4-BE49-F238E27FC236}">
                    <a16:creationId xmlns:a16="http://schemas.microsoft.com/office/drawing/2014/main" xmlns="" id="{F13D4D83-9C20-CE4C-7D1A-A11B35A6E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8638" y="2422525"/>
                <a:ext cx="14288" cy="4763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6" y="0"/>
                  </a:cxn>
                  <a:cxn ang="0">
                    <a:pos x="11" y="3"/>
                  </a:cxn>
                  <a:cxn ang="0">
                    <a:pos x="0" y="3"/>
                  </a:cxn>
                </a:cxnLst>
                <a:rect l="0" t="0" r="r" b="b"/>
                <a:pathLst>
                  <a:path w="11" h="4">
                    <a:moveTo>
                      <a:pt x="0" y="3"/>
                    </a:moveTo>
                    <a:cubicBezTo>
                      <a:pt x="1" y="2"/>
                      <a:pt x="4" y="0"/>
                      <a:pt x="6" y="0"/>
                    </a:cubicBezTo>
                    <a:cubicBezTo>
                      <a:pt x="9" y="0"/>
                      <a:pt x="10" y="2"/>
                      <a:pt x="11" y="3"/>
                    </a:cubicBezTo>
                    <a:cubicBezTo>
                      <a:pt x="7" y="4"/>
                      <a:pt x="2" y="3"/>
                      <a:pt x="0" y="3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23" name="Полилиния 47">
                <a:extLst>
                  <a:ext uri="{FF2B5EF4-FFF2-40B4-BE49-F238E27FC236}">
                    <a16:creationId xmlns:a16="http://schemas.microsoft.com/office/drawing/2014/main" xmlns="" id="{BB4AF703-BEBC-52AE-8DDE-04BB429642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038" y="2428875"/>
                <a:ext cx="4763" cy="6350"/>
              </a:xfrm>
              <a:custGeom>
                <a:avLst/>
                <a:gdLst/>
                <a:ahLst/>
                <a:cxnLst>
                  <a:cxn ang="0">
                    <a:pos x="3" y="4"/>
                  </a:cxn>
                  <a:cxn ang="0">
                    <a:pos x="1" y="0"/>
                  </a:cxn>
                  <a:cxn ang="0">
                    <a:pos x="3" y="4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cubicBezTo>
                      <a:pt x="2" y="4"/>
                      <a:pt x="0" y="1"/>
                      <a:pt x="1" y="0"/>
                    </a:cubicBezTo>
                    <a:lnTo>
                      <a:pt x="3" y="4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24" name="Полилиния 48">
                <a:extLst>
                  <a:ext uri="{FF2B5EF4-FFF2-40B4-BE49-F238E27FC236}">
                    <a16:creationId xmlns:a16="http://schemas.microsoft.com/office/drawing/2014/main" xmlns="" id="{4301B8F7-6F1E-8063-DEF6-3136744CC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4363" y="2517775"/>
                <a:ext cx="11113" cy="7938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7"/>
                  </a:cxn>
                  <a:cxn ang="0">
                    <a:pos x="2" y="7"/>
                  </a:cxn>
                  <a:cxn ang="0">
                    <a:pos x="9" y="4"/>
                  </a:cxn>
                  <a:cxn ang="0">
                    <a:pos x="9" y="0"/>
                  </a:cxn>
                  <a:cxn ang="0">
                    <a:pos x="0" y="4"/>
                  </a:cxn>
                </a:cxnLst>
                <a:rect l="0" t="0" r="r" b="b"/>
                <a:pathLst>
                  <a:path w="9" h="7">
                    <a:moveTo>
                      <a:pt x="0" y="4"/>
                    </a:moveTo>
                    <a:cubicBezTo>
                      <a:pt x="0" y="5"/>
                      <a:pt x="0" y="6"/>
                      <a:pt x="0" y="7"/>
                    </a:cubicBezTo>
                    <a:cubicBezTo>
                      <a:pt x="0" y="7"/>
                      <a:pt x="1" y="7"/>
                      <a:pt x="2" y="7"/>
                    </a:cubicBezTo>
                    <a:cubicBezTo>
                      <a:pt x="4" y="7"/>
                      <a:pt x="7" y="6"/>
                      <a:pt x="9" y="4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3"/>
                      <a:pt x="4" y="5"/>
                      <a:pt x="0" y="4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25" name="Полилиния 49">
                <a:extLst>
                  <a:ext uri="{FF2B5EF4-FFF2-40B4-BE49-F238E27FC236}">
                    <a16:creationId xmlns:a16="http://schemas.microsoft.com/office/drawing/2014/main" xmlns="" id="{06FA546E-EA5D-25B6-2EF2-6501DF3C50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01875" y="1979613"/>
                <a:ext cx="966788" cy="473075"/>
              </a:xfrm>
              <a:custGeom>
                <a:avLst/>
                <a:gdLst/>
                <a:ahLst/>
                <a:cxnLst>
                  <a:cxn ang="0">
                    <a:pos x="543" y="285"/>
                  </a:cxn>
                  <a:cxn ang="0">
                    <a:pos x="555" y="317"/>
                  </a:cxn>
                  <a:cxn ang="0">
                    <a:pos x="560" y="338"/>
                  </a:cxn>
                  <a:cxn ang="0">
                    <a:pos x="542" y="345"/>
                  </a:cxn>
                  <a:cxn ang="0">
                    <a:pos x="507" y="287"/>
                  </a:cxn>
                  <a:cxn ang="0">
                    <a:pos x="474" y="283"/>
                  </a:cxn>
                  <a:cxn ang="0">
                    <a:pos x="460" y="283"/>
                  </a:cxn>
                  <a:cxn ang="0">
                    <a:pos x="443" y="286"/>
                  </a:cxn>
                  <a:cxn ang="0">
                    <a:pos x="412" y="292"/>
                  </a:cxn>
                  <a:cxn ang="0">
                    <a:pos x="393" y="291"/>
                  </a:cxn>
                  <a:cxn ang="0">
                    <a:pos x="357" y="309"/>
                  </a:cxn>
                  <a:cxn ang="0">
                    <a:pos x="343" y="342"/>
                  </a:cxn>
                  <a:cxn ang="0">
                    <a:pos x="282" y="290"/>
                  </a:cxn>
                  <a:cxn ang="0">
                    <a:pos x="246" y="281"/>
                  </a:cxn>
                  <a:cxn ang="0">
                    <a:pos x="207" y="262"/>
                  </a:cxn>
                  <a:cxn ang="0">
                    <a:pos x="170" y="268"/>
                  </a:cxn>
                  <a:cxn ang="0">
                    <a:pos x="95" y="252"/>
                  </a:cxn>
                  <a:cxn ang="0">
                    <a:pos x="47" y="214"/>
                  </a:cxn>
                  <a:cxn ang="0">
                    <a:pos x="4" y="141"/>
                  </a:cxn>
                  <a:cxn ang="0">
                    <a:pos x="4" y="95"/>
                  </a:cxn>
                  <a:cxn ang="0">
                    <a:pos x="0" y="23"/>
                  </a:cxn>
                  <a:cxn ang="0">
                    <a:pos x="20" y="27"/>
                  </a:cxn>
                  <a:cxn ang="0">
                    <a:pos x="20" y="5"/>
                  </a:cxn>
                  <a:cxn ang="0">
                    <a:pos x="373" y="0"/>
                  </a:cxn>
                  <a:cxn ang="0">
                    <a:pos x="406" y="11"/>
                  </a:cxn>
                  <a:cxn ang="0">
                    <a:pos x="408" y="45"/>
                  </a:cxn>
                  <a:cxn ang="0">
                    <a:pos x="423" y="42"/>
                  </a:cxn>
                  <a:cxn ang="0">
                    <a:pos x="441" y="40"/>
                  </a:cxn>
                  <a:cxn ang="0">
                    <a:pos x="456" y="42"/>
                  </a:cxn>
                  <a:cxn ang="0">
                    <a:pos x="472" y="47"/>
                  </a:cxn>
                  <a:cxn ang="0">
                    <a:pos x="510" y="48"/>
                  </a:cxn>
                  <a:cxn ang="0">
                    <a:pos x="490" y="54"/>
                  </a:cxn>
                  <a:cxn ang="0">
                    <a:pos x="472" y="69"/>
                  </a:cxn>
                  <a:cxn ang="0">
                    <a:pos x="471" y="121"/>
                  </a:cxn>
                  <a:cxn ang="0">
                    <a:pos x="480" y="88"/>
                  </a:cxn>
                  <a:cxn ang="0">
                    <a:pos x="501" y="57"/>
                  </a:cxn>
                  <a:cxn ang="0">
                    <a:pos x="516" y="87"/>
                  </a:cxn>
                  <a:cxn ang="0">
                    <a:pos x="531" y="97"/>
                  </a:cxn>
                  <a:cxn ang="0">
                    <a:pos x="527" y="123"/>
                  </a:cxn>
                  <a:cxn ang="0">
                    <a:pos x="564" y="97"/>
                  </a:cxn>
                  <a:cxn ang="0">
                    <a:pos x="610" y="84"/>
                  </a:cxn>
                  <a:cxn ang="0">
                    <a:pos x="653" y="65"/>
                  </a:cxn>
                  <a:cxn ang="0">
                    <a:pos x="675" y="63"/>
                  </a:cxn>
                  <a:cxn ang="0">
                    <a:pos x="699" y="28"/>
                  </a:cxn>
                  <a:cxn ang="0">
                    <a:pos x="726" y="73"/>
                  </a:cxn>
                  <a:cxn ang="0">
                    <a:pos x="701" y="80"/>
                  </a:cxn>
                  <a:cxn ang="0">
                    <a:pos x="681" y="113"/>
                  </a:cxn>
                  <a:cxn ang="0">
                    <a:pos x="690" y="118"/>
                  </a:cxn>
                  <a:cxn ang="0">
                    <a:pos x="676" y="122"/>
                  </a:cxn>
                  <a:cxn ang="0">
                    <a:pos x="648" y="132"/>
                  </a:cxn>
                  <a:cxn ang="0">
                    <a:pos x="642" y="134"/>
                  </a:cxn>
                  <a:cxn ang="0">
                    <a:pos x="635" y="137"/>
                  </a:cxn>
                  <a:cxn ang="0">
                    <a:pos x="627" y="161"/>
                  </a:cxn>
                  <a:cxn ang="0">
                    <a:pos x="622" y="159"/>
                  </a:cxn>
                  <a:cxn ang="0">
                    <a:pos x="615" y="186"/>
                  </a:cxn>
                  <a:cxn ang="0">
                    <a:pos x="614" y="178"/>
                  </a:cxn>
                  <a:cxn ang="0">
                    <a:pos x="608" y="170"/>
                  </a:cxn>
                  <a:cxn ang="0">
                    <a:pos x="611" y="192"/>
                  </a:cxn>
                  <a:cxn ang="0">
                    <a:pos x="614" y="196"/>
                  </a:cxn>
                  <a:cxn ang="0">
                    <a:pos x="614" y="205"/>
                  </a:cxn>
                  <a:cxn ang="0">
                    <a:pos x="607" y="213"/>
                  </a:cxn>
                  <a:cxn ang="0">
                    <a:pos x="607" y="221"/>
                  </a:cxn>
                  <a:cxn ang="0">
                    <a:pos x="589" y="232"/>
                  </a:cxn>
                </a:cxnLst>
                <a:rect l="0" t="0" r="r" b="b"/>
                <a:pathLst>
                  <a:path w="726" h="356">
                    <a:moveTo>
                      <a:pt x="590" y="233"/>
                    </a:moveTo>
                    <a:cubicBezTo>
                      <a:pt x="569" y="245"/>
                      <a:pt x="543" y="253"/>
                      <a:pt x="543" y="285"/>
                    </a:cubicBezTo>
                    <a:cubicBezTo>
                      <a:pt x="543" y="300"/>
                      <a:pt x="555" y="304"/>
                      <a:pt x="555" y="318"/>
                    </a:cubicBezTo>
                    <a:cubicBezTo>
                      <a:pt x="555" y="317"/>
                      <a:pt x="555" y="317"/>
                      <a:pt x="555" y="317"/>
                    </a:cubicBezTo>
                    <a:cubicBezTo>
                      <a:pt x="555" y="320"/>
                      <a:pt x="555" y="320"/>
                      <a:pt x="555" y="320"/>
                    </a:cubicBezTo>
                    <a:cubicBezTo>
                      <a:pt x="556" y="326"/>
                      <a:pt x="560" y="330"/>
                      <a:pt x="560" y="338"/>
                    </a:cubicBezTo>
                    <a:cubicBezTo>
                      <a:pt x="560" y="347"/>
                      <a:pt x="558" y="356"/>
                      <a:pt x="551" y="356"/>
                    </a:cubicBezTo>
                    <a:cubicBezTo>
                      <a:pt x="544" y="356"/>
                      <a:pt x="544" y="349"/>
                      <a:pt x="542" y="345"/>
                    </a:cubicBezTo>
                    <a:cubicBezTo>
                      <a:pt x="537" y="338"/>
                      <a:pt x="532" y="335"/>
                      <a:pt x="529" y="328"/>
                    </a:cubicBezTo>
                    <a:cubicBezTo>
                      <a:pt x="522" y="314"/>
                      <a:pt x="527" y="287"/>
                      <a:pt x="507" y="287"/>
                    </a:cubicBezTo>
                    <a:cubicBezTo>
                      <a:pt x="503" y="287"/>
                      <a:pt x="502" y="293"/>
                      <a:pt x="498" y="293"/>
                    </a:cubicBezTo>
                    <a:cubicBezTo>
                      <a:pt x="490" y="293"/>
                      <a:pt x="485" y="283"/>
                      <a:pt x="474" y="283"/>
                    </a:cubicBezTo>
                    <a:cubicBezTo>
                      <a:pt x="468" y="283"/>
                      <a:pt x="467" y="286"/>
                      <a:pt x="463" y="286"/>
                    </a:cubicBezTo>
                    <a:cubicBezTo>
                      <a:pt x="462" y="286"/>
                      <a:pt x="460" y="284"/>
                      <a:pt x="460" y="283"/>
                    </a:cubicBezTo>
                    <a:cubicBezTo>
                      <a:pt x="453" y="285"/>
                      <a:pt x="444" y="284"/>
                      <a:pt x="436" y="286"/>
                    </a:cubicBezTo>
                    <a:cubicBezTo>
                      <a:pt x="441" y="288"/>
                      <a:pt x="440" y="288"/>
                      <a:pt x="443" y="286"/>
                    </a:cubicBezTo>
                    <a:cubicBezTo>
                      <a:pt x="442" y="293"/>
                      <a:pt x="438" y="297"/>
                      <a:pt x="443" y="301"/>
                    </a:cubicBezTo>
                    <a:cubicBezTo>
                      <a:pt x="431" y="307"/>
                      <a:pt x="421" y="292"/>
                      <a:pt x="412" y="292"/>
                    </a:cubicBezTo>
                    <a:cubicBezTo>
                      <a:pt x="409" y="292"/>
                      <a:pt x="408" y="295"/>
                      <a:pt x="405" y="295"/>
                    </a:cubicBezTo>
                    <a:cubicBezTo>
                      <a:pt x="400" y="295"/>
                      <a:pt x="398" y="291"/>
                      <a:pt x="393" y="291"/>
                    </a:cubicBezTo>
                    <a:cubicBezTo>
                      <a:pt x="380" y="291"/>
                      <a:pt x="374" y="302"/>
                      <a:pt x="368" y="307"/>
                    </a:cubicBezTo>
                    <a:cubicBezTo>
                      <a:pt x="365" y="311"/>
                      <a:pt x="361" y="308"/>
                      <a:pt x="357" y="309"/>
                    </a:cubicBezTo>
                    <a:cubicBezTo>
                      <a:pt x="347" y="313"/>
                      <a:pt x="341" y="325"/>
                      <a:pt x="341" y="338"/>
                    </a:cubicBezTo>
                    <a:cubicBezTo>
                      <a:pt x="341" y="339"/>
                      <a:pt x="343" y="341"/>
                      <a:pt x="343" y="342"/>
                    </a:cubicBezTo>
                    <a:cubicBezTo>
                      <a:pt x="336" y="342"/>
                      <a:pt x="325" y="339"/>
                      <a:pt x="321" y="336"/>
                    </a:cubicBezTo>
                    <a:cubicBezTo>
                      <a:pt x="307" y="322"/>
                      <a:pt x="308" y="290"/>
                      <a:pt x="282" y="290"/>
                    </a:cubicBezTo>
                    <a:cubicBezTo>
                      <a:pt x="272" y="290"/>
                      <a:pt x="275" y="302"/>
                      <a:pt x="266" y="302"/>
                    </a:cubicBezTo>
                    <a:cubicBezTo>
                      <a:pt x="257" y="302"/>
                      <a:pt x="250" y="287"/>
                      <a:pt x="246" y="281"/>
                    </a:cubicBezTo>
                    <a:cubicBezTo>
                      <a:pt x="239" y="268"/>
                      <a:pt x="230" y="266"/>
                      <a:pt x="215" y="262"/>
                    </a:cubicBezTo>
                    <a:cubicBezTo>
                      <a:pt x="207" y="262"/>
                      <a:pt x="207" y="262"/>
                      <a:pt x="207" y="262"/>
                    </a:cubicBezTo>
                    <a:cubicBezTo>
                      <a:pt x="207" y="268"/>
                      <a:pt x="207" y="268"/>
                      <a:pt x="207" y="268"/>
                    </a:cubicBezTo>
                    <a:cubicBezTo>
                      <a:pt x="170" y="268"/>
                      <a:pt x="170" y="268"/>
                      <a:pt x="170" y="268"/>
                    </a:cubicBezTo>
                    <a:cubicBezTo>
                      <a:pt x="123" y="252"/>
                      <a:pt x="123" y="252"/>
                      <a:pt x="123" y="252"/>
                    </a:cubicBezTo>
                    <a:cubicBezTo>
                      <a:pt x="95" y="252"/>
                      <a:pt x="95" y="252"/>
                      <a:pt x="95" y="252"/>
                    </a:cubicBezTo>
                    <a:cubicBezTo>
                      <a:pt x="88" y="239"/>
                      <a:pt x="66" y="230"/>
                      <a:pt x="50" y="223"/>
                    </a:cubicBezTo>
                    <a:cubicBezTo>
                      <a:pt x="47" y="222"/>
                      <a:pt x="48" y="217"/>
                      <a:pt x="47" y="214"/>
                    </a:cubicBezTo>
                    <a:cubicBezTo>
                      <a:pt x="40" y="198"/>
                      <a:pt x="28" y="193"/>
                      <a:pt x="30" y="175"/>
                    </a:cubicBezTo>
                    <a:cubicBezTo>
                      <a:pt x="21" y="174"/>
                      <a:pt x="11" y="154"/>
                      <a:pt x="4" y="141"/>
                    </a:cubicBezTo>
                    <a:cubicBezTo>
                      <a:pt x="2" y="137"/>
                      <a:pt x="6" y="134"/>
                      <a:pt x="8" y="133"/>
                    </a:cubicBezTo>
                    <a:cubicBezTo>
                      <a:pt x="3" y="123"/>
                      <a:pt x="8" y="107"/>
                      <a:pt x="4" y="95"/>
                    </a:cubicBezTo>
                    <a:cubicBezTo>
                      <a:pt x="0" y="85"/>
                      <a:pt x="11" y="60"/>
                      <a:pt x="11" y="46"/>
                    </a:cubicBezTo>
                    <a:cubicBezTo>
                      <a:pt x="11" y="36"/>
                      <a:pt x="0" y="32"/>
                      <a:pt x="0" y="23"/>
                    </a:cubicBezTo>
                    <a:cubicBezTo>
                      <a:pt x="0" y="20"/>
                      <a:pt x="5" y="20"/>
                      <a:pt x="7" y="20"/>
                    </a:cubicBezTo>
                    <a:cubicBezTo>
                      <a:pt x="13" y="20"/>
                      <a:pt x="17" y="23"/>
                      <a:pt x="20" y="27"/>
                    </a:cubicBezTo>
                    <a:cubicBezTo>
                      <a:pt x="22" y="24"/>
                      <a:pt x="26" y="19"/>
                      <a:pt x="26" y="15"/>
                    </a:cubicBezTo>
                    <a:cubicBezTo>
                      <a:pt x="26" y="11"/>
                      <a:pt x="22" y="10"/>
                      <a:pt x="20" y="5"/>
                    </a:cubicBezTo>
                    <a:cubicBezTo>
                      <a:pt x="373" y="5"/>
                      <a:pt x="373" y="5"/>
                      <a:pt x="373" y="5"/>
                    </a:cubicBezTo>
                    <a:cubicBezTo>
                      <a:pt x="373" y="0"/>
                      <a:pt x="373" y="0"/>
                      <a:pt x="373" y="0"/>
                    </a:cubicBezTo>
                    <a:cubicBezTo>
                      <a:pt x="379" y="4"/>
                      <a:pt x="378" y="8"/>
                      <a:pt x="384" y="11"/>
                    </a:cubicBezTo>
                    <a:cubicBezTo>
                      <a:pt x="406" y="11"/>
                      <a:pt x="406" y="11"/>
                      <a:pt x="406" y="11"/>
                    </a:cubicBezTo>
                    <a:cubicBezTo>
                      <a:pt x="415" y="20"/>
                      <a:pt x="426" y="20"/>
                      <a:pt x="443" y="20"/>
                    </a:cubicBezTo>
                    <a:cubicBezTo>
                      <a:pt x="431" y="28"/>
                      <a:pt x="418" y="32"/>
                      <a:pt x="408" y="45"/>
                    </a:cubicBezTo>
                    <a:cubicBezTo>
                      <a:pt x="415" y="45"/>
                      <a:pt x="415" y="45"/>
                      <a:pt x="415" y="45"/>
                    </a:cubicBezTo>
                    <a:cubicBezTo>
                      <a:pt x="418" y="43"/>
                      <a:pt x="420" y="42"/>
                      <a:pt x="423" y="42"/>
                    </a:cubicBezTo>
                    <a:cubicBezTo>
                      <a:pt x="425" y="46"/>
                      <a:pt x="426" y="46"/>
                      <a:pt x="429" y="46"/>
                    </a:cubicBezTo>
                    <a:cubicBezTo>
                      <a:pt x="437" y="46"/>
                      <a:pt x="437" y="40"/>
                      <a:pt x="441" y="40"/>
                    </a:cubicBezTo>
                    <a:cubicBezTo>
                      <a:pt x="446" y="40"/>
                      <a:pt x="454" y="32"/>
                      <a:pt x="461" y="31"/>
                    </a:cubicBezTo>
                    <a:cubicBezTo>
                      <a:pt x="461" y="37"/>
                      <a:pt x="458" y="38"/>
                      <a:pt x="456" y="42"/>
                    </a:cubicBezTo>
                    <a:cubicBezTo>
                      <a:pt x="465" y="42"/>
                      <a:pt x="465" y="42"/>
                      <a:pt x="465" y="42"/>
                    </a:cubicBezTo>
                    <a:cubicBezTo>
                      <a:pt x="465" y="45"/>
                      <a:pt x="469" y="47"/>
                      <a:pt x="472" y="47"/>
                    </a:cubicBezTo>
                    <a:cubicBezTo>
                      <a:pt x="478" y="47"/>
                      <a:pt x="480" y="43"/>
                      <a:pt x="484" y="43"/>
                    </a:cubicBezTo>
                    <a:cubicBezTo>
                      <a:pt x="495" y="43"/>
                      <a:pt x="500" y="48"/>
                      <a:pt x="510" y="48"/>
                    </a:cubicBezTo>
                    <a:cubicBezTo>
                      <a:pt x="510" y="54"/>
                      <a:pt x="510" y="54"/>
                      <a:pt x="510" y="54"/>
                    </a:cubicBezTo>
                    <a:cubicBezTo>
                      <a:pt x="503" y="56"/>
                      <a:pt x="493" y="54"/>
                      <a:pt x="490" y="54"/>
                    </a:cubicBezTo>
                    <a:cubicBezTo>
                      <a:pt x="480" y="54"/>
                      <a:pt x="462" y="66"/>
                      <a:pt x="462" y="75"/>
                    </a:cubicBezTo>
                    <a:cubicBezTo>
                      <a:pt x="466" y="72"/>
                      <a:pt x="468" y="69"/>
                      <a:pt x="472" y="69"/>
                    </a:cubicBezTo>
                    <a:cubicBezTo>
                      <a:pt x="465" y="78"/>
                      <a:pt x="461" y="101"/>
                      <a:pt x="461" y="112"/>
                    </a:cubicBezTo>
                    <a:cubicBezTo>
                      <a:pt x="461" y="117"/>
                      <a:pt x="466" y="121"/>
                      <a:pt x="471" y="121"/>
                    </a:cubicBezTo>
                    <a:cubicBezTo>
                      <a:pt x="478" y="121"/>
                      <a:pt x="480" y="108"/>
                      <a:pt x="480" y="102"/>
                    </a:cubicBezTo>
                    <a:cubicBezTo>
                      <a:pt x="480" y="97"/>
                      <a:pt x="480" y="88"/>
                      <a:pt x="480" y="88"/>
                    </a:cubicBezTo>
                    <a:cubicBezTo>
                      <a:pt x="480" y="82"/>
                      <a:pt x="480" y="69"/>
                      <a:pt x="485" y="69"/>
                    </a:cubicBezTo>
                    <a:cubicBezTo>
                      <a:pt x="501" y="68"/>
                      <a:pt x="494" y="57"/>
                      <a:pt x="501" y="57"/>
                    </a:cubicBezTo>
                    <a:cubicBezTo>
                      <a:pt x="504" y="57"/>
                      <a:pt x="521" y="65"/>
                      <a:pt x="521" y="70"/>
                    </a:cubicBezTo>
                    <a:cubicBezTo>
                      <a:pt x="521" y="77"/>
                      <a:pt x="517" y="81"/>
                      <a:pt x="516" y="87"/>
                    </a:cubicBezTo>
                    <a:cubicBezTo>
                      <a:pt x="521" y="87"/>
                      <a:pt x="520" y="85"/>
                      <a:pt x="525" y="84"/>
                    </a:cubicBezTo>
                    <a:cubicBezTo>
                      <a:pt x="526" y="91"/>
                      <a:pt x="526" y="94"/>
                      <a:pt x="531" y="97"/>
                    </a:cubicBezTo>
                    <a:cubicBezTo>
                      <a:pt x="526" y="103"/>
                      <a:pt x="521" y="106"/>
                      <a:pt x="521" y="112"/>
                    </a:cubicBezTo>
                    <a:cubicBezTo>
                      <a:pt x="521" y="117"/>
                      <a:pt x="523" y="123"/>
                      <a:pt x="527" y="123"/>
                    </a:cubicBezTo>
                    <a:cubicBezTo>
                      <a:pt x="539" y="123"/>
                      <a:pt x="559" y="112"/>
                      <a:pt x="568" y="108"/>
                    </a:cubicBezTo>
                    <a:cubicBezTo>
                      <a:pt x="567" y="103"/>
                      <a:pt x="565" y="99"/>
                      <a:pt x="564" y="97"/>
                    </a:cubicBezTo>
                    <a:cubicBezTo>
                      <a:pt x="567" y="97"/>
                      <a:pt x="567" y="97"/>
                      <a:pt x="569" y="97"/>
                    </a:cubicBezTo>
                    <a:cubicBezTo>
                      <a:pt x="582" y="97"/>
                      <a:pt x="610" y="101"/>
                      <a:pt x="610" y="84"/>
                    </a:cubicBezTo>
                    <a:cubicBezTo>
                      <a:pt x="611" y="84"/>
                      <a:pt x="627" y="68"/>
                      <a:pt x="630" y="66"/>
                    </a:cubicBezTo>
                    <a:cubicBezTo>
                      <a:pt x="632" y="64"/>
                      <a:pt x="643" y="65"/>
                      <a:pt x="653" y="65"/>
                    </a:cubicBezTo>
                    <a:cubicBezTo>
                      <a:pt x="657" y="65"/>
                      <a:pt x="660" y="65"/>
                      <a:pt x="664" y="65"/>
                    </a:cubicBezTo>
                    <a:cubicBezTo>
                      <a:pt x="668" y="65"/>
                      <a:pt x="672" y="63"/>
                      <a:pt x="675" y="63"/>
                    </a:cubicBezTo>
                    <a:cubicBezTo>
                      <a:pt x="680" y="62"/>
                      <a:pt x="678" y="61"/>
                      <a:pt x="680" y="59"/>
                    </a:cubicBezTo>
                    <a:cubicBezTo>
                      <a:pt x="688" y="51"/>
                      <a:pt x="688" y="36"/>
                      <a:pt x="699" y="28"/>
                    </a:cubicBezTo>
                    <a:cubicBezTo>
                      <a:pt x="704" y="35"/>
                      <a:pt x="712" y="25"/>
                      <a:pt x="716" y="32"/>
                    </a:cubicBezTo>
                    <a:cubicBezTo>
                      <a:pt x="723" y="44"/>
                      <a:pt x="717" y="62"/>
                      <a:pt x="726" y="73"/>
                    </a:cubicBezTo>
                    <a:cubicBezTo>
                      <a:pt x="723" y="77"/>
                      <a:pt x="718" y="80"/>
                      <a:pt x="712" y="80"/>
                    </a:cubicBezTo>
                    <a:cubicBezTo>
                      <a:pt x="706" y="80"/>
                      <a:pt x="706" y="78"/>
                      <a:pt x="701" y="80"/>
                    </a:cubicBezTo>
                    <a:cubicBezTo>
                      <a:pt x="694" y="87"/>
                      <a:pt x="679" y="92"/>
                      <a:pt x="679" y="109"/>
                    </a:cubicBezTo>
                    <a:cubicBezTo>
                      <a:pt x="679" y="110"/>
                      <a:pt x="680" y="112"/>
                      <a:pt x="681" y="113"/>
                    </a:cubicBezTo>
                    <a:cubicBezTo>
                      <a:pt x="681" y="115"/>
                      <a:pt x="683" y="121"/>
                      <a:pt x="686" y="121"/>
                    </a:cubicBezTo>
                    <a:cubicBezTo>
                      <a:pt x="687" y="121"/>
                      <a:pt x="690" y="118"/>
                      <a:pt x="690" y="118"/>
                    </a:cubicBezTo>
                    <a:cubicBezTo>
                      <a:pt x="690" y="121"/>
                      <a:pt x="690" y="121"/>
                      <a:pt x="690" y="121"/>
                    </a:cubicBezTo>
                    <a:cubicBezTo>
                      <a:pt x="685" y="122"/>
                      <a:pt x="678" y="124"/>
                      <a:pt x="676" y="122"/>
                    </a:cubicBezTo>
                    <a:cubicBezTo>
                      <a:pt x="667" y="129"/>
                      <a:pt x="652" y="126"/>
                      <a:pt x="643" y="132"/>
                    </a:cubicBezTo>
                    <a:cubicBezTo>
                      <a:pt x="648" y="132"/>
                      <a:pt x="648" y="132"/>
                      <a:pt x="648" y="132"/>
                    </a:cubicBezTo>
                    <a:cubicBezTo>
                      <a:pt x="652" y="132"/>
                      <a:pt x="656" y="129"/>
                      <a:pt x="659" y="132"/>
                    </a:cubicBezTo>
                    <a:cubicBezTo>
                      <a:pt x="653" y="134"/>
                      <a:pt x="648" y="134"/>
                      <a:pt x="642" y="134"/>
                    </a:cubicBezTo>
                    <a:cubicBezTo>
                      <a:pt x="641" y="134"/>
                      <a:pt x="639" y="133"/>
                      <a:pt x="638" y="133"/>
                    </a:cubicBezTo>
                    <a:cubicBezTo>
                      <a:pt x="637" y="134"/>
                      <a:pt x="635" y="135"/>
                      <a:pt x="635" y="137"/>
                    </a:cubicBezTo>
                    <a:cubicBezTo>
                      <a:pt x="635" y="139"/>
                      <a:pt x="639" y="142"/>
                      <a:pt x="639" y="142"/>
                    </a:cubicBezTo>
                    <a:cubicBezTo>
                      <a:pt x="638" y="145"/>
                      <a:pt x="630" y="161"/>
                      <a:pt x="627" y="161"/>
                    </a:cubicBezTo>
                    <a:cubicBezTo>
                      <a:pt x="626" y="161"/>
                      <a:pt x="625" y="158"/>
                      <a:pt x="624" y="157"/>
                    </a:cubicBezTo>
                    <a:cubicBezTo>
                      <a:pt x="622" y="159"/>
                      <a:pt x="622" y="159"/>
                      <a:pt x="622" y="159"/>
                    </a:cubicBezTo>
                    <a:cubicBezTo>
                      <a:pt x="623" y="163"/>
                      <a:pt x="626" y="164"/>
                      <a:pt x="626" y="168"/>
                    </a:cubicBezTo>
                    <a:cubicBezTo>
                      <a:pt x="626" y="170"/>
                      <a:pt x="617" y="186"/>
                      <a:pt x="615" y="186"/>
                    </a:cubicBezTo>
                    <a:cubicBezTo>
                      <a:pt x="615" y="186"/>
                      <a:pt x="614" y="184"/>
                      <a:pt x="614" y="183"/>
                    </a:cubicBezTo>
                    <a:cubicBezTo>
                      <a:pt x="614" y="181"/>
                      <a:pt x="614" y="180"/>
                      <a:pt x="614" y="178"/>
                    </a:cubicBezTo>
                    <a:cubicBezTo>
                      <a:pt x="614" y="175"/>
                      <a:pt x="610" y="168"/>
                      <a:pt x="609" y="164"/>
                    </a:cubicBezTo>
                    <a:cubicBezTo>
                      <a:pt x="608" y="166"/>
                      <a:pt x="608" y="170"/>
                      <a:pt x="608" y="170"/>
                    </a:cubicBezTo>
                    <a:cubicBezTo>
                      <a:pt x="608" y="173"/>
                      <a:pt x="611" y="181"/>
                      <a:pt x="611" y="185"/>
                    </a:cubicBezTo>
                    <a:cubicBezTo>
                      <a:pt x="611" y="189"/>
                      <a:pt x="608" y="189"/>
                      <a:pt x="611" y="192"/>
                    </a:cubicBezTo>
                    <a:cubicBezTo>
                      <a:pt x="612" y="192"/>
                      <a:pt x="613" y="192"/>
                      <a:pt x="614" y="192"/>
                    </a:cubicBezTo>
                    <a:cubicBezTo>
                      <a:pt x="614" y="193"/>
                      <a:pt x="614" y="195"/>
                      <a:pt x="614" y="196"/>
                    </a:cubicBezTo>
                    <a:cubicBezTo>
                      <a:pt x="614" y="200"/>
                      <a:pt x="610" y="201"/>
                      <a:pt x="608" y="201"/>
                    </a:cubicBezTo>
                    <a:cubicBezTo>
                      <a:pt x="610" y="205"/>
                      <a:pt x="612" y="205"/>
                      <a:pt x="614" y="205"/>
                    </a:cubicBezTo>
                    <a:cubicBezTo>
                      <a:pt x="613" y="210"/>
                      <a:pt x="611" y="210"/>
                      <a:pt x="607" y="210"/>
                    </a:cubicBezTo>
                    <a:cubicBezTo>
                      <a:pt x="607" y="213"/>
                      <a:pt x="607" y="213"/>
                      <a:pt x="607" y="213"/>
                    </a:cubicBezTo>
                    <a:cubicBezTo>
                      <a:pt x="612" y="216"/>
                      <a:pt x="612" y="216"/>
                      <a:pt x="612" y="216"/>
                    </a:cubicBezTo>
                    <a:cubicBezTo>
                      <a:pt x="611" y="218"/>
                      <a:pt x="610" y="221"/>
                      <a:pt x="607" y="221"/>
                    </a:cubicBezTo>
                    <a:cubicBezTo>
                      <a:pt x="602" y="222"/>
                      <a:pt x="600" y="226"/>
                      <a:pt x="596" y="226"/>
                    </a:cubicBezTo>
                    <a:cubicBezTo>
                      <a:pt x="591" y="228"/>
                      <a:pt x="591" y="230"/>
                      <a:pt x="589" y="232"/>
                    </a:cubicBezTo>
                    <a:lnTo>
                      <a:pt x="590" y="233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26" name="Полилиния 50">
                <a:extLst>
                  <a:ext uri="{FF2B5EF4-FFF2-40B4-BE49-F238E27FC236}">
                    <a16:creationId xmlns:a16="http://schemas.microsoft.com/office/drawing/2014/main" xmlns="" id="{E3AECE14-1BA1-CDEB-4260-F50F2A5A5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0413" y="1400175"/>
                <a:ext cx="1425575" cy="736600"/>
              </a:xfrm>
              <a:custGeom>
                <a:avLst/>
                <a:gdLst/>
                <a:ahLst/>
                <a:cxnLst>
                  <a:cxn ang="0">
                    <a:pos x="950" y="501"/>
                  </a:cxn>
                  <a:cxn ang="0">
                    <a:pos x="950" y="527"/>
                  </a:cxn>
                  <a:cxn ang="0">
                    <a:pos x="955" y="469"/>
                  </a:cxn>
                  <a:cxn ang="0">
                    <a:pos x="944" y="436"/>
                  </a:cxn>
                  <a:cxn ang="0">
                    <a:pos x="982" y="418"/>
                  </a:cxn>
                  <a:cxn ang="0">
                    <a:pos x="1060" y="356"/>
                  </a:cxn>
                  <a:cxn ang="0">
                    <a:pos x="1050" y="346"/>
                  </a:cxn>
                  <a:cxn ang="0">
                    <a:pos x="991" y="310"/>
                  </a:cxn>
                  <a:cxn ang="0">
                    <a:pos x="965" y="247"/>
                  </a:cxn>
                  <a:cxn ang="0">
                    <a:pos x="908" y="267"/>
                  </a:cxn>
                  <a:cxn ang="0">
                    <a:pos x="831" y="204"/>
                  </a:cxn>
                  <a:cxn ang="0">
                    <a:pos x="794" y="247"/>
                  </a:cxn>
                  <a:cxn ang="0">
                    <a:pos x="783" y="387"/>
                  </a:cxn>
                  <a:cxn ang="0">
                    <a:pos x="726" y="334"/>
                  </a:cxn>
                  <a:cxn ang="0">
                    <a:pos x="607" y="306"/>
                  </a:cxn>
                  <a:cxn ang="0">
                    <a:pos x="595" y="216"/>
                  </a:cxn>
                  <a:cxn ang="0">
                    <a:pos x="633" y="178"/>
                  </a:cxn>
                  <a:cxn ang="0">
                    <a:pos x="675" y="146"/>
                  </a:cxn>
                  <a:cxn ang="0">
                    <a:pos x="686" y="127"/>
                  </a:cxn>
                  <a:cxn ang="0">
                    <a:pos x="722" y="120"/>
                  </a:cxn>
                  <a:cxn ang="0">
                    <a:pos x="746" y="61"/>
                  </a:cxn>
                  <a:cxn ang="0">
                    <a:pos x="702" y="67"/>
                  </a:cxn>
                  <a:cxn ang="0">
                    <a:pos x="665" y="74"/>
                  </a:cxn>
                  <a:cxn ang="0">
                    <a:pos x="625" y="55"/>
                  </a:cxn>
                  <a:cxn ang="0">
                    <a:pos x="574" y="0"/>
                  </a:cxn>
                  <a:cxn ang="0">
                    <a:pos x="555" y="38"/>
                  </a:cxn>
                  <a:cxn ang="0">
                    <a:pos x="567" y="98"/>
                  </a:cxn>
                  <a:cxn ang="0">
                    <a:pos x="492" y="92"/>
                  </a:cxn>
                  <a:cxn ang="0">
                    <a:pos x="430" y="75"/>
                  </a:cxn>
                  <a:cxn ang="0">
                    <a:pos x="387" y="89"/>
                  </a:cxn>
                  <a:cxn ang="0">
                    <a:pos x="333" y="81"/>
                  </a:cxn>
                  <a:cxn ang="0">
                    <a:pos x="202" y="42"/>
                  </a:cxn>
                  <a:cxn ang="0">
                    <a:pos x="138" y="40"/>
                  </a:cxn>
                  <a:cxn ang="0">
                    <a:pos x="61" y="70"/>
                  </a:cxn>
                  <a:cxn ang="0">
                    <a:pos x="0" y="242"/>
                  </a:cxn>
                  <a:cxn ang="0">
                    <a:pos x="67" y="253"/>
                  </a:cxn>
                  <a:cxn ang="0">
                    <a:pos x="124" y="316"/>
                  </a:cxn>
                  <a:cxn ang="0">
                    <a:pos x="136" y="366"/>
                  </a:cxn>
                  <a:cxn ang="0">
                    <a:pos x="181" y="413"/>
                  </a:cxn>
                  <a:cxn ang="0">
                    <a:pos x="224" y="440"/>
                  </a:cxn>
                  <a:cxn ang="0">
                    <a:pos x="610" y="446"/>
                  </a:cxn>
                  <a:cxn ang="0">
                    <a:pos x="676" y="453"/>
                  </a:cxn>
                  <a:cxn ang="0">
                    <a:pos x="705" y="477"/>
                  </a:cxn>
                  <a:cxn ang="0">
                    <a:pos x="759" y="512"/>
                  </a:cxn>
                  <a:cxn ang="0">
                    <a:pos x="732" y="553"/>
                  </a:cxn>
                  <a:cxn ang="0">
                    <a:pos x="772" y="543"/>
                  </a:cxn>
                  <a:cxn ang="0">
                    <a:pos x="814" y="519"/>
                  </a:cxn>
                  <a:cxn ang="0">
                    <a:pos x="879" y="498"/>
                  </a:cxn>
                  <a:cxn ang="0">
                    <a:pos x="928" y="505"/>
                  </a:cxn>
                </a:cxnLst>
                <a:rect l="0" t="0" r="r" b="b"/>
                <a:pathLst>
                  <a:path w="1071" h="553">
                    <a:moveTo>
                      <a:pt x="928" y="503"/>
                    </a:moveTo>
                    <a:cubicBezTo>
                      <a:pt x="928" y="502"/>
                      <a:pt x="928" y="502"/>
                      <a:pt x="928" y="502"/>
                    </a:cubicBezTo>
                    <a:cubicBezTo>
                      <a:pt x="928" y="502"/>
                      <a:pt x="931" y="502"/>
                      <a:pt x="932" y="502"/>
                    </a:cubicBezTo>
                    <a:cubicBezTo>
                      <a:pt x="935" y="502"/>
                      <a:pt x="946" y="504"/>
                      <a:pt x="950" y="501"/>
                    </a:cubicBezTo>
                    <a:cubicBezTo>
                      <a:pt x="954" y="498"/>
                      <a:pt x="954" y="493"/>
                      <a:pt x="960" y="492"/>
                    </a:cubicBezTo>
                    <a:cubicBezTo>
                      <a:pt x="960" y="498"/>
                      <a:pt x="960" y="499"/>
                      <a:pt x="967" y="499"/>
                    </a:cubicBezTo>
                    <a:cubicBezTo>
                      <a:pt x="957" y="500"/>
                      <a:pt x="941" y="507"/>
                      <a:pt x="941" y="516"/>
                    </a:cubicBezTo>
                    <a:cubicBezTo>
                      <a:pt x="941" y="520"/>
                      <a:pt x="947" y="527"/>
                      <a:pt x="950" y="527"/>
                    </a:cubicBezTo>
                    <a:cubicBezTo>
                      <a:pt x="953" y="527"/>
                      <a:pt x="961" y="516"/>
                      <a:pt x="970" y="513"/>
                    </a:cubicBezTo>
                    <a:cubicBezTo>
                      <a:pt x="972" y="513"/>
                      <a:pt x="1003" y="501"/>
                      <a:pt x="1003" y="497"/>
                    </a:cubicBezTo>
                    <a:cubicBezTo>
                      <a:pt x="1003" y="493"/>
                      <a:pt x="991" y="492"/>
                      <a:pt x="988" y="492"/>
                    </a:cubicBezTo>
                    <a:cubicBezTo>
                      <a:pt x="976" y="492"/>
                      <a:pt x="955" y="480"/>
                      <a:pt x="955" y="469"/>
                    </a:cubicBezTo>
                    <a:cubicBezTo>
                      <a:pt x="955" y="466"/>
                      <a:pt x="959" y="463"/>
                      <a:pt x="960" y="458"/>
                    </a:cubicBezTo>
                    <a:cubicBezTo>
                      <a:pt x="958" y="458"/>
                      <a:pt x="953" y="457"/>
                      <a:pt x="949" y="457"/>
                    </a:cubicBezTo>
                    <a:cubicBezTo>
                      <a:pt x="951" y="453"/>
                      <a:pt x="967" y="451"/>
                      <a:pt x="967" y="442"/>
                    </a:cubicBezTo>
                    <a:cubicBezTo>
                      <a:pt x="967" y="434"/>
                      <a:pt x="954" y="436"/>
                      <a:pt x="944" y="436"/>
                    </a:cubicBezTo>
                    <a:cubicBezTo>
                      <a:pt x="925" y="436"/>
                      <a:pt x="916" y="449"/>
                      <a:pt x="903" y="451"/>
                    </a:cubicBezTo>
                    <a:cubicBezTo>
                      <a:pt x="909" y="439"/>
                      <a:pt x="918" y="443"/>
                      <a:pt x="928" y="433"/>
                    </a:cubicBezTo>
                    <a:cubicBezTo>
                      <a:pt x="934" y="427"/>
                      <a:pt x="929" y="423"/>
                      <a:pt x="939" y="420"/>
                    </a:cubicBezTo>
                    <a:cubicBezTo>
                      <a:pt x="955" y="415"/>
                      <a:pt x="965" y="418"/>
                      <a:pt x="982" y="418"/>
                    </a:cubicBezTo>
                    <a:cubicBezTo>
                      <a:pt x="1004" y="418"/>
                      <a:pt x="1016" y="425"/>
                      <a:pt x="1029" y="408"/>
                    </a:cubicBezTo>
                    <a:cubicBezTo>
                      <a:pt x="1035" y="400"/>
                      <a:pt x="1071" y="398"/>
                      <a:pt x="1071" y="384"/>
                    </a:cubicBezTo>
                    <a:cubicBezTo>
                      <a:pt x="1071" y="374"/>
                      <a:pt x="1067" y="370"/>
                      <a:pt x="1063" y="363"/>
                    </a:cubicBezTo>
                    <a:cubicBezTo>
                      <a:pt x="1060" y="363"/>
                      <a:pt x="1065" y="359"/>
                      <a:pt x="1060" y="356"/>
                    </a:cubicBezTo>
                    <a:cubicBezTo>
                      <a:pt x="1060" y="351"/>
                      <a:pt x="1060" y="351"/>
                      <a:pt x="1060" y="351"/>
                    </a:cubicBezTo>
                    <a:cubicBezTo>
                      <a:pt x="1050" y="357"/>
                      <a:pt x="1029" y="364"/>
                      <a:pt x="1018" y="364"/>
                    </a:cubicBezTo>
                    <a:cubicBezTo>
                      <a:pt x="1017" y="364"/>
                      <a:pt x="1014" y="363"/>
                      <a:pt x="1014" y="362"/>
                    </a:cubicBezTo>
                    <a:cubicBezTo>
                      <a:pt x="1022" y="358"/>
                      <a:pt x="1047" y="354"/>
                      <a:pt x="1050" y="346"/>
                    </a:cubicBezTo>
                    <a:cubicBezTo>
                      <a:pt x="1050" y="344"/>
                      <a:pt x="1046" y="343"/>
                      <a:pt x="1046" y="341"/>
                    </a:cubicBezTo>
                    <a:cubicBezTo>
                      <a:pt x="1035" y="342"/>
                      <a:pt x="1013" y="337"/>
                      <a:pt x="1013" y="322"/>
                    </a:cubicBezTo>
                    <a:cubicBezTo>
                      <a:pt x="1013" y="321"/>
                      <a:pt x="1013" y="321"/>
                      <a:pt x="1013" y="321"/>
                    </a:cubicBezTo>
                    <a:cubicBezTo>
                      <a:pt x="1003" y="321"/>
                      <a:pt x="997" y="315"/>
                      <a:pt x="991" y="310"/>
                    </a:cubicBezTo>
                    <a:cubicBezTo>
                      <a:pt x="994" y="309"/>
                      <a:pt x="998" y="308"/>
                      <a:pt x="998" y="302"/>
                    </a:cubicBezTo>
                    <a:cubicBezTo>
                      <a:pt x="998" y="298"/>
                      <a:pt x="994" y="295"/>
                      <a:pt x="995" y="290"/>
                    </a:cubicBezTo>
                    <a:cubicBezTo>
                      <a:pt x="991" y="289"/>
                      <a:pt x="977" y="280"/>
                      <a:pt x="980" y="272"/>
                    </a:cubicBezTo>
                    <a:cubicBezTo>
                      <a:pt x="985" y="262"/>
                      <a:pt x="966" y="259"/>
                      <a:pt x="965" y="247"/>
                    </a:cubicBezTo>
                    <a:cubicBezTo>
                      <a:pt x="964" y="247"/>
                      <a:pt x="959" y="243"/>
                      <a:pt x="958" y="242"/>
                    </a:cubicBezTo>
                    <a:cubicBezTo>
                      <a:pt x="954" y="244"/>
                      <a:pt x="947" y="248"/>
                      <a:pt x="947" y="254"/>
                    </a:cubicBezTo>
                    <a:cubicBezTo>
                      <a:pt x="947" y="261"/>
                      <a:pt x="933" y="277"/>
                      <a:pt x="922" y="277"/>
                    </a:cubicBezTo>
                    <a:cubicBezTo>
                      <a:pt x="914" y="277"/>
                      <a:pt x="913" y="267"/>
                      <a:pt x="908" y="267"/>
                    </a:cubicBezTo>
                    <a:cubicBezTo>
                      <a:pt x="900" y="267"/>
                      <a:pt x="897" y="246"/>
                      <a:pt x="896" y="236"/>
                    </a:cubicBezTo>
                    <a:cubicBezTo>
                      <a:pt x="894" y="224"/>
                      <a:pt x="870" y="233"/>
                      <a:pt x="870" y="216"/>
                    </a:cubicBezTo>
                    <a:cubicBezTo>
                      <a:pt x="858" y="215"/>
                      <a:pt x="855" y="200"/>
                      <a:pt x="843" y="200"/>
                    </a:cubicBezTo>
                    <a:cubicBezTo>
                      <a:pt x="837" y="200"/>
                      <a:pt x="837" y="204"/>
                      <a:pt x="831" y="204"/>
                    </a:cubicBezTo>
                    <a:cubicBezTo>
                      <a:pt x="818" y="204"/>
                      <a:pt x="810" y="197"/>
                      <a:pt x="797" y="197"/>
                    </a:cubicBezTo>
                    <a:cubicBezTo>
                      <a:pt x="791" y="197"/>
                      <a:pt x="784" y="200"/>
                      <a:pt x="784" y="208"/>
                    </a:cubicBezTo>
                    <a:cubicBezTo>
                      <a:pt x="784" y="212"/>
                      <a:pt x="800" y="218"/>
                      <a:pt x="786" y="227"/>
                    </a:cubicBezTo>
                    <a:cubicBezTo>
                      <a:pt x="780" y="231"/>
                      <a:pt x="794" y="241"/>
                      <a:pt x="794" y="247"/>
                    </a:cubicBezTo>
                    <a:cubicBezTo>
                      <a:pt x="796" y="260"/>
                      <a:pt x="783" y="264"/>
                      <a:pt x="778" y="266"/>
                    </a:cubicBezTo>
                    <a:cubicBezTo>
                      <a:pt x="788" y="283"/>
                      <a:pt x="803" y="289"/>
                      <a:pt x="803" y="318"/>
                    </a:cubicBezTo>
                    <a:cubicBezTo>
                      <a:pt x="803" y="326"/>
                      <a:pt x="777" y="346"/>
                      <a:pt x="768" y="347"/>
                    </a:cubicBezTo>
                    <a:cubicBezTo>
                      <a:pt x="783" y="355"/>
                      <a:pt x="777" y="379"/>
                      <a:pt x="783" y="387"/>
                    </a:cubicBezTo>
                    <a:cubicBezTo>
                      <a:pt x="782" y="389"/>
                      <a:pt x="776" y="392"/>
                      <a:pt x="775" y="397"/>
                    </a:cubicBezTo>
                    <a:cubicBezTo>
                      <a:pt x="770" y="397"/>
                      <a:pt x="766" y="406"/>
                      <a:pt x="762" y="403"/>
                    </a:cubicBezTo>
                    <a:cubicBezTo>
                      <a:pt x="751" y="394"/>
                      <a:pt x="736" y="380"/>
                      <a:pt x="736" y="367"/>
                    </a:cubicBezTo>
                    <a:cubicBezTo>
                      <a:pt x="736" y="353"/>
                      <a:pt x="738" y="342"/>
                      <a:pt x="726" y="334"/>
                    </a:cubicBezTo>
                    <a:cubicBezTo>
                      <a:pt x="697" y="334"/>
                      <a:pt x="697" y="334"/>
                      <a:pt x="697" y="334"/>
                    </a:cubicBezTo>
                    <a:cubicBezTo>
                      <a:pt x="681" y="322"/>
                      <a:pt x="662" y="315"/>
                      <a:pt x="643" y="308"/>
                    </a:cubicBezTo>
                    <a:cubicBezTo>
                      <a:pt x="640" y="306"/>
                      <a:pt x="629" y="299"/>
                      <a:pt x="623" y="299"/>
                    </a:cubicBezTo>
                    <a:cubicBezTo>
                      <a:pt x="617" y="299"/>
                      <a:pt x="614" y="306"/>
                      <a:pt x="607" y="306"/>
                    </a:cubicBezTo>
                    <a:cubicBezTo>
                      <a:pt x="607" y="295"/>
                      <a:pt x="600" y="270"/>
                      <a:pt x="590" y="270"/>
                    </a:cubicBezTo>
                    <a:cubicBezTo>
                      <a:pt x="586" y="270"/>
                      <a:pt x="584" y="274"/>
                      <a:pt x="579" y="275"/>
                    </a:cubicBezTo>
                    <a:cubicBezTo>
                      <a:pt x="581" y="269"/>
                      <a:pt x="579" y="268"/>
                      <a:pt x="579" y="255"/>
                    </a:cubicBezTo>
                    <a:cubicBezTo>
                      <a:pt x="579" y="237"/>
                      <a:pt x="584" y="227"/>
                      <a:pt x="595" y="216"/>
                    </a:cubicBezTo>
                    <a:cubicBezTo>
                      <a:pt x="598" y="213"/>
                      <a:pt x="606" y="196"/>
                      <a:pt x="609" y="194"/>
                    </a:cubicBezTo>
                    <a:cubicBezTo>
                      <a:pt x="617" y="192"/>
                      <a:pt x="630" y="196"/>
                      <a:pt x="630" y="186"/>
                    </a:cubicBezTo>
                    <a:cubicBezTo>
                      <a:pt x="630" y="179"/>
                      <a:pt x="613" y="178"/>
                      <a:pt x="607" y="175"/>
                    </a:cubicBezTo>
                    <a:cubicBezTo>
                      <a:pt x="611" y="176"/>
                      <a:pt x="597" y="167"/>
                      <a:pt x="633" y="178"/>
                    </a:cubicBezTo>
                    <a:cubicBezTo>
                      <a:pt x="643" y="181"/>
                      <a:pt x="637" y="169"/>
                      <a:pt x="642" y="169"/>
                    </a:cubicBezTo>
                    <a:cubicBezTo>
                      <a:pt x="643" y="169"/>
                      <a:pt x="647" y="169"/>
                      <a:pt x="652" y="169"/>
                    </a:cubicBezTo>
                    <a:cubicBezTo>
                      <a:pt x="662" y="169"/>
                      <a:pt x="668" y="158"/>
                      <a:pt x="675" y="153"/>
                    </a:cubicBezTo>
                    <a:cubicBezTo>
                      <a:pt x="675" y="146"/>
                      <a:pt x="675" y="146"/>
                      <a:pt x="675" y="146"/>
                    </a:cubicBezTo>
                    <a:cubicBezTo>
                      <a:pt x="660" y="142"/>
                      <a:pt x="645" y="145"/>
                      <a:pt x="639" y="131"/>
                    </a:cubicBezTo>
                    <a:cubicBezTo>
                      <a:pt x="639" y="131"/>
                      <a:pt x="643" y="131"/>
                      <a:pt x="647" y="131"/>
                    </a:cubicBezTo>
                    <a:cubicBezTo>
                      <a:pt x="652" y="135"/>
                      <a:pt x="658" y="141"/>
                      <a:pt x="666" y="141"/>
                    </a:cubicBezTo>
                    <a:cubicBezTo>
                      <a:pt x="673" y="141"/>
                      <a:pt x="686" y="132"/>
                      <a:pt x="686" y="127"/>
                    </a:cubicBezTo>
                    <a:cubicBezTo>
                      <a:pt x="686" y="125"/>
                      <a:pt x="680" y="117"/>
                      <a:pt x="683" y="117"/>
                    </a:cubicBezTo>
                    <a:cubicBezTo>
                      <a:pt x="693" y="117"/>
                      <a:pt x="696" y="126"/>
                      <a:pt x="703" y="126"/>
                    </a:cubicBezTo>
                    <a:cubicBezTo>
                      <a:pt x="707" y="126"/>
                      <a:pt x="709" y="123"/>
                      <a:pt x="717" y="123"/>
                    </a:cubicBezTo>
                    <a:cubicBezTo>
                      <a:pt x="715" y="120"/>
                      <a:pt x="717" y="112"/>
                      <a:pt x="722" y="120"/>
                    </a:cubicBezTo>
                    <a:cubicBezTo>
                      <a:pt x="725" y="125"/>
                      <a:pt x="748" y="105"/>
                      <a:pt x="748" y="100"/>
                    </a:cubicBezTo>
                    <a:cubicBezTo>
                      <a:pt x="748" y="96"/>
                      <a:pt x="738" y="91"/>
                      <a:pt x="738" y="89"/>
                    </a:cubicBezTo>
                    <a:cubicBezTo>
                      <a:pt x="738" y="85"/>
                      <a:pt x="732" y="78"/>
                      <a:pt x="746" y="72"/>
                    </a:cubicBezTo>
                    <a:cubicBezTo>
                      <a:pt x="748" y="68"/>
                      <a:pt x="746" y="68"/>
                      <a:pt x="746" y="61"/>
                    </a:cubicBezTo>
                    <a:cubicBezTo>
                      <a:pt x="732" y="61"/>
                      <a:pt x="735" y="50"/>
                      <a:pt x="717" y="50"/>
                    </a:cubicBezTo>
                    <a:cubicBezTo>
                      <a:pt x="713" y="49"/>
                      <a:pt x="710" y="47"/>
                      <a:pt x="706" y="47"/>
                    </a:cubicBezTo>
                    <a:cubicBezTo>
                      <a:pt x="701" y="47"/>
                      <a:pt x="695" y="50"/>
                      <a:pt x="695" y="55"/>
                    </a:cubicBezTo>
                    <a:cubicBezTo>
                      <a:pt x="695" y="61"/>
                      <a:pt x="702" y="63"/>
                      <a:pt x="702" y="67"/>
                    </a:cubicBezTo>
                    <a:cubicBezTo>
                      <a:pt x="702" y="72"/>
                      <a:pt x="692" y="72"/>
                      <a:pt x="689" y="76"/>
                    </a:cubicBezTo>
                    <a:cubicBezTo>
                      <a:pt x="686" y="84"/>
                      <a:pt x="687" y="90"/>
                      <a:pt x="681" y="98"/>
                    </a:cubicBezTo>
                    <a:cubicBezTo>
                      <a:pt x="671" y="110"/>
                      <a:pt x="658" y="90"/>
                      <a:pt x="658" y="85"/>
                    </a:cubicBezTo>
                    <a:cubicBezTo>
                      <a:pt x="658" y="79"/>
                      <a:pt x="665" y="81"/>
                      <a:pt x="665" y="74"/>
                    </a:cubicBezTo>
                    <a:cubicBezTo>
                      <a:pt x="665" y="71"/>
                      <a:pt x="652" y="59"/>
                      <a:pt x="649" y="59"/>
                    </a:cubicBezTo>
                    <a:cubicBezTo>
                      <a:pt x="636" y="59"/>
                      <a:pt x="645" y="78"/>
                      <a:pt x="631" y="78"/>
                    </a:cubicBezTo>
                    <a:cubicBezTo>
                      <a:pt x="631" y="70"/>
                      <a:pt x="630" y="65"/>
                      <a:pt x="621" y="60"/>
                    </a:cubicBezTo>
                    <a:cubicBezTo>
                      <a:pt x="622" y="58"/>
                      <a:pt x="623" y="57"/>
                      <a:pt x="625" y="55"/>
                    </a:cubicBezTo>
                    <a:cubicBezTo>
                      <a:pt x="618" y="51"/>
                      <a:pt x="609" y="55"/>
                      <a:pt x="603" y="48"/>
                    </a:cubicBezTo>
                    <a:cubicBezTo>
                      <a:pt x="606" y="47"/>
                      <a:pt x="614" y="44"/>
                      <a:pt x="614" y="38"/>
                    </a:cubicBezTo>
                    <a:cubicBezTo>
                      <a:pt x="614" y="29"/>
                      <a:pt x="601" y="30"/>
                      <a:pt x="601" y="23"/>
                    </a:cubicBezTo>
                    <a:cubicBezTo>
                      <a:pt x="601" y="10"/>
                      <a:pt x="591" y="1"/>
                      <a:pt x="574" y="0"/>
                    </a:cubicBezTo>
                    <a:cubicBezTo>
                      <a:pt x="565" y="0"/>
                      <a:pt x="569" y="6"/>
                      <a:pt x="569" y="10"/>
                    </a:cubicBezTo>
                    <a:cubicBezTo>
                      <a:pt x="564" y="11"/>
                      <a:pt x="557" y="10"/>
                      <a:pt x="557" y="17"/>
                    </a:cubicBezTo>
                    <a:cubicBezTo>
                      <a:pt x="557" y="21"/>
                      <a:pt x="561" y="23"/>
                      <a:pt x="561" y="28"/>
                    </a:cubicBezTo>
                    <a:cubicBezTo>
                      <a:pt x="561" y="32"/>
                      <a:pt x="555" y="32"/>
                      <a:pt x="555" y="38"/>
                    </a:cubicBezTo>
                    <a:cubicBezTo>
                      <a:pt x="555" y="52"/>
                      <a:pt x="585" y="44"/>
                      <a:pt x="585" y="59"/>
                    </a:cubicBezTo>
                    <a:cubicBezTo>
                      <a:pt x="585" y="61"/>
                      <a:pt x="581" y="72"/>
                      <a:pt x="581" y="72"/>
                    </a:cubicBezTo>
                    <a:cubicBezTo>
                      <a:pt x="584" y="70"/>
                      <a:pt x="587" y="69"/>
                      <a:pt x="591" y="67"/>
                    </a:cubicBezTo>
                    <a:cubicBezTo>
                      <a:pt x="596" y="85"/>
                      <a:pt x="567" y="77"/>
                      <a:pt x="567" y="98"/>
                    </a:cubicBezTo>
                    <a:cubicBezTo>
                      <a:pt x="553" y="102"/>
                      <a:pt x="564" y="88"/>
                      <a:pt x="561" y="83"/>
                    </a:cubicBezTo>
                    <a:cubicBezTo>
                      <a:pt x="559" y="81"/>
                      <a:pt x="547" y="78"/>
                      <a:pt x="541" y="78"/>
                    </a:cubicBezTo>
                    <a:cubicBezTo>
                      <a:pt x="533" y="78"/>
                      <a:pt x="530" y="82"/>
                      <a:pt x="530" y="92"/>
                    </a:cubicBezTo>
                    <a:cubicBezTo>
                      <a:pt x="522" y="91"/>
                      <a:pt x="517" y="92"/>
                      <a:pt x="492" y="92"/>
                    </a:cubicBezTo>
                    <a:cubicBezTo>
                      <a:pt x="468" y="92"/>
                      <a:pt x="441" y="83"/>
                      <a:pt x="435" y="65"/>
                    </a:cubicBezTo>
                    <a:cubicBezTo>
                      <a:pt x="427" y="67"/>
                      <a:pt x="400" y="68"/>
                      <a:pt x="400" y="78"/>
                    </a:cubicBezTo>
                    <a:cubicBezTo>
                      <a:pt x="400" y="81"/>
                      <a:pt x="403" y="82"/>
                      <a:pt x="406" y="82"/>
                    </a:cubicBezTo>
                    <a:cubicBezTo>
                      <a:pt x="413" y="82"/>
                      <a:pt x="425" y="79"/>
                      <a:pt x="430" y="75"/>
                    </a:cubicBezTo>
                    <a:cubicBezTo>
                      <a:pt x="432" y="90"/>
                      <a:pt x="409" y="78"/>
                      <a:pt x="409" y="93"/>
                    </a:cubicBezTo>
                    <a:cubicBezTo>
                      <a:pt x="409" y="96"/>
                      <a:pt x="414" y="106"/>
                      <a:pt x="412" y="106"/>
                    </a:cubicBezTo>
                    <a:cubicBezTo>
                      <a:pt x="403" y="106"/>
                      <a:pt x="401" y="95"/>
                      <a:pt x="394" y="92"/>
                    </a:cubicBezTo>
                    <a:cubicBezTo>
                      <a:pt x="387" y="89"/>
                      <a:pt x="387" y="89"/>
                      <a:pt x="387" y="89"/>
                    </a:cubicBezTo>
                    <a:cubicBezTo>
                      <a:pt x="377" y="89"/>
                      <a:pt x="370" y="89"/>
                      <a:pt x="359" y="89"/>
                    </a:cubicBezTo>
                    <a:cubicBezTo>
                      <a:pt x="350" y="89"/>
                      <a:pt x="344" y="92"/>
                      <a:pt x="335" y="93"/>
                    </a:cubicBezTo>
                    <a:cubicBezTo>
                      <a:pt x="317" y="93"/>
                      <a:pt x="317" y="87"/>
                      <a:pt x="317" y="86"/>
                    </a:cubicBezTo>
                    <a:cubicBezTo>
                      <a:pt x="317" y="82"/>
                      <a:pt x="331" y="83"/>
                      <a:pt x="333" y="81"/>
                    </a:cubicBezTo>
                    <a:cubicBezTo>
                      <a:pt x="321" y="64"/>
                      <a:pt x="323" y="66"/>
                      <a:pt x="298" y="68"/>
                    </a:cubicBezTo>
                    <a:cubicBezTo>
                      <a:pt x="271" y="70"/>
                      <a:pt x="258" y="48"/>
                      <a:pt x="231" y="48"/>
                    </a:cubicBezTo>
                    <a:cubicBezTo>
                      <a:pt x="223" y="48"/>
                      <a:pt x="219" y="54"/>
                      <a:pt x="212" y="54"/>
                    </a:cubicBezTo>
                    <a:cubicBezTo>
                      <a:pt x="207" y="54"/>
                      <a:pt x="202" y="46"/>
                      <a:pt x="202" y="42"/>
                    </a:cubicBezTo>
                    <a:cubicBezTo>
                      <a:pt x="193" y="44"/>
                      <a:pt x="193" y="54"/>
                      <a:pt x="184" y="54"/>
                    </a:cubicBezTo>
                    <a:cubicBezTo>
                      <a:pt x="176" y="54"/>
                      <a:pt x="164" y="34"/>
                      <a:pt x="161" y="34"/>
                    </a:cubicBezTo>
                    <a:cubicBezTo>
                      <a:pt x="153" y="34"/>
                      <a:pt x="156" y="47"/>
                      <a:pt x="146" y="47"/>
                    </a:cubicBezTo>
                    <a:cubicBezTo>
                      <a:pt x="143" y="47"/>
                      <a:pt x="140" y="44"/>
                      <a:pt x="138" y="40"/>
                    </a:cubicBezTo>
                    <a:cubicBezTo>
                      <a:pt x="125" y="44"/>
                      <a:pt x="120" y="44"/>
                      <a:pt x="108" y="49"/>
                    </a:cubicBezTo>
                    <a:cubicBezTo>
                      <a:pt x="103" y="50"/>
                      <a:pt x="91" y="59"/>
                      <a:pt x="87" y="55"/>
                    </a:cubicBezTo>
                    <a:cubicBezTo>
                      <a:pt x="76" y="44"/>
                      <a:pt x="78" y="58"/>
                      <a:pt x="74" y="58"/>
                    </a:cubicBezTo>
                    <a:cubicBezTo>
                      <a:pt x="45" y="59"/>
                      <a:pt x="65" y="70"/>
                      <a:pt x="61" y="70"/>
                    </a:cubicBezTo>
                    <a:cubicBezTo>
                      <a:pt x="50" y="70"/>
                      <a:pt x="30" y="67"/>
                      <a:pt x="12" y="56"/>
                    </a:cubicBezTo>
                    <a:cubicBezTo>
                      <a:pt x="11" y="56"/>
                      <a:pt x="6" y="52"/>
                      <a:pt x="6" y="51"/>
                    </a:cubicBezTo>
                    <a:cubicBezTo>
                      <a:pt x="3" y="52"/>
                      <a:pt x="5" y="52"/>
                      <a:pt x="0" y="51"/>
                    </a:cubicBezTo>
                    <a:cubicBezTo>
                      <a:pt x="0" y="242"/>
                      <a:pt x="0" y="242"/>
                      <a:pt x="0" y="242"/>
                    </a:cubicBezTo>
                    <a:cubicBezTo>
                      <a:pt x="6" y="247"/>
                      <a:pt x="19" y="240"/>
                      <a:pt x="25" y="248"/>
                    </a:cubicBezTo>
                    <a:cubicBezTo>
                      <a:pt x="29" y="254"/>
                      <a:pt x="38" y="266"/>
                      <a:pt x="47" y="266"/>
                    </a:cubicBezTo>
                    <a:cubicBezTo>
                      <a:pt x="53" y="266"/>
                      <a:pt x="53" y="257"/>
                      <a:pt x="59" y="255"/>
                    </a:cubicBezTo>
                    <a:cubicBezTo>
                      <a:pt x="62" y="254"/>
                      <a:pt x="64" y="255"/>
                      <a:pt x="67" y="253"/>
                    </a:cubicBezTo>
                    <a:cubicBezTo>
                      <a:pt x="81" y="266"/>
                      <a:pt x="87" y="271"/>
                      <a:pt x="99" y="288"/>
                    </a:cubicBezTo>
                    <a:cubicBezTo>
                      <a:pt x="100" y="290"/>
                      <a:pt x="103" y="291"/>
                      <a:pt x="105" y="295"/>
                    </a:cubicBezTo>
                    <a:cubicBezTo>
                      <a:pt x="106" y="300"/>
                      <a:pt x="108" y="306"/>
                      <a:pt x="113" y="311"/>
                    </a:cubicBezTo>
                    <a:cubicBezTo>
                      <a:pt x="116" y="314"/>
                      <a:pt x="121" y="313"/>
                      <a:pt x="124" y="316"/>
                    </a:cubicBezTo>
                    <a:cubicBezTo>
                      <a:pt x="128" y="320"/>
                      <a:pt x="135" y="322"/>
                      <a:pt x="135" y="332"/>
                    </a:cubicBezTo>
                    <a:cubicBezTo>
                      <a:pt x="135" y="336"/>
                      <a:pt x="129" y="337"/>
                      <a:pt x="129" y="340"/>
                    </a:cubicBezTo>
                    <a:cubicBezTo>
                      <a:pt x="129" y="343"/>
                      <a:pt x="132" y="344"/>
                      <a:pt x="132" y="347"/>
                    </a:cubicBezTo>
                    <a:cubicBezTo>
                      <a:pt x="132" y="352"/>
                      <a:pt x="130" y="364"/>
                      <a:pt x="136" y="366"/>
                    </a:cubicBezTo>
                    <a:cubicBezTo>
                      <a:pt x="140" y="367"/>
                      <a:pt x="143" y="367"/>
                      <a:pt x="146" y="370"/>
                    </a:cubicBezTo>
                    <a:cubicBezTo>
                      <a:pt x="150" y="373"/>
                      <a:pt x="145" y="379"/>
                      <a:pt x="150" y="383"/>
                    </a:cubicBezTo>
                    <a:cubicBezTo>
                      <a:pt x="150" y="383"/>
                      <a:pt x="162" y="390"/>
                      <a:pt x="162" y="391"/>
                    </a:cubicBezTo>
                    <a:cubicBezTo>
                      <a:pt x="165" y="401"/>
                      <a:pt x="166" y="413"/>
                      <a:pt x="181" y="413"/>
                    </a:cubicBezTo>
                    <a:cubicBezTo>
                      <a:pt x="183" y="422"/>
                      <a:pt x="199" y="416"/>
                      <a:pt x="202" y="428"/>
                    </a:cubicBezTo>
                    <a:cubicBezTo>
                      <a:pt x="204" y="432"/>
                      <a:pt x="215" y="433"/>
                      <a:pt x="219" y="437"/>
                    </a:cubicBezTo>
                    <a:cubicBezTo>
                      <a:pt x="220" y="438"/>
                      <a:pt x="222" y="439"/>
                      <a:pt x="224" y="440"/>
                    </a:cubicBezTo>
                    <a:cubicBezTo>
                      <a:pt x="224" y="440"/>
                      <a:pt x="224" y="440"/>
                      <a:pt x="224" y="440"/>
                    </a:cubicBezTo>
                    <a:cubicBezTo>
                      <a:pt x="577" y="440"/>
                      <a:pt x="577" y="440"/>
                      <a:pt x="577" y="440"/>
                    </a:cubicBezTo>
                    <a:cubicBezTo>
                      <a:pt x="577" y="435"/>
                      <a:pt x="577" y="435"/>
                      <a:pt x="577" y="435"/>
                    </a:cubicBezTo>
                    <a:cubicBezTo>
                      <a:pt x="583" y="439"/>
                      <a:pt x="582" y="443"/>
                      <a:pt x="588" y="446"/>
                    </a:cubicBezTo>
                    <a:cubicBezTo>
                      <a:pt x="610" y="446"/>
                      <a:pt x="610" y="446"/>
                      <a:pt x="610" y="446"/>
                    </a:cubicBezTo>
                    <a:cubicBezTo>
                      <a:pt x="619" y="455"/>
                      <a:pt x="630" y="455"/>
                      <a:pt x="647" y="455"/>
                    </a:cubicBezTo>
                    <a:cubicBezTo>
                      <a:pt x="652" y="453"/>
                      <a:pt x="653" y="455"/>
                      <a:pt x="658" y="452"/>
                    </a:cubicBezTo>
                    <a:cubicBezTo>
                      <a:pt x="662" y="450"/>
                      <a:pt x="661" y="443"/>
                      <a:pt x="665" y="443"/>
                    </a:cubicBezTo>
                    <a:cubicBezTo>
                      <a:pt x="670" y="443"/>
                      <a:pt x="674" y="451"/>
                      <a:pt x="676" y="453"/>
                    </a:cubicBezTo>
                    <a:cubicBezTo>
                      <a:pt x="677" y="451"/>
                      <a:pt x="676" y="448"/>
                      <a:pt x="676" y="447"/>
                    </a:cubicBezTo>
                    <a:cubicBezTo>
                      <a:pt x="677" y="447"/>
                      <a:pt x="678" y="447"/>
                      <a:pt x="680" y="447"/>
                    </a:cubicBezTo>
                    <a:cubicBezTo>
                      <a:pt x="682" y="447"/>
                      <a:pt x="701" y="462"/>
                      <a:pt x="702" y="463"/>
                    </a:cubicBezTo>
                    <a:cubicBezTo>
                      <a:pt x="704" y="469"/>
                      <a:pt x="702" y="473"/>
                      <a:pt x="705" y="477"/>
                    </a:cubicBezTo>
                    <a:cubicBezTo>
                      <a:pt x="715" y="487"/>
                      <a:pt x="729" y="485"/>
                      <a:pt x="740" y="492"/>
                    </a:cubicBezTo>
                    <a:cubicBezTo>
                      <a:pt x="752" y="492"/>
                      <a:pt x="752" y="492"/>
                      <a:pt x="752" y="492"/>
                    </a:cubicBezTo>
                    <a:cubicBezTo>
                      <a:pt x="757" y="495"/>
                      <a:pt x="763" y="500"/>
                      <a:pt x="763" y="506"/>
                    </a:cubicBezTo>
                    <a:cubicBezTo>
                      <a:pt x="763" y="509"/>
                      <a:pt x="762" y="512"/>
                      <a:pt x="759" y="512"/>
                    </a:cubicBezTo>
                    <a:cubicBezTo>
                      <a:pt x="754" y="512"/>
                      <a:pt x="748" y="506"/>
                      <a:pt x="747" y="504"/>
                    </a:cubicBezTo>
                    <a:cubicBezTo>
                      <a:pt x="745" y="511"/>
                      <a:pt x="741" y="532"/>
                      <a:pt x="735" y="532"/>
                    </a:cubicBezTo>
                    <a:cubicBezTo>
                      <a:pt x="730" y="538"/>
                      <a:pt x="725" y="541"/>
                      <a:pt x="725" y="547"/>
                    </a:cubicBezTo>
                    <a:cubicBezTo>
                      <a:pt x="726" y="549"/>
                      <a:pt x="729" y="553"/>
                      <a:pt x="732" y="553"/>
                    </a:cubicBezTo>
                    <a:cubicBezTo>
                      <a:pt x="736" y="553"/>
                      <a:pt x="736" y="550"/>
                      <a:pt x="738" y="548"/>
                    </a:cubicBezTo>
                    <a:cubicBezTo>
                      <a:pt x="742" y="544"/>
                      <a:pt x="748" y="545"/>
                      <a:pt x="755" y="545"/>
                    </a:cubicBezTo>
                    <a:cubicBezTo>
                      <a:pt x="760" y="545"/>
                      <a:pt x="763" y="548"/>
                      <a:pt x="765" y="546"/>
                    </a:cubicBezTo>
                    <a:cubicBezTo>
                      <a:pt x="768" y="545"/>
                      <a:pt x="770" y="544"/>
                      <a:pt x="772" y="543"/>
                    </a:cubicBezTo>
                    <a:cubicBezTo>
                      <a:pt x="772" y="540"/>
                      <a:pt x="771" y="538"/>
                      <a:pt x="770" y="536"/>
                    </a:cubicBezTo>
                    <a:cubicBezTo>
                      <a:pt x="769" y="534"/>
                      <a:pt x="767" y="533"/>
                      <a:pt x="767" y="531"/>
                    </a:cubicBezTo>
                    <a:cubicBezTo>
                      <a:pt x="767" y="529"/>
                      <a:pt x="771" y="528"/>
                      <a:pt x="773" y="528"/>
                    </a:cubicBezTo>
                    <a:cubicBezTo>
                      <a:pt x="782" y="525"/>
                      <a:pt x="803" y="519"/>
                      <a:pt x="814" y="519"/>
                    </a:cubicBezTo>
                    <a:cubicBezTo>
                      <a:pt x="815" y="519"/>
                      <a:pt x="831" y="503"/>
                      <a:pt x="834" y="501"/>
                    </a:cubicBezTo>
                    <a:cubicBezTo>
                      <a:pt x="836" y="499"/>
                      <a:pt x="847" y="500"/>
                      <a:pt x="857" y="500"/>
                    </a:cubicBezTo>
                    <a:cubicBezTo>
                      <a:pt x="861" y="500"/>
                      <a:pt x="864" y="500"/>
                      <a:pt x="868" y="500"/>
                    </a:cubicBezTo>
                    <a:cubicBezTo>
                      <a:pt x="872" y="500"/>
                      <a:pt x="876" y="498"/>
                      <a:pt x="879" y="498"/>
                    </a:cubicBezTo>
                    <a:cubicBezTo>
                      <a:pt x="884" y="497"/>
                      <a:pt x="882" y="496"/>
                      <a:pt x="884" y="494"/>
                    </a:cubicBezTo>
                    <a:cubicBezTo>
                      <a:pt x="892" y="486"/>
                      <a:pt x="892" y="471"/>
                      <a:pt x="903" y="463"/>
                    </a:cubicBezTo>
                    <a:cubicBezTo>
                      <a:pt x="908" y="470"/>
                      <a:pt x="916" y="460"/>
                      <a:pt x="920" y="467"/>
                    </a:cubicBezTo>
                    <a:cubicBezTo>
                      <a:pt x="926" y="478"/>
                      <a:pt x="922" y="494"/>
                      <a:pt x="928" y="505"/>
                    </a:cubicBezTo>
                    <a:lnTo>
                      <a:pt x="928" y="503"/>
                    </a:lnTo>
                    <a:close/>
                  </a:path>
                </a:pathLst>
              </a:custGeom>
              <a:solidFill>
                <a:schemeClr val="accent1"/>
              </a:solidFill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27" name="Полилиния 51">
                <a:extLst>
                  <a:ext uri="{FF2B5EF4-FFF2-40B4-BE49-F238E27FC236}">
                    <a16:creationId xmlns:a16="http://schemas.microsoft.com/office/drawing/2014/main" xmlns="" id="{21874E9F-9531-DA15-E8CC-D2F634BCF7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5913" y="1417638"/>
                <a:ext cx="623888" cy="457200"/>
              </a:xfrm>
              <a:custGeom>
                <a:avLst/>
                <a:gdLst/>
                <a:ahLst/>
                <a:cxnLst>
                  <a:cxn ang="0">
                    <a:pos x="334" y="228"/>
                  </a:cxn>
                  <a:cxn ang="0">
                    <a:pos x="381" y="252"/>
                  </a:cxn>
                  <a:cxn ang="0">
                    <a:pos x="401" y="239"/>
                  </a:cxn>
                  <a:cxn ang="0">
                    <a:pos x="439" y="281"/>
                  </a:cxn>
                  <a:cxn ang="0">
                    <a:pos x="458" y="302"/>
                  </a:cxn>
                  <a:cxn ang="0">
                    <a:pos x="463" y="326"/>
                  </a:cxn>
                  <a:cxn ang="0">
                    <a:pos x="440" y="314"/>
                  </a:cxn>
                  <a:cxn ang="0">
                    <a:pos x="427" y="300"/>
                  </a:cxn>
                  <a:cxn ang="0">
                    <a:pos x="426" y="286"/>
                  </a:cxn>
                  <a:cxn ang="0">
                    <a:pos x="414" y="286"/>
                  </a:cxn>
                  <a:cxn ang="0">
                    <a:pos x="412" y="270"/>
                  </a:cxn>
                  <a:cxn ang="0">
                    <a:pos x="390" y="261"/>
                  </a:cxn>
                  <a:cxn ang="0">
                    <a:pos x="363" y="252"/>
                  </a:cxn>
                  <a:cxn ang="0">
                    <a:pos x="299" y="236"/>
                  </a:cxn>
                  <a:cxn ang="0">
                    <a:pos x="240" y="221"/>
                  </a:cxn>
                  <a:cxn ang="0">
                    <a:pos x="200" y="252"/>
                  </a:cxn>
                  <a:cxn ang="0">
                    <a:pos x="199" y="245"/>
                  </a:cxn>
                  <a:cxn ang="0">
                    <a:pos x="218" y="219"/>
                  </a:cxn>
                  <a:cxn ang="0">
                    <a:pos x="213" y="214"/>
                  </a:cxn>
                  <a:cxn ang="0">
                    <a:pos x="173" y="260"/>
                  </a:cxn>
                  <a:cxn ang="0">
                    <a:pos x="143" y="288"/>
                  </a:cxn>
                  <a:cxn ang="0">
                    <a:pos x="79" y="322"/>
                  </a:cxn>
                  <a:cxn ang="0">
                    <a:pos x="57" y="328"/>
                  </a:cxn>
                  <a:cxn ang="0">
                    <a:pos x="92" y="307"/>
                  </a:cxn>
                  <a:cxn ang="0">
                    <a:pos x="148" y="256"/>
                  </a:cxn>
                  <a:cxn ang="0">
                    <a:pos x="125" y="262"/>
                  </a:cxn>
                  <a:cxn ang="0">
                    <a:pos x="110" y="266"/>
                  </a:cxn>
                  <a:cxn ang="0">
                    <a:pos x="88" y="261"/>
                  </a:cxn>
                  <a:cxn ang="0">
                    <a:pos x="76" y="264"/>
                  </a:cxn>
                  <a:cxn ang="0">
                    <a:pos x="72" y="244"/>
                  </a:cxn>
                  <a:cxn ang="0">
                    <a:pos x="60" y="245"/>
                  </a:cxn>
                  <a:cxn ang="0">
                    <a:pos x="37" y="224"/>
                  </a:cxn>
                  <a:cxn ang="0">
                    <a:pos x="52" y="180"/>
                  </a:cxn>
                  <a:cxn ang="0">
                    <a:pos x="79" y="152"/>
                  </a:cxn>
                  <a:cxn ang="0">
                    <a:pos x="85" y="145"/>
                  </a:cxn>
                  <a:cxn ang="0">
                    <a:pos x="60" y="153"/>
                  </a:cxn>
                  <a:cxn ang="0">
                    <a:pos x="18" y="150"/>
                  </a:cxn>
                  <a:cxn ang="0">
                    <a:pos x="13" y="133"/>
                  </a:cxn>
                  <a:cxn ang="0">
                    <a:pos x="40" y="106"/>
                  </a:cxn>
                  <a:cxn ang="0">
                    <a:pos x="64" y="116"/>
                  </a:cxn>
                  <a:cxn ang="0">
                    <a:pos x="50" y="95"/>
                  </a:cxn>
                  <a:cxn ang="0">
                    <a:pos x="13" y="68"/>
                  </a:cxn>
                  <a:cxn ang="0">
                    <a:pos x="44" y="56"/>
                  </a:cxn>
                  <a:cxn ang="0">
                    <a:pos x="117" y="13"/>
                  </a:cxn>
                  <a:cxn ang="0">
                    <a:pos x="150" y="7"/>
                  </a:cxn>
                  <a:cxn ang="0">
                    <a:pos x="157" y="7"/>
                  </a:cxn>
                  <a:cxn ang="0">
                    <a:pos x="189" y="11"/>
                  </a:cxn>
                  <a:cxn ang="0">
                    <a:pos x="236" y="20"/>
                  </a:cxn>
                  <a:cxn ang="0">
                    <a:pos x="307" y="28"/>
                  </a:cxn>
                  <a:cxn ang="0">
                    <a:pos x="334" y="36"/>
                  </a:cxn>
                </a:cxnLst>
                <a:rect l="0" t="0" r="r" b="b"/>
                <a:pathLst>
                  <a:path w="469" h="343">
                    <a:moveTo>
                      <a:pt x="334" y="37"/>
                    </a:moveTo>
                    <a:cubicBezTo>
                      <a:pt x="334" y="228"/>
                      <a:pt x="334" y="228"/>
                      <a:pt x="334" y="228"/>
                    </a:cubicBezTo>
                    <a:cubicBezTo>
                      <a:pt x="340" y="233"/>
                      <a:pt x="353" y="226"/>
                      <a:pt x="359" y="234"/>
                    </a:cubicBezTo>
                    <a:cubicBezTo>
                      <a:pt x="363" y="240"/>
                      <a:pt x="372" y="252"/>
                      <a:pt x="381" y="252"/>
                    </a:cubicBezTo>
                    <a:cubicBezTo>
                      <a:pt x="387" y="252"/>
                      <a:pt x="387" y="243"/>
                      <a:pt x="393" y="241"/>
                    </a:cubicBezTo>
                    <a:cubicBezTo>
                      <a:pt x="396" y="240"/>
                      <a:pt x="398" y="241"/>
                      <a:pt x="401" y="239"/>
                    </a:cubicBezTo>
                    <a:cubicBezTo>
                      <a:pt x="415" y="252"/>
                      <a:pt x="421" y="257"/>
                      <a:pt x="433" y="274"/>
                    </a:cubicBezTo>
                    <a:cubicBezTo>
                      <a:pt x="434" y="276"/>
                      <a:pt x="437" y="277"/>
                      <a:pt x="439" y="281"/>
                    </a:cubicBezTo>
                    <a:cubicBezTo>
                      <a:pt x="440" y="286"/>
                      <a:pt x="442" y="292"/>
                      <a:pt x="447" y="297"/>
                    </a:cubicBezTo>
                    <a:cubicBezTo>
                      <a:pt x="450" y="300"/>
                      <a:pt x="455" y="299"/>
                      <a:pt x="458" y="302"/>
                    </a:cubicBezTo>
                    <a:cubicBezTo>
                      <a:pt x="462" y="306"/>
                      <a:pt x="469" y="308"/>
                      <a:pt x="469" y="318"/>
                    </a:cubicBezTo>
                    <a:cubicBezTo>
                      <a:pt x="469" y="322"/>
                      <a:pt x="463" y="323"/>
                      <a:pt x="463" y="326"/>
                    </a:cubicBezTo>
                    <a:cubicBezTo>
                      <a:pt x="461" y="326"/>
                      <a:pt x="461" y="327"/>
                      <a:pt x="459" y="327"/>
                    </a:cubicBezTo>
                    <a:cubicBezTo>
                      <a:pt x="451" y="327"/>
                      <a:pt x="440" y="318"/>
                      <a:pt x="440" y="314"/>
                    </a:cubicBezTo>
                    <a:cubicBezTo>
                      <a:pt x="440" y="310"/>
                      <a:pt x="440" y="311"/>
                      <a:pt x="440" y="307"/>
                    </a:cubicBezTo>
                    <a:cubicBezTo>
                      <a:pt x="440" y="300"/>
                      <a:pt x="435" y="300"/>
                      <a:pt x="427" y="300"/>
                    </a:cubicBezTo>
                    <a:cubicBezTo>
                      <a:pt x="421" y="300"/>
                      <a:pt x="419" y="296"/>
                      <a:pt x="419" y="294"/>
                    </a:cubicBezTo>
                    <a:cubicBezTo>
                      <a:pt x="419" y="290"/>
                      <a:pt x="426" y="290"/>
                      <a:pt x="426" y="286"/>
                    </a:cubicBezTo>
                    <a:cubicBezTo>
                      <a:pt x="426" y="283"/>
                      <a:pt x="426" y="281"/>
                      <a:pt x="426" y="281"/>
                    </a:cubicBezTo>
                    <a:cubicBezTo>
                      <a:pt x="417" y="281"/>
                      <a:pt x="420" y="286"/>
                      <a:pt x="414" y="286"/>
                    </a:cubicBezTo>
                    <a:cubicBezTo>
                      <a:pt x="412" y="286"/>
                      <a:pt x="407" y="282"/>
                      <a:pt x="407" y="280"/>
                    </a:cubicBezTo>
                    <a:cubicBezTo>
                      <a:pt x="407" y="274"/>
                      <a:pt x="410" y="273"/>
                      <a:pt x="412" y="270"/>
                    </a:cubicBezTo>
                    <a:cubicBezTo>
                      <a:pt x="409" y="268"/>
                      <a:pt x="405" y="264"/>
                      <a:pt x="404" y="267"/>
                    </a:cubicBezTo>
                    <a:cubicBezTo>
                      <a:pt x="397" y="267"/>
                      <a:pt x="394" y="264"/>
                      <a:pt x="390" y="261"/>
                    </a:cubicBezTo>
                    <a:cubicBezTo>
                      <a:pt x="389" y="264"/>
                      <a:pt x="387" y="269"/>
                      <a:pt x="384" y="269"/>
                    </a:cubicBezTo>
                    <a:cubicBezTo>
                      <a:pt x="375" y="269"/>
                      <a:pt x="368" y="256"/>
                      <a:pt x="363" y="252"/>
                    </a:cubicBezTo>
                    <a:cubicBezTo>
                      <a:pt x="352" y="243"/>
                      <a:pt x="337" y="244"/>
                      <a:pt x="323" y="236"/>
                    </a:cubicBezTo>
                    <a:cubicBezTo>
                      <a:pt x="299" y="236"/>
                      <a:pt x="299" y="236"/>
                      <a:pt x="299" y="236"/>
                    </a:cubicBezTo>
                    <a:cubicBezTo>
                      <a:pt x="285" y="232"/>
                      <a:pt x="265" y="230"/>
                      <a:pt x="258" y="214"/>
                    </a:cubicBezTo>
                    <a:cubicBezTo>
                      <a:pt x="252" y="217"/>
                      <a:pt x="244" y="219"/>
                      <a:pt x="240" y="221"/>
                    </a:cubicBezTo>
                    <a:cubicBezTo>
                      <a:pt x="241" y="224"/>
                      <a:pt x="242" y="225"/>
                      <a:pt x="244" y="227"/>
                    </a:cubicBezTo>
                    <a:cubicBezTo>
                      <a:pt x="238" y="236"/>
                      <a:pt x="210" y="252"/>
                      <a:pt x="200" y="252"/>
                    </a:cubicBezTo>
                    <a:cubicBezTo>
                      <a:pt x="198" y="252"/>
                      <a:pt x="195" y="251"/>
                      <a:pt x="195" y="249"/>
                    </a:cubicBezTo>
                    <a:cubicBezTo>
                      <a:pt x="195" y="246"/>
                      <a:pt x="198" y="246"/>
                      <a:pt x="199" y="245"/>
                    </a:cubicBezTo>
                    <a:cubicBezTo>
                      <a:pt x="197" y="242"/>
                      <a:pt x="199" y="242"/>
                      <a:pt x="199" y="240"/>
                    </a:cubicBezTo>
                    <a:cubicBezTo>
                      <a:pt x="199" y="230"/>
                      <a:pt x="205" y="223"/>
                      <a:pt x="218" y="219"/>
                    </a:cubicBezTo>
                    <a:cubicBezTo>
                      <a:pt x="218" y="217"/>
                      <a:pt x="218" y="216"/>
                      <a:pt x="218" y="214"/>
                    </a:cubicBezTo>
                    <a:cubicBezTo>
                      <a:pt x="214" y="214"/>
                      <a:pt x="215" y="214"/>
                      <a:pt x="213" y="214"/>
                    </a:cubicBezTo>
                    <a:cubicBezTo>
                      <a:pt x="203" y="214"/>
                      <a:pt x="173" y="239"/>
                      <a:pt x="173" y="253"/>
                    </a:cubicBezTo>
                    <a:cubicBezTo>
                      <a:pt x="173" y="255"/>
                      <a:pt x="173" y="258"/>
                      <a:pt x="173" y="260"/>
                    </a:cubicBezTo>
                    <a:cubicBezTo>
                      <a:pt x="173" y="270"/>
                      <a:pt x="164" y="273"/>
                      <a:pt x="154" y="277"/>
                    </a:cubicBezTo>
                    <a:cubicBezTo>
                      <a:pt x="148" y="280"/>
                      <a:pt x="146" y="284"/>
                      <a:pt x="143" y="288"/>
                    </a:cubicBezTo>
                    <a:cubicBezTo>
                      <a:pt x="136" y="297"/>
                      <a:pt x="121" y="301"/>
                      <a:pt x="114" y="308"/>
                    </a:cubicBezTo>
                    <a:cubicBezTo>
                      <a:pt x="107" y="315"/>
                      <a:pt x="91" y="320"/>
                      <a:pt x="79" y="322"/>
                    </a:cubicBezTo>
                    <a:cubicBezTo>
                      <a:pt x="63" y="324"/>
                      <a:pt x="54" y="343"/>
                      <a:pt x="35" y="337"/>
                    </a:cubicBezTo>
                    <a:cubicBezTo>
                      <a:pt x="41" y="329"/>
                      <a:pt x="49" y="333"/>
                      <a:pt x="57" y="328"/>
                    </a:cubicBezTo>
                    <a:cubicBezTo>
                      <a:pt x="62" y="325"/>
                      <a:pt x="66" y="316"/>
                      <a:pt x="71" y="314"/>
                    </a:cubicBezTo>
                    <a:cubicBezTo>
                      <a:pt x="78" y="309"/>
                      <a:pt x="87" y="314"/>
                      <a:pt x="92" y="307"/>
                    </a:cubicBezTo>
                    <a:cubicBezTo>
                      <a:pt x="99" y="297"/>
                      <a:pt x="117" y="290"/>
                      <a:pt x="127" y="283"/>
                    </a:cubicBezTo>
                    <a:cubicBezTo>
                      <a:pt x="137" y="276"/>
                      <a:pt x="137" y="263"/>
                      <a:pt x="148" y="256"/>
                    </a:cubicBezTo>
                    <a:cubicBezTo>
                      <a:pt x="141" y="256"/>
                      <a:pt x="141" y="256"/>
                      <a:pt x="141" y="256"/>
                    </a:cubicBezTo>
                    <a:cubicBezTo>
                      <a:pt x="135" y="259"/>
                      <a:pt x="132" y="262"/>
                      <a:pt x="125" y="262"/>
                    </a:cubicBezTo>
                    <a:cubicBezTo>
                      <a:pt x="120" y="262"/>
                      <a:pt x="117" y="260"/>
                      <a:pt x="113" y="258"/>
                    </a:cubicBezTo>
                    <a:cubicBezTo>
                      <a:pt x="112" y="262"/>
                      <a:pt x="110" y="263"/>
                      <a:pt x="110" y="266"/>
                    </a:cubicBezTo>
                    <a:cubicBezTo>
                      <a:pt x="99" y="262"/>
                      <a:pt x="96" y="260"/>
                      <a:pt x="89" y="254"/>
                    </a:cubicBezTo>
                    <a:cubicBezTo>
                      <a:pt x="88" y="257"/>
                      <a:pt x="88" y="259"/>
                      <a:pt x="88" y="261"/>
                    </a:cubicBezTo>
                    <a:cubicBezTo>
                      <a:pt x="84" y="261"/>
                      <a:pt x="85" y="261"/>
                      <a:pt x="83" y="261"/>
                    </a:cubicBezTo>
                    <a:cubicBezTo>
                      <a:pt x="80" y="261"/>
                      <a:pt x="78" y="264"/>
                      <a:pt x="76" y="264"/>
                    </a:cubicBezTo>
                    <a:cubicBezTo>
                      <a:pt x="74" y="264"/>
                      <a:pt x="72" y="257"/>
                      <a:pt x="72" y="253"/>
                    </a:cubicBezTo>
                    <a:cubicBezTo>
                      <a:pt x="72" y="248"/>
                      <a:pt x="72" y="248"/>
                      <a:pt x="72" y="244"/>
                    </a:cubicBezTo>
                    <a:cubicBezTo>
                      <a:pt x="72" y="243"/>
                      <a:pt x="72" y="238"/>
                      <a:pt x="68" y="238"/>
                    </a:cubicBezTo>
                    <a:cubicBezTo>
                      <a:pt x="65" y="238"/>
                      <a:pt x="61" y="245"/>
                      <a:pt x="60" y="245"/>
                    </a:cubicBezTo>
                    <a:cubicBezTo>
                      <a:pt x="54" y="245"/>
                      <a:pt x="33" y="229"/>
                      <a:pt x="30" y="225"/>
                    </a:cubicBezTo>
                    <a:cubicBezTo>
                      <a:pt x="32" y="225"/>
                      <a:pt x="35" y="224"/>
                      <a:pt x="37" y="224"/>
                    </a:cubicBezTo>
                    <a:cubicBezTo>
                      <a:pt x="33" y="214"/>
                      <a:pt x="19" y="212"/>
                      <a:pt x="19" y="205"/>
                    </a:cubicBezTo>
                    <a:cubicBezTo>
                      <a:pt x="19" y="191"/>
                      <a:pt x="43" y="180"/>
                      <a:pt x="52" y="180"/>
                    </a:cubicBezTo>
                    <a:cubicBezTo>
                      <a:pt x="56" y="180"/>
                      <a:pt x="86" y="169"/>
                      <a:pt x="86" y="163"/>
                    </a:cubicBezTo>
                    <a:cubicBezTo>
                      <a:pt x="86" y="160"/>
                      <a:pt x="79" y="153"/>
                      <a:pt x="79" y="152"/>
                    </a:cubicBezTo>
                    <a:cubicBezTo>
                      <a:pt x="83" y="150"/>
                      <a:pt x="82" y="150"/>
                      <a:pt x="85" y="152"/>
                    </a:cubicBezTo>
                    <a:cubicBezTo>
                      <a:pt x="85" y="145"/>
                      <a:pt x="85" y="145"/>
                      <a:pt x="85" y="145"/>
                    </a:cubicBezTo>
                    <a:cubicBezTo>
                      <a:pt x="81" y="145"/>
                      <a:pt x="81" y="145"/>
                      <a:pt x="79" y="145"/>
                    </a:cubicBezTo>
                    <a:cubicBezTo>
                      <a:pt x="72" y="145"/>
                      <a:pt x="69" y="153"/>
                      <a:pt x="60" y="153"/>
                    </a:cubicBezTo>
                    <a:cubicBezTo>
                      <a:pt x="51" y="153"/>
                      <a:pt x="48" y="148"/>
                      <a:pt x="41" y="150"/>
                    </a:cubicBezTo>
                    <a:cubicBezTo>
                      <a:pt x="32" y="150"/>
                      <a:pt x="21" y="150"/>
                      <a:pt x="18" y="150"/>
                    </a:cubicBezTo>
                    <a:cubicBezTo>
                      <a:pt x="17" y="143"/>
                      <a:pt x="12" y="141"/>
                      <a:pt x="12" y="137"/>
                    </a:cubicBezTo>
                    <a:cubicBezTo>
                      <a:pt x="12" y="136"/>
                      <a:pt x="13" y="134"/>
                      <a:pt x="13" y="133"/>
                    </a:cubicBezTo>
                    <a:cubicBezTo>
                      <a:pt x="6" y="133"/>
                      <a:pt x="2" y="130"/>
                      <a:pt x="0" y="126"/>
                    </a:cubicBezTo>
                    <a:cubicBezTo>
                      <a:pt x="11" y="119"/>
                      <a:pt x="29" y="113"/>
                      <a:pt x="40" y="106"/>
                    </a:cubicBezTo>
                    <a:cubicBezTo>
                      <a:pt x="48" y="106"/>
                      <a:pt x="48" y="106"/>
                      <a:pt x="48" y="106"/>
                    </a:cubicBezTo>
                    <a:cubicBezTo>
                      <a:pt x="48" y="120"/>
                      <a:pt x="55" y="116"/>
                      <a:pt x="64" y="116"/>
                    </a:cubicBezTo>
                    <a:cubicBezTo>
                      <a:pt x="70" y="116"/>
                      <a:pt x="71" y="118"/>
                      <a:pt x="76" y="116"/>
                    </a:cubicBezTo>
                    <a:cubicBezTo>
                      <a:pt x="72" y="102"/>
                      <a:pt x="63" y="101"/>
                      <a:pt x="50" y="95"/>
                    </a:cubicBezTo>
                    <a:cubicBezTo>
                      <a:pt x="46" y="94"/>
                      <a:pt x="41" y="80"/>
                      <a:pt x="37" y="78"/>
                    </a:cubicBezTo>
                    <a:cubicBezTo>
                      <a:pt x="31" y="75"/>
                      <a:pt x="13" y="71"/>
                      <a:pt x="13" y="68"/>
                    </a:cubicBezTo>
                    <a:cubicBezTo>
                      <a:pt x="13" y="68"/>
                      <a:pt x="20" y="57"/>
                      <a:pt x="20" y="56"/>
                    </a:cubicBezTo>
                    <a:cubicBezTo>
                      <a:pt x="44" y="56"/>
                      <a:pt x="44" y="56"/>
                      <a:pt x="44" y="56"/>
                    </a:cubicBezTo>
                    <a:cubicBezTo>
                      <a:pt x="57" y="38"/>
                      <a:pt x="77" y="21"/>
                      <a:pt x="101" y="14"/>
                    </a:cubicBezTo>
                    <a:cubicBezTo>
                      <a:pt x="107" y="12"/>
                      <a:pt x="111" y="15"/>
                      <a:pt x="117" y="13"/>
                    </a:cubicBezTo>
                    <a:cubicBezTo>
                      <a:pt x="124" y="10"/>
                      <a:pt x="128" y="0"/>
                      <a:pt x="136" y="0"/>
                    </a:cubicBezTo>
                    <a:cubicBezTo>
                      <a:pt x="142" y="0"/>
                      <a:pt x="144" y="5"/>
                      <a:pt x="150" y="7"/>
                    </a:cubicBezTo>
                    <a:cubicBezTo>
                      <a:pt x="147" y="10"/>
                      <a:pt x="147" y="11"/>
                      <a:pt x="146" y="13"/>
                    </a:cubicBezTo>
                    <a:cubicBezTo>
                      <a:pt x="150" y="14"/>
                      <a:pt x="154" y="11"/>
                      <a:pt x="157" y="7"/>
                    </a:cubicBezTo>
                    <a:cubicBezTo>
                      <a:pt x="162" y="9"/>
                      <a:pt x="163" y="10"/>
                      <a:pt x="167" y="11"/>
                    </a:cubicBezTo>
                    <a:cubicBezTo>
                      <a:pt x="189" y="11"/>
                      <a:pt x="189" y="11"/>
                      <a:pt x="189" y="11"/>
                    </a:cubicBezTo>
                    <a:cubicBezTo>
                      <a:pt x="194" y="15"/>
                      <a:pt x="196" y="17"/>
                      <a:pt x="202" y="20"/>
                    </a:cubicBezTo>
                    <a:cubicBezTo>
                      <a:pt x="236" y="20"/>
                      <a:pt x="236" y="20"/>
                      <a:pt x="236" y="20"/>
                    </a:cubicBezTo>
                    <a:cubicBezTo>
                      <a:pt x="245" y="29"/>
                      <a:pt x="272" y="31"/>
                      <a:pt x="286" y="31"/>
                    </a:cubicBezTo>
                    <a:cubicBezTo>
                      <a:pt x="294" y="31"/>
                      <a:pt x="299" y="28"/>
                      <a:pt x="307" y="28"/>
                    </a:cubicBezTo>
                    <a:cubicBezTo>
                      <a:pt x="319" y="28"/>
                      <a:pt x="323" y="34"/>
                      <a:pt x="334" y="37"/>
                    </a:cubicBezTo>
                    <a:cubicBezTo>
                      <a:pt x="334" y="36"/>
                      <a:pt x="334" y="36"/>
                      <a:pt x="334" y="36"/>
                    </a:cubicBezTo>
                    <a:lnTo>
                      <a:pt x="334" y="37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28" name="Полилиния 52">
                <a:extLst>
                  <a:ext uri="{FF2B5EF4-FFF2-40B4-BE49-F238E27FC236}">
                    <a16:creationId xmlns:a16="http://schemas.microsoft.com/office/drawing/2014/main" xmlns="" id="{FCA5E3A6-D376-9CF0-85F0-BCAFC8BB8B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9475" y="1820863"/>
                <a:ext cx="28575" cy="38100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0" y="11"/>
                  </a:cxn>
                  <a:cxn ang="0">
                    <a:pos x="11" y="2"/>
                  </a:cxn>
                  <a:cxn ang="0">
                    <a:pos x="22" y="25"/>
                  </a:cxn>
                  <a:cxn ang="0">
                    <a:pos x="18" y="29"/>
                  </a:cxn>
                  <a:cxn ang="0">
                    <a:pos x="9" y="20"/>
                  </a:cxn>
                  <a:cxn ang="0">
                    <a:pos x="9" y="11"/>
                  </a:cxn>
                </a:cxnLst>
                <a:rect l="0" t="0" r="r" b="b"/>
                <a:pathLst>
                  <a:path w="22" h="29">
                    <a:moveTo>
                      <a:pt x="9" y="11"/>
                    </a:moveTo>
                    <a:cubicBezTo>
                      <a:pt x="2" y="9"/>
                      <a:pt x="5" y="7"/>
                      <a:pt x="0" y="11"/>
                    </a:cubicBezTo>
                    <a:cubicBezTo>
                      <a:pt x="0" y="0"/>
                      <a:pt x="2" y="0"/>
                      <a:pt x="11" y="2"/>
                    </a:cubicBezTo>
                    <a:cubicBezTo>
                      <a:pt x="10" y="14"/>
                      <a:pt x="22" y="15"/>
                      <a:pt x="22" y="25"/>
                    </a:cubicBezTo>
                    <a:cubicBezTo>
                      <a:pt x="22" y="28"/>
                      <a:pt x="20" y="29"/>
                      <a:pt x="18" y="29"/>
                    </a:cubicBezTo>
                    <a:cubicBezTo>
                      <a:pt x="14" y="29"/>
                      <a:pt x="9" y="20"/>
                      <a:pt x="9" y="20"/>
                    </a:cubicBezTo>
                    <a:cubicBezTo>
                      <a:pt x="9" y="16"/>
                      <a:pt x="8" y="13"/>
                      <a:pt x="9" y="11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29" name="Полилиния 53">
                <a:extLst>
                  <a:ext uri="{FF2B5EF4-FFF2-40B4-BE49-F238E27FC236}">
                    <a16:creationId xmlns:a16="http://schemas.microsoft.com/office/drawing/2014/main" xmlns="" id="{1F0365F9-B8A8-90E9-38D7-59D77F2FD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5025" y="1776413"/>
                <a:ext cx="30163" cy="46038"/>
              </a:xfrm>
              <a:custGeom>
                <a:avLst/>
                <a:gdLst/>
                <a:ahLst/>
                <a:cxnLst>
                  <a:cxn ang="0">
                    <a:pos x="15" y="18"/>
                  </a:cxn>
                  <a:cxn ang="0">
                    <a:pos x="19" y="18"/>
                  </a:cxn>
                  <a:cxn ang="0">
                    <a:pos x="19" y="35"/>
                  </a:cxn>
                  <a:cxn ang="0">
                    <a:pos x="11" y="17"/>
                  </a:cxn>
                  <a:cxn ang="0">
                    <a:pos x="0" y="4"/>
                  </a:cxn>
                  <a:cxn ang="0">
                    <a:pos x="5" y="0"/>
                  </a:cxn>
                  <a:cxn ang="0">
                    <a:pos x="15" y="0"/>
                  </a:cxn>
                  <a:cxn ang="0">
                    <a:pos x="15" y="18"/>
                  </a:cxn>
                </a:cxnLst>
                <a:rect l="0" t="0" r="r" b="b"/>
                <a:pathLst>
                  <a:path w="23" h="35">
                    <a:moveTo>
                      <a:pt x="15" y="18"/>
                    </a:moveTo>
                    <a:cubicBezTo>
                      <a:pt x="15" y="19"/>
                      <a:pt x="19" y="19"/>
                      <a:pt x="19" y="18"/>
                    </a:cubicBezTo>
                    <a:cubicBezTo>
                      <a:pt x="19" y="24"/>
                      <a:pt x="23" y="30"/>
                      <a:pt x="19" y="35"/>
                    </a:cubicBezTo>
                    <a:cubicBezTo>
                      <a:pt x="13" y="30"/>
                      <a:pt x="11" y="24"/>
                      <a:pt x="11" y="17"/>
                    </a:cubicBezTo>
                    <a:cubicBezTo>
                      <a:pt x="5" y="16"/>
                      <a:pt x="0" y="11"/>
                      <a:pt x="0" y="4"/>
                    </a:cubicBezTo>
                    <a:cubicBezTo>
                      <a:pt x="0" y="1"/>
                      <a:pt x="3" y="0"/>
                      <a:pt x="5" y="0"/>
                    </a:cubicBezTo>
                    <a:cubicBezTo>
                      <a:pt x="13" y="0"/>
                      <a:pt x="9" y="3"/>
                      <a:pt x="15" y="0"/>
                    </a:cubicBezTo>
                    <a:cubicBezTo>
                      <a:pt x="15" y="11"/>
                      <a:pt x="13" y="11"/>
                      <a:pt x="15" y="18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30" name="Полилиния 54">
                <a:extLst>
                  <a:ext uri="{FF2B5EF4-FFF2-40B4-BE49-F238E27FC236}">
                    <a16:creationId xmlns:a16="http://schemas.microsoft.com/office/drawing/2014/main" xmlns="" id="{A885EE65-DD97-5194-CE33-DC2CFAD0D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88" y="1335088"/>
                <a:ext cx="307975" cy="161925"/>
              </a:xfrm>
              <a:custGeom>
                <a:avLst/>
                <a:gdLst/>
                <a:ahLst/>
                <a:cxnLst>
                  <a:cxn ang="0">
                    <a:pos x="214" y="96"/>
                  </a:cxn>
                  <a:cxn ang="0">
                    <a:pos x="209" y="100"/>
                  </a:cxn>
                  <a:cxn ang="0">
                    <a:pos x="215" y="103"/>
                  </a:cxn>
                  <a:cxn ang="0">
                    <a:pos x="220" y="110"/>
                  </a:cxn>
                  <a:cxn ang="0">
                    <a:pos x="195" y="118"/>
                  </a:cxn>
                  <a:cxn ang="0">
                    <a:pos x="158" y="104"/>
                  </a:cxn>
                  <a:cxn ang="0">
                    <a:pos x="147" y="112"/>
                  </a:cxn>
                  <a:cxn ang="0">
                    <a:pos x="115" y="121"/>
                  </a:cxn>
                  <a:cxn ang="0">
                    <a:pos x="75" y="121"/>
                  </a:cxn>
                  <a:cxn ang="0">
                    <a:pos x="68" y="110"/>
                  </a:cxn>
                  <a:cxn ang="0">
                    <a:pos x="43" y="108"/>
                  </a:cxn>
                  <a:cxn ang="0">
                    <a:pos x="23" y="92"/>
                  </a:cxn>
                  <a:cxn ang="0">
                    <a:pos x="65" y="82"/>
                  </a:cxn>
                  <a:cxn ang="0">
                    <a:pos x="80" y="81"/>
                  </a:cxn>
                  <a:cxn ang="0">
                    <a:pos x="69" y="77"/>
                  </a:cxn>
                  <a:cxn ang="0">
                    <a:pos x="45" y="77"/>
                  </a:cxn>
                  <a:cxn ang="0">
                    <a:pos x="12" y="69"/>
                  </a:cxn>
                  <a:cxn ang="0">
                    <a:pos x="29" y="60"/>
                  </a:cxn>
                  <a:cxn ang="0">
                    <a:pos x="14" y="59"/>
                  </a:cxn>
                  <a:cxn ang="0">
                    <a:pos x="0" y="51"/>
                  </a:cxn>
                  <a:cxn ang="0">
                    <a:pos x="56" y="13"/>
                  </a:cxn>
                  <a:cxn ang="0">
                    <a:pos x="64" y="29"/>
                  </a:cxn>
                  <a:cxn ang="0">
                    <a:pos x="78" y="21"/>
                  </a:cxn>
                  <a:cxn ang="0">
                    <a:pos x="98" y="34"/>
                  </a:cxn>
                  <a:cxn ang="0">
                    <a:pos x="111" y="31"/>
                  </a:cxn>
                  <a:cxn ang="0">
                    <a:pos x="109" y="23"/>
                  </a:cxn>
                  <a:cxn ang="0">
                    <a:pos x="118" y="23"/>
                  </a:cxn>
                  <a:cxn ang="0">
                    <a:pos x="133" y="35"/>
                  </a:cxn>
                  <a:cxn ang="0">
                    <a:pos x="140" y="51"/>
                  </a:cxn>
                  <a:cxn ang="0">
                    <a:pos x="146" y="48"/>
                  </a:cxn>
                  <a:cxn ang="0">
                    <a:pos x="136" y="17"/>
                  </a:cxn>
                  <a:cxn ang="0">
                    <a:pos x="144" y="12"/>
                  </a:cxn>
                  <a:cxn ang="0">
                    <a:pos x="156" y="12"/>
                  </a:cxn>
                  <a:cxn ang="0">
                    <a:pos x="156" y="7"/>
                  </a:cxn>
                  <a:cxn ang="0">
                    <a:pos x="169" y="0"/>
                  </a:cxn>
                  <a:cxn ang="0">
                    <a:pos x="184" y="10"/>
                  </a:cxn>
                  <a:cxn ang="0">
                    <a:pos x="175" y="24"/>
                  </a:cxn>
                  <a:cxn ang="0">
                    <a:pos x="187" y="62"/>
                  </a:cxn>
                  <a:cxn ang="0">
                    <a:pos x="232" y="92"/>
                  </a:cxn>
                  <a:cxn ang="0">
                    <a:pos x="214" y="96"/>
                  </a:cxn>
                </a:cxnLst>
                <a:rect l="0" t="0" r="r" b="b"/>
                <a:pathLst>
                  <a:path w="232" h="121">
                    <a:moveTo>
                      <a:pt x="214" y="96"/>
                    </a:moveTo>
                    <a:cubicBezTo>
                      <a:pt x="211" y="96"/>
                      <a:pt x="209" y="97"/>
                      <a:pt x="209" y="100"/>
                    </a:cubicBezTo>
                    <a:cubicBezTo>
                      <a:pt x="209" y="103"/>
                      <a:pt x="214" y="103"/>
                      <a:pt x="215" y="103"/>
                    </a:cubicBezTo>
                    <a:cubicBezTo>
                      <a:pt x="216" y="107"/>
                      <a:pt x="218" y="108"/>
                      <a:pt x="220" y="110"/>
                    </a:cubicBezTo>
                    <a:cubicBezTo>
                      <a:pt x="216" y="118"/>
                      <a:pt x="206" y="118"/>
                      <a:pt x="195" y="118"/>
                    </a:cubicBezTo>
                    <a:cubicBezTo>
                      <a:pt x="177" y="118"/>
                      <a:pt x="171" y="104"/>
                      <a:pt x="158" y="104"/>
                    </a:cubicBezTo>
                    <a:cubicBezTo>
                      <a:pt x="150" y="104"/>
                      <a:pt x="154" y="109"/>
                      <a:pt x="147" y="112"/>
                    </a:cubicBezTo>
                    <a:cubicBezTo>
                      <a:pt x="135" y="118"/>
                      <a:pt x="124" y="115"/>
                      <a:pt x="115" y="121"/>
                    </a:cubicBezTo>
                    <a:cubicBezTo>
                      <a:pt x="95" y="121"/>
                      <a:pt x="87" y="121"/>
                      <a:pt x="75" y="121"/>
                    </a:cubicBezTo>
                    <a:cubicBezTo>
                      <a:pt x="68" y="121"/>
                      <a:pt x="73" y="114"/>
                      <a:pt x="68" y="110"/>
                    </a:cubicBezTo>
                    <a:cubicBezTo>
                      <a:pt x="63" y="107"/>
                      <a:pt x="49" y="108"/>
                      <a:pt x="43" y="108"/>
                    </a:cubicBezTo>
                    <a:cubicBezTo>
                      <a:pt x="34" y="108"/>
                      <a:pt x="26" y="98"/>
                      <a:pt x="23" y="92"/>
                    </a:cubicBezTo>
                    <a:cubicBezTo>
                      <a:pt x="33" y="85"/>
                      <a:pt x="47" y="82"/>
                      <a:pt x="65" y="82"/>
                    </a:cubicBezTo>
                    <a:cubicBezTo>
                      <a:pt x="72" y="82"/>
                      <a:pt x="75" y="82"/>
                      <a:pt x="80" y="81"/>
                    </a:cubicBezTo>
                    <a:cubicBezTo>
                      <a:pt x="77" y="80"/>
                      <a:pt x="73" y="77"/>
                      <a:pt x="69" y="77"/>
                    </a:cubicBezTo>
                    <a:cubicBezTo>
                      <a:pt x="60" y="77"/>
                      <a:pt x="50" y="77"/>
                      <a:pt x="45" y="77"/>
                    </a:cubicBezTo>
                    <a:cubicBezTo>
                      <a:pt x="36" y="77"/>
                      <a:pt x="12" y="81"/>
                      <a:pt x="12" y="69"/>
                    </a:cubicBezTo>
                    <a:cubicBezTo>
                      <a:pt x="12" y="59"/>
                      <a:pt x="24" y="63"/>
                      <a:pt x="29" y="60"/>
                    </a:cubicBezTo>
                    <a:cubicBezTo>
                      <a:pt x="22" y="58"/>
                      <a:pt x="19" y="59"/>
                      <a:pt x="14" y="59"/>
                    </a:cubicBezTo>
                    <a:cubicBezTo>
                      <a:pt x="9" y="59"/>
                      <a:pt x="0" y="53"/>
                      <a:pt x="0" y="51"/>
                    </a:cubicBezTo>
                    <a:cubicBezTo>
                      <a:pt x="0" y="29"/>
                      <a:pt x="41" y="13"/>
                      <a:pt x="56" y="13"/>
                    </a:cubicBezTo>
                    <a:cubicBezTo>
                      <a:pt x="63" y="13"/>
                      <a:pt x="62" y="26"/>
                      <a:pt x="64" y="29"/>
                    </a:cubicBezTo>
                    <a:cubicBezTo>
                      <a:pt x="68" y="26"/>
                      <a:pt x="71" y="21"/>
                      <a:pt x="78" y="21"/>
                    </a:cubicBezTo>
                    <a:cubicBezTo>
                      <a:pt x="90" y="21"/>
                      <a:pt x="94" y="26"/>
                      <a:pt x="98" y="34"/>
                    </a:cubicBezTo>
                    <a:cubicBezTo>
                      <a:pt x="102" y="33"/>
                      <a:pt x="106" y="32"/>
                      <a:pt x="111" y="31"/>
                    </a:cubicBezTo>
                    <a:cubicBezTo>
                      <a:pt x="110" y="27"/>
                      <a:pt x="109" y="25"/>
                      <a:pt x="109" y="23"/>
                    </a:cubicBezTo>
                    <a:cubicBezTo>
                      <a:pt x="118" y="23"/>
                      <a:pt x="118" y="23"/>
                      <a:pt x="118" y="23"/>
                    </a:cubicBezTo>
                    <a:cubicBezTo>
                      <a:pt x="124" y="25"/>
                      <a:pt x="131" y="30"/>
                      <a:pt x="133" y="35"/>
                    </a:cubicBezTo>
                    <a:cubicBezTo>
                      <a:pt x="135" y="40"/>
                      <a:pt x="132" y="51"/>
                      <a:pt x="140" y="51"/>
                    </a:cubicBezTo>
                    <a:cubicBezTo>
                      <a:pt x="144" y="51"/>
                      <a:pt x="144" y="50"/>
                      <a:pt x="146" y="48"/>
                    </a:cubicBezTo>
                    <a:cubicBezTo>
                      <a:pt x="142" y="42"/>
                      <a:pt x="136" y="21"/>
                      <a:pt x="136" y="17"/>
                    </a:cubicBezTo>
                    <a:cubicBezTo>
                      <a:pt x="136" y="14"/>
                      <a:pt x="140" y="12"/>
                      <a:pt x="144" y="12"/>
                    </a:cubicBezTo>
                    <a:cubicBezTo>
                      <a:pt x="152" y="12"/>
                      <a:pt x="149" y="15"/>
                      <a:pt x="156" y="12"/>
                    </a:cubicBezTo>
                    <a:cubicBezTo>
                      <a:pt x="156" y="10"/>
                      <a:pt x="156" y="9"/>
                      <a:pt x="156" y="7"/>
                    </a:cubicBezTo>
                    <a:cubicBezTo>
                      <a:pt x="156" y="3"/>
                      <a:pt x="162" y="0"/>
                      <a:pt x="169" y="0"/>
                    </a:cubicBezTo>
                    <a:cubicBezTo>
                      <a:pt x="177" y="0"/>
                      <a:pt x="184" y="3"/>
                      <a:pt x="184" y="10"/>
                    </a:cubicBezTo>
                    <a:cubicBezTo>
                      <a:pt x="184" y="16"/>
                      <a:pt x="175" y="20"/>
                      <a:pt x="175" y="24"/>
                    </a:cubicBezTo>
                    <a:cubicBezTo>
                      <a:pt x="175" y="40"/>
                      <a:pt x="187" y="50"/>
                      <a:pt x="187" y="62"/>
                    </a:cubicBezTo>
                    <a:cubicBezTo>
                      <a:pt x="187" y="76"/>
                      <a:pt x="224" y="85"/>
                      <a:pt x="232" y="92"/>
                    </a:cubicBezTo>
                    <a:cubicBezTo>
                      <a:pt x="224" y="97"/>
                      <a:pt x="222" y="96"/>
                      <a:pt x="214" y="96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31" name="Полилиния 55">
                <a:extLst>
                  <a:ext uri="{FF2B5EF4-FFF2-40B4-BE49-F238E27FC236}">
                    <a16:creationId xmlns:a16="http://schemas.microsoft.com/office/drawing/2014/main" xmlns="" id="{CEAC3428-8FED-6885-5190-55A2CEE5EE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4888" y="1309688"/>
                <a:ext cx="173038" cy="114300"/>
              </a:xfrm>
              <a:custGeom>
                <a:avLst/>
                <a:gdLst/>
                <a:ahLst/>
                <a:cxnLst>
                  <a:cxn ang="0">
                    <a:pos x="28" y="82"/>
                  </a:cxn>
                  <a:cxn ang="0">
                    <a:pos x="22" y="73"/>
                  </a:cxn>
                  <a:cxn ang="0">
                    <a:pos x="0" y="64"/>
                  </a:cxn>
                  <a:cxn ang="0">
                    <a:pos x="22" y="21"/>
                  </a:cxn>
                  <a:cxn ang="0">
                    <a:pos x="16" y="5"/>
                  </a:cxn>
                  <a:cxn ang="0">
                    <a:pos x="42" y="5"/>
                  </a:cxn>
                  <a:cxn ang="0">
                    <a:pos x="60" y="2"/>
                  </a:cxn>
                  <a:cxn ang="0">
                    <a:pos x="84" y="11"/>
                  </a:cxn>
                  <a:cxn ang="0">
                    <a:pos x="99" y="10"/>
                  </a:cxn>
                  <a:cxn ang="0">
                    <a:pos x="130" y="29"/>
                  </a:cxn>
                  <a:cxn ang="0">
                    <a:pos x="102" y="38"/>
                  </a:cxn>
                  <a:cxn ang="0">
                    <a:pos x="69" y="71"/>
                  </a:cxn>
                  <a:cxn ang="0">
                    <a:pos x="35" y="86"/>
                  </a:cxn>
                  <a:cxn ang="0">
                    <a:pos x="28" y="82"/>
                  </a:cxn>
                </a:cxnLst>
                <a:rect l="0" t="0" r="r" b="b"/>
                <a:pathLst>
                  <a:path w="130" h="86">
                    <a:moveTo>
                      <a:pt x="28" y="82"/>
                    </a:moveTo>
                    <a:cubicBezTo>
                      <a:pt x="26" y="82"/>
                      <a:pt x="23" y="75"/>
                      <a:pt x="22" y="73"/>
                    </a:cubicBezTo>
                    <a:cubicBezTo>
                      <a:pt x="18" y="68"/>
                      <a:pt x="0" y="69"/>
                      <a:pt x="0" y="64"/>
                    </a:cubicBezTo>
                    <a:cubicBezTo>
                      <a:pt x="0" y="49"/>
                      <a:pt x="22" y="37"/>
                      <a:pt x="22" y="21"/>
                    </a:cubicBezTo>
                    <a:cubicBezTo>
                      <a:pt x="22" y="17"/>
                      <a:pt x="16" y="10"/>
                      <a:pt x="16" y="5"/>
                    </a:cubicBezTo>
                    <a:cubicBezTo>
                      <a:pt x="27" y="1"/>
                      <a:pt x="32" y="5"/>
                      <a:pt x="42" y="5"/>
                    </a:cubicBezTo>
                    <a:cubicBezTo>
                      <a:pt x="48" y="5"/>
                      <a:pt x="52" y="0"/>
                      <a:pt x="60" y="2"/>
                    </a:cubicBezTo>
                    <a:cubicBezTo>
                      <a:pt x="70" y="5"/>
                      <a:pt x="74" y="10"/>
                      <a:pt x="84" y="11"/>
                    </a:cubicBezTo>
                    <a:cubicBezTo>
                      <a:pt x="88" y="15"/>
                      <a:pt x="93" y="10"/>
                      <a:pt x="99" y="10"/>
                    </a:cubicBezTo>
                    <a:cubicBezTo>
                      <a:pt x="108" y="10"/>
                      <a:pt x="130" y="19"/>
                      <a:pt x="130" y="29"/>
                    </a:cubicBezTo>
                    <a:cubicBezTo>
                      <a:pt x="130" y="34"/>
                      <a:pt x="106" y="37"/>
                      <a:pt x="102" y="38"/>
                    </a:cubicBezTo>
                    <a:cubicBezTo>
                      <a:pt x="88" y="43"/>
                      <a:pt x="69" y="61"/>
                      <a:pt x="69" y="71"/>
                    </a:cubicBezTo>
                    <a:cubicBezTo>
                      <a:pt x="69" y="75"/>
                      <a:pt x="38" y="86"/>
                      <a:pt x="35" y="86"/>
                    </a:cubicBezTo>
                    <a:cubicBezTo>
                      <a:pt x="32" y="86"/>
                      <a:pt x="30" y="82"/>
                      <a:pt x="28" y="82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32" name="Полилиния 56">
                <a:extLst>
                  <a:ext uri="{FF2B5EF4-FFF2-40B4-BE49-F238E27FC236}">
                    <a16:creationId xmlns:a16="http://schemas.microsoft.com/office/drawing/2014/main" xmlns="" id="{B93D6B94-4F1C-7664-D132-B0CC0F9E64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000" y="1228725"/>
                <a:ext cx="204788" cy="87313"/>
              </a:xfrm>
              <a:custGeom>
                <a:avLst/>
                <a:gdLst/>
                <a:ahLst/>
                <a:cxnLst>
                  <a:cxn ang="0">
                    <a:pos x="53" y="65"/>
                  </a:cxn>
                  <a:cxn ang="0">
                    <a:pos x="41" y="59"/>
                  </a:cxn>
                  <a:cxn ang="0">
                    <a:pos x="53" y="53"/>
                  </a:cxn>
                  <a:cxn ang="0">
                    <a:pos x="46" y="43"/>
                  </a:cxn>
                  <a:cxn ang="0">
                    <a:pos x="41" y="49"/>
                  </a:cxn>
                  <a:cxn ang="0">
                    <a:pos x="22" y="52"/>
                  </a:cxn>
                  <a:cxn ang="0">
                    <a:pos x="7" y="49"/>
                  </a:cxn>
                  <a:cxn ang="0">
                    <a:pos x="0" y="42"/>
                  </a:cxn>
                  <a:cxn ang="0">
                    <a:pos x="0" y="36"/>
                  </a:cxn>
                  <a:cxn ang="0">
                    <a:pos x="11" y="31"/>
                  </a:cxn>
                  <a:cxn ang="0">
                    <a:pos x="31" y="36"/>
                  </a:cxn>
                  <a:cxn ang="0">
                    <a:pos x="11" y="30"/>
                  </a:cxn>
                  <a:cxn ang="0">
                    <a:pos x="11" y="23"/>
                  </a:cxn>
                  <a:cxn ang="0">
                    <a:pos x="19" y="23"/>
                  </a:cxn>
                  <a:cxn ang="0">
                    <a:pos x="38" y="26"/>
                  </a:cxn>
                  <a:cxn ang="0">
                    <a:pos x="16" y="22"/>
                  </a:cxn>
                  <a:cxn ang="0">
                    <a:pos x="25" y="17"/>
                  </a:cxn>
                  <a:cxn ang="0">
                    <a:pos x="36" y="18"/>
                  </a:cxn>
                  <a:cxn ang="0">
                    <a:pos x="23" y="12"/>
                  </a:cxn>
                  <a:cxn ang="0">
                    <a:pos x="38" y="12"/>
                  </a:cxn>
                  <a:cxn ang="0">
                    <a:pos x="45" y="19"/>
                  </a:cxn>
                  <a:cxn ang="0">
                    <a:pos x="55" y="19"/>
                  </a:cxn>
                  <a:cxn ang="0">
                    <a:pos x="97" y="36"/>
                  </a:cxn>
                  <a:cxn ang="0">
                    <a:pos x="107" y="30"/>
                  </a:cxn>
                  <a:cxn ang="0">
                    <a:pos x="98" y="29"/>
                  </a:cxn>
                  <a:cxn ang="0">
                    <a:pos x="102" y="27"/>
                  </a:cxn>
                  <a:cxn ang="0">
                    <a:pos x="102" y="21"/>
                  </a:cxn>
                  <a:cxn ang="0">
                    <a:pos x="91" y="15"/>
                  </a:cxn>
                  <a:cxn ang="0">
                    <a:pos x="107" y="0"/>
                  </a:cxn>
                  <a:cxn ang="0">
                    <a:pos x="116" y="4"/>
                  </a:cxn>
                  <a:cxn ang="0">
                    <a:pos x="116" y="9"/>
                  </a:cxn>
                  <a:cxn ang="0">
                    <a:pos x="132" y="26"/>
                  </a:cxn>
                  <a:cxn ang="0">
                    <a:pos x="144" y="20"/>
                  </a:cxn>
                  <a:cxn ang="0">
                    <a:pos x="154" y="31"/>
                  </a:cxn>
                  <a:cxn ang="0">
                    <a:pos x="140" y="52"/>
                  </a:cxn>
                  <a:cxn ang="0">
                    <a:pos x="111" y="51"/>
                  </a:cxn>
                  <a:cxn ang="0">
                    <a:pos x="82" y="59"/>
                  </a:cxn>
                  <a:cxn ang="0">
                    <a:pos x="53" y="65"/>
                  </a:cxn>
                </a:cxnLst>
                <a:rect l="0" t="0" r="r" b="b"/>
                <a:pathLst>
                  <a:path w="154" h="65">
                    <a:moveTo>
                      <a:pt x="53" y="65"/>
                    </a:moveTo>
                    <a:cubicBezTo>
                      <a:pt x="48" y="65"/>
                      <a:pt x="41" y="61"/>
                      <a:pt x="41" y="59"/>
                    </a:cubicBezTo>
                    <a:cubicBezTo>
                      <a:pt x="41" y="52"/>
                      <a:pt x="47" y="53"/>
                      <a:pt x="53" y="53"/>
                    </a:cubicBezTo>
                    <a:cubicBezTo>
                      <a:pt x="50" y="50"/>
                      <a:pt x="46" y="48"/>
                      <a:pt x="46" y="43"/>
                    </a:cubicBezTo>
                    <a:cubicBezTo>
                      <a:pt x="43" y="44"/>
                      <a:pt x="41" y="46"/>
                      <a:pt x="41" y="49"/>
                    </a:cubicBezTo>
                    <a:cubicBezTo>
                      <a:pt x="33" y="50"/>
                      <a:pt x="27" y="52"/>
                      <a:pt x="22" y="52"/>
                    </a:cubicBezTo>
                    <a:cubicBezTo>
                      <a:pt x="16" y="52"/>
                      <a:pt x="10" y="49"/>
                      <a:pt x="7" y="49"/>
                    </a:cubicBezTo>
                    <a:cubicBezTo>
                      <a:pt x="3" y="49"/>
                      <a:pt x="0" y="46"/>
                      <a:pt x="0" y="42"/>
                    </a:cubicBezTo>
                    <a:cubicBezTo>
                      <a:pt x="0" y="38"/>
                      <a:pt x="2" y="39"/>
                      <a:pt x="0" y="36"/>
                    </a:cubicBezTo>
                    <a:cubicBezTo>
                      <a:pt x="5" y="35"/>
                      <a:pt x="7" y="31"/>
                      <a:pt x="11" y="31"/>
                    </a:cubicBezTo>
                    <a:cubicBezTo>
                      <a:pt x="20" y="31"/>
                      <a:pt x="24" y="35"/>
                      <a:pt x="31" y="36"/>
                    </a:cubicBezTo>
                    <a:cubicBezTo>
                      <a:pt x="24" y="35"/>
                      <a:pt x="17" y="32"/>
                      <a:pt x="11" y="30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5" y="23"/>
                      <a:pt x="19" y="23"/>
                      <a:pt x="19" y="23"/>
                    </a:cubicBezTo>
                    <a:cubicBezTo>
                      <a:pt x="20" y="23"/>
                      <a:pt x="34" y="26"/>
                      <a:pt x="38" y="26"/>
                    </a:cubicBezTo>
                    <a:cubicBezTo>
                      <a:pt x="30" y="25"/>
                      <a:pt x="23" y="26"/>
                      <a:pt x="16" y="22"/>
                    </a:cubicBezTo>
                    <a:cubicBezTo>
                      <a:pt x="18" y="19"/>
                      <a:pt x="22" y="17"/>
                      <a:pt x="25" y="17"/>
                    </a:cubicBezTo>
                    <a:cubicBezTo>
                      <a:pt x="31" y="17"/>
                      <a:pt x="32" y="19"/>
                      <a:pt x="36" y="18"/>
                    </a:cubicBezTo>
                    <a:cubicBezTo>
                      <a:pt x="31" y="19"/>
                      <a:pt x="23" y="18"/>
                      <a:pt x="23" y="12"/>
                    </a:cubicBezTo>
                    <a:cubicBezTo>
                      <a:pt x="31" y="11"/>
                      <a:pt x="34" y="12"/>
                      <a:pt x="38" y="12"/>
                    </a:cubicBezTo>
                    <a:cubicBezTo>
                      <a:pt x="39" y="12"/>
                      <a:pt x="45" y="14"/>
                      <a:pt x="45" y="19"/>
                    </a:cubicBezTo>
                    <a:cubicBezTo>
                      <a:pt x="50" y="19"/>
                      <a:pt x="54" y="19"/>
                      <a:pt x="55" y="19"/>
                    </a:cubicBezTo>
                    <a:cubicBezTo>
                      <a:pt x="68" y="19"/>
                      <a:pt x="78" y="36"/>
                      <a:pt x="97" y="36"/>
                    </a:cubicBezTo>
                    <a:cubicBezTo>
                      <a:pt x="103" y="36"/>
                      <a:pt x="105" y="34"/>
                      <a:pt x="107" y="30"/>
                    </a:cubicBezTo>
                    <a:cubicBezTo>
                      <a:pt x="102" y="30"/>
                      <a:pt x="100" y="30"/>
                      <a:pt x="98" y="29"/>
                    </a:cubicBezTo>
                    <a:cubicBezTo>
                      <a:pt x="98" y="28"/>
                      <a:pt x="101" y="27"/>
                      <a:pt x="102" y="27"/>
                    </a:cubicBezTo>
                    <a:cubicBezTo>
                      <a:pt x="102" y="21"/>
                      <a:pt x="102" y="21"/>
                      <a:pt x="102" y="21"/>
                    </a:cubicBezTo>
                    <a:cubicBezTo>
                      <a:pt x="99" y="21"/>
                      <a:pt x="91" y="19"/>
                      <a:pt x="91" y="15"/>
                    </a:cubicBezTo>
                    <a:cubicBezTo>
                      <a:pt x="91" y="7"/>
                      <a:pt x="103" y="4"/>
                      <a:pt x="107" y="0"/>
                    </a:cubicBezTo>
                    <a:cubicBezTo>
                      <a:pt x="110" y="2"/>
                      <a:pt x="113" y="4"/>
                      <a:pt x="116" y="4"/>
                    </a:cubicBezTo>
                    <a:cubicBezTo>
                      <a:pt x="115" y="7"/>
                      <a:pt x="116" y="8"/>
                      <a:pt x="116" y="9"/>
                    </a:cubicBezTo>
                    <a:cubicBezTo>
                      <a:pt x="116" y="16"/>
                      <a:pt x="124" y="26"/>
                      <a:pt x="132" y="26"/>
                    </a:cubicBezTo>
                    <a:cubicBezTo>
                      <a:pt x="136" y="26"/>
                      <a:pt x="139" y="20"/>
                      <a:pt x="144" y="20"/>
                    </a:cubicBezTo>
                    <a:cubicBezTo>
                      <a:pt x="150" y="20"/>
                      <a:pt x="154" y="26"/>
                      <a:pt x="154" y="31"/>
                    </a:cubicBezTo>
                    <a:cubicBezTo>
                      <a:pt x="154" y="37"/>
                      <a:pt x="144" y="51"/>
                      <a:pt x="140" y="52"/>
                    </a:cubicBezTo>
                    <a:cubicBezTo>
                      <a:pt x="137" y="53"/>
                      <a:pt x="111" y="50"/>
                      <a:pt x="111" y="51"/>
                    </a:cubicBezTo>
                    <a:cubicBezTo>
                      <a:pt x="111" y="52"/>
                      <a:pt x="83" y="58"/>
                      <a:pt x="82" y="59"/>
                    </a:cubicBezTo>
                    <a:cubicBezTo>
                      <a:pt x="73" y="62"/>
                      <a:pt x="64" y="65"/>
                      <a:pt x="53" y="65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33" name="Полилиния 57">
                <a:extLst>
                  <a:ext uri="{FF2B5EF4-FFF2-40B4-BE49-F238E27FC236}">
                    <a16:creationId xmlns:a16="http://schemas.microsoft.com/office/drawing/2014/main" xmlns="" id="{CB87F297-D571-1556-FDEA-4060841CEA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2838" y="1260475"/>
                <a:ext cx="28575" cy="20638"/>
              </a:xfrm>
              <a:custGeom>
                <a:avLst/>
                <a:gdLst/>
                <a:ahLst/>
                <a:cxnLst>
                  <a:cxn ang="0">
                    <a:pos x="8" y="16"/>
                  </a:cxn>
                  <a:cxn ang="0">
                    <a:pos x="0" y="11"/>
                  </a:cxn>
                  <a:cxn ang="0">
                    <a:pos x="21" y="0"/>
                  </a:cxn>
                  <a:cxn ang="0">
                    <a:pos x="8" y="16"/>
                  </a:cxn>
                </a:cxnLst>
                <a:rect l="0" t="0" r="r" b="b"/>
                <a:pathLst>
                  <a:path w="21" h="16">
                    <a:moveTo>
                      <a:pt x="8" y="16"/>
                    </a:moveTo>
                    <a:cubicBezTo>
                      <a:pt x="4" y="16"/>
                      <a:pt x="0" y="14"/>
                      <a:pt x="0" y="11"/>
                    </a:cubicBezTo>
                    <a:cubicBezTo>
                      <a:pt x="0" y="3"/>
                      <a:pt x="16" y="0"/>
                      <a:pt x="21" y="0"/>
                    </a:cubicBezTo>
                    <a:cubicBezTo>
                      <a:pt x="20" y="7"/>
                      <a:pt x="13" y="16"/>
                      <a:pt x="8" y="16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34" name="Полилиния 58">
                <a:extLst>
                  <a:ext uri="{FF2B5EF4-FFF2-40B4-BE49-F238E27FC236}">
                    <a16:creationId xmlns:a16="http://schemas.microsoft.com/office/drawing/2014/main" xmlns="" id="{5EF729D1-D501-6D65-9C70-DA3C2298AB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7450" y="1230313"/>
                <a:ext cx="22225" cy="7938"/>
              </a:xfrm>
              <a:custGeom>
                <a:avLst/>
                <a:gdLst/>
                <a:ahLst/>
                <a:cxnLst>
                  <a:cxn ang="0">
                    <a:pos x="6" y="6"/>
                  </a:cxn>
                  <a:cxn ang="0">
                    <a:pos x="0" y="0"/>
                  </a:cxn>
                  <a:cxn ang="0">
                    <a:pos x="16" y="0"/>
                  </a:cxn>
                  <a:cxn ang="0">
                    <a:pos x="16" y="6"/>
                  </a:cxn>
                  <a:cxn ang="0">
                    <a:pos x="6" y="6"/>
                  </a:cxn>
                </a:cxnLst>
                <a:rect l="0" t="0" r="r" b="b"/>
                <a:pathLst>
                  <a:path w="16" h="6">
                    <a:moveTo>
                      <a:pt x="6" y="6"/>
                    </a:moveTo>
                    <a:cubicBezTo>
                      <a:pt x="4" y="6"/>
                      <a:pt x="0" y="4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6"/>
                      <a:pt x="6" y="6"/>
                      <a:pt x="6" y="6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35" name="Полилиния 59">
                <a:extLst>
                  <a:ext uri="{FF2B5EF4-FFF2-40B4-BE49-F238E27FC236}">
                    <a16:creationId xmlns:a16="http://schemas.microsoft.com/office/drawing/2014/main" xmlns="" id="{F5F63780-206D-CB6A-4FB6-8D89D2162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1203325"/>
                <a:ext cx="117475" cy="65088"/>
              </a:xfrm>
              <a:custGeom>
                <a:avLst/>
                <a:gdLst/>
                <a:ahLst/>
                <a:cxnLst>
                  <a:cxn ang="0">
                    <a:pos x="88" y="8"/>
                  </a:cxn>
                  <a:cxn ang="0">
                    <a:pos x="82" y="15"/>
                  </a:cxn>
                  <a:cxn ang="0">
                    <a:pos x="86" y="24"/>
                  </a:cxn>
                  <a:cxn ang="0">
                    <a:pos x="67" y="38"/>
                  </a:cxn>
                  <a:cxn ang="0">
                    <a:pos x="56" y="26"/>
                  </a:cxn>
                  <a:cxn ang="0">
                    <a:pos x="41" y="39"/>
                  </a:cxn>
                  <a:cxn ang="0">
                    <a:pos x="32" y="49"/>
                  </a:cxn>
                  <a:cxn ang="0">
                    <a:pos x="24" y="42"/>
                  </a:cxn>
                  <a:cxn ang="0">
                    <a:pos x="12" y="42"/>
                  </a:cxn>
                  <a:cxn ang="0">
                    <a:pos x="4" y="46"/>
                  </a:cxn>
                  <a:cxn ang="0">
                    <a:pos x="0" y="39"/>
                  </a:cxn>
                  <a:cxn ang="0">
                    <a:pos x="10" y="31"/>
                  </a:cxn>
                  <a:cxn ang="0">
                    <a:pos x="31" y="23"/>
                  </a:cxn>
                  <a:cxn ang="0">
                    <a:pos x="54" y="6"/>
                  </a:cxn>
                  <a:cxn ang="0">
                    <a:pos x="62" y="7"/>
                  </a:cxn>
                  <a:cxn ang="0">
                    <a:pos x="88" y="8"/>
                  </a:cxn>
                </a:cxnLst>
                <a:rect l="0" t="0" r="r" b="b"/>
                <a:pathLst>
                  <a:path w="88" h="49">
                    <a:moveTo>
                      <a:pt x="88" y="8"/>
                    </a:moveTo>
                    <a:cubicBezTo>
                      <a:pt x="88" y="11"/>
                      <a:pt x="86" y="14"/>
                      <a:pt x="82" y="15"/>
                    </a:cubicBezTo>
                    <a:cubicBezTo>
                      <a:pt x="83" y="19"/>
                      <a:pt x="86" y="20"/>
                      <a:pt x="86" y="24"/>
                    </a:cubicBezTo>
                    <a:cubicBezTo>
                      <a:pt x="67" y="38"/>
                      <a:pt x="67" y="38"/>
                      <a:pt x="67" y="38"/>
                    </a:cubicBezTo>
                    <a:cubicBezTo>
                      <a:pt x="60" y="38"/>
                      <a:pt x="60" y="28"/>
                      <a:pt x="56" y="26"/>
                    </a:cubicBezTo>
                    <a:cubicBezTo>
                      <a:pt x="55" y="33"/>
                      <a:pt x="48" y="40"/>
                      <a:pt x="41" y="39"/>
                    </a:cubicBezTo>
                    <a:cubicBezTo>
                      <a:pt x="40" y="44"/>
                      <a:pt x="37" y="49"/>
                      <a:pt x="32" y="49"/>
                    </a:cubicBezTo>
                    <a:cubicBezTo>
                      <a:pt x="28" y="49"/>
                      <a:pt x="25" y="44"/>
                      <a:pt x="24" y="42"/>
                    </a:cubicBezTo>
                    <a:cubicBezTo>
                      <a:pt x="19" y="45"/>
                      <a:pt x="16" y="42"/>
                      <a:pt x="12" y="42"/>
                    </a:cubicBezTo>
                    <a:cubicBezTo>
                      <a:pt x="9" y="42"/>
                      <a:pt x="8" y="45"/>
                      <a:pt x="4" y="46"/>
                    </a:cubicBezTo>
                    <a:cubicBezTo>
                      <a:pt x="4" y="43"/>
                      <a:pt x="0" y="41"/>
                      <a:pt x="0" y="39"/>
                    </a:cubicBezTo>
                    <a:cubicBezTo>
                      <a:pt x="0" y="38"/>
                      <a:pt x="8" y="32"/>
                      <a:pt x="10" y="31"/>
                    </a:cubicBezTo>
                    <a:cubicBezTo>
                      <a:pt x="17" y="28"/>
                      <a:pt x="23" y="27"/>
                      <a:pt x="31" y="23"/>
                    </a:cubicBezTo>
                    <a:cubicBezTo>
                      <a:pt x="39" y="18"/>
                      <a:pt x="41" y="6"/>
                      <a:pt x="54" y="6"/>
                    </a:cubicBezTo>
                    <a:cubicBezTo>
                      <a:pt x="57" y="6"/>
                      <a:pt x="58" y="7"/>
                      <a:pt x="62" y="7"/>
                    </a:cubicBezTo>
                    <a:cubicBezTo>
                      <a:pt x="62" y="7"/>
                      <a:pt x="88" y="0"/>
                      <a:pt x="88" y="8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36" name="Полилиния 60">
                <a:extLst>
                  <a:ext uri="{FF2B5EF4-FFF2-40B4-BE49-F238E27FC236}">
                    <a16:creationId xmlns:a16="http://schemas.microsoft.com/office/drawing/2014/main" xmlns="" id="{4D5B96F2-8F4A-7A9D-1D6A-1AB4020E76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1263" y="1162050"/>
                <a:ext cx="66675" cy="20638"/>
              </a:xfrm>
              <a:custGeom>
                <a:avLst/>
                <a:gdLst/>
                <a:ahLst/>
                <a:cxnLst>
                  <a:cxn ang="0">
                    <a:pos x="20" y="15"/>
                  </a:cxn>
                  <a:cxn ang="0">
                    <a:pos x="9" y="12"/>
                  </a:cxn>
                  <a:cxn ang="0">
                    <a:pos x="0" y="15"/>
                  </a:cxn>
                  <a:cxn ang="0">
                    <a:pos x="32" y="0"/>
                  </a:cxn>
                  <a:cxn ang="0">
                    <a:pos x="50" y="11"/>
                  </a:cxn>
                  <a:cxn ang="0">
                    <a:pos x="39" y="15"/>
                  </a:cxn>
                  <a:cxn ang="0">
                    <a:pos x="20" y="15"/>
                  </a:cxn>
                </a:cxnLst>
                <a:rect l="0" t="0" r="r" b="b"/>
                <a:pathLst>
                  <a:path w="50" h="15">
                    <a:moveTo>
                      <a:pt x="20" y="15"/>
                    </a:moveTo>
                    <a:cubicBezTo>
                      <a:pt x="14" y="15"/>
                      <a:pt x="13" y="12"/>
                      <a:pt x="9" y="12"/>
                    </a:cubicBezTo>
                    <a:cubicBezTo>
                      <a:pt x="5" y="12"/>
                      <a:pt x="3" y="15"/>
                      <a:pt x="0" y="15"/>
                    </a:cubicBezTo>
                    <a:cubicBezTo>
                      <a:pt x="0" y="9"/>
                      <a:pt x="26" y="0"/>
                      <a:pt x="32" y="0"/>
                    </a:cubicBezTo>
                    <a:cubicBezTo>
                      <a:pt x="41" y="0"/>
                      <a:pt x="49" y="5"/>
                      <a:pt x="50" y="11"/>
                    </a:cubicBezTo>
                    <a:cubicBezTo>
                      <a:pt x="47" y="12"/>
                      <a:pt x="44" y="15"/>
                      <a:pt x="39" y="15"/>
                    </a:cubicBezTo>
                    <a:cubicBezTo>
                      <a:pt x="27" y="15"/>
                      <a:pt x="29" y="15"/>
                      <a:pt x="20" y="15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37" name="Полилиния 61">
                <a:extLst>
                  <a:ext uri="{FF2B5EF4-FFF2-40B4-BE49-F238E27FC236}">
                    <a16:creationId xmlns:a16="http://schemas.microsoft.com/office/drawing/2014/main" xmlns="" id="{30B66B99-2B41-15F6-7646-266BD206DB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2850" y="1185863"/>
                <a:ext cx="58738" cy="30163"/>
              </a:xfrm>
              <a:custGeom>
                <a:avLst/>
                <a:gdLst/>
                <a:ahLst/>
                <a:cxnLst>
                  <a:cxn ang="0">
                    <a:pos x="38" y="10"/>
                  </a:cxn>
                  <a:cxn ang="0">
                    <a:pos x="14" y="23"/>
                  </a:cxn>
                  <a:cxn ang="0">
                    <a:pos x="0" y="11"/>
                  </a:cxn>
                  <a:cxn ang="0">
                    <a:pos x="36" y="0"/>
                  </a:cxn>
                  <a:cxn ang="0">
                    <a:pos x="44" y="5"/>
                  </a:cxn>
                  <a:cxn ang="0">
                    <a:pos x="25" y="10"/>
                  </a:cxn>
                  <a:cxn ang="0">
                    <a:pos x="38" y="10"/>
                  </a:cxn>
                </a:cxnLst>
                <a:rect l="0" t="0" r="r" b="b"/>
                <a:pathLst>
                  <a:path w="44" h="23">
                    <a:moveTo>
                      <a:pt x="38" y="10"/>
                    </a:moveTo>
                    <a:cubicBezTo>
                      <a:pt x="38" y="19"/>
                      <a:pt x="24" y="23"/>
                      <a:pt x="14" y="23"/>
                    </a:cubicBezTo>
                    <a:cubicBezTo>
                      <a:pt x="8" y="23"/>
                      <a:pt x="0" y="15"/>
                      <a:pt x="0" y="11"/>
                    </a:cubicBezTo>
                    <a:cubicBezTo>
                      <a:pt x="0" y="1"/>
                      <a:pt x="27" y="0"/>
                      <a:pt x="36" y="0"/>
                    </a:cubicBezTo>
                    <a:cubicBezTo>
                      <a:pt x="41" y="0"/>
                      <a:pt x="43" y="3"/>
                      <a:pt x="44" y="5"/>
                    </a:cubicBezTo>
                    <a:cubicBezTo>
                      <a:pt x="39" y="9"/>
                      <a:pt x="32" y="10"/>
                      <a:pt x="25" y="10"/>
                    </a:cubicBezTo>
                    <a:lnTo>
                      <a:pt x="38" y="10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38" name="Полилиния 62">
                <a:extLst>
                  <a:ext uri="{FF2B5EF4-FFF2-40B4-BE49-F238E27FC236}">
                    <a16:creationId xmlns:a16="http://schemas.microsoft.com/office/drawing/2014/main" xmlns="" id="{6CE75D2C-6561-C648-B6BF-5B2412026D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275" y="1181100"/>
                <a:ext cx="20638" cy="22225"/>
              </a:xfrm>
              <a:custGeom>
                <a:avLst/>
                <a:gdLst/>
                <a:ahLst/>
                <a:cxnLst>
                  <a:cxn ang="0">
                    <a:pos x="15" y="12"/>
                  </a:cxn>
                  <a:cxn ang="0">
                    <a:pos x="9" y="17"/>
                  </a:cxn>
                  <a:cxn ang="0">
                    <a:pos x="0" y="11"/>
                  </a:cxn>
                  <a:cxn ang="0">
                    <a:pos x="15" y="12"/>
                  </a:cxn>
                </a:cxnLst>
                <a:rect l="0" t="0" r="r" b="b"/>
                <a:pathLst>
                  <a:path w="15" h="17">
                    <a:moveTo>
                      <a:pt x="15" y="12"/>
                    </a:moveTo>
                    <a:cubicBezTo>
                      <a:pt x="13" y="15"/>
                      <a:pt x="12" y="17"/>
                      <a:pt x="9" y="17"/>
                    </a:cubicBezTo>
                    <a:cubicBezTo>
                      <a:pt x="5" y="17"/>
                      <a:pt x="0" y="13"/>
                      <a:pt x="0" y="11"/>
                    </a:cubicBezTo>
                    <a:cubicBezTo>
                      <a:pt x="0" y="0"/>
                      <a:pt x="12" y="11"/>
                      <a:pt x="15" y="12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39" name="Полилиния 63">
                <a:extLst>
                  <a:ext uri="{FF2B5EF4-FFF2-40B4-BE49-F238E27FC236}">
                    <a16:creationId xmlns:a16="http://schemas.microsoft.com/office/drawing/2014/main" xmlns="" id="{804F9767-5384-6D8E-4764-C0E39A2C22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1763" y="1335088"/>
                <a:ext cx="100013" cy="80963"/>
              </a:xfrm>
              <a:custGeom>
                <a:avLst/>
                <a:gdLst/>
                <a:ahLst/>
                <a:cxnLst>
                  <a:cxn ang="0">
                    <a:pos x="66" y="23"/>
                  </a:cxn>
                  <a:cxn ang="0">
                    <a:pos x="65" y="30"/>
                  </a:cxn>
                  <a:cxn ang="0">
                    <a:pos x="75" y="32"/>
                  </a:cxn>
                  <a:cxn ang="0">
                    <a:pos x="57" y="55"/>
                  </a:cxn>
                  <a:cxn ang="0">
                    <a:pos x="49" y="61"/>
                  </a:cxn>
                  <a:cxn ang="0">
                    <a:pos x="39" y="54"/>
                  </a:cxn>
                  <a:cxn ang="0">
                    <a:pos x="0" y="30"/>
                  </a:cxn>
                  <a:cxn ang="0">
                    <a:pos x="0" y="23"/>
                  </a:cxn>
                  <a:cxn ang="0">
                    <a:pos x="20" y="28"/>
                  </a:cxn>
                  <a:cxn ang="0">
                    <a:pos x="27" y="28"/>
                  </a:cxn>
                  <a:cxn ang="0">
                    <a:pos x="27" y="16"/>
                  </a:cxn>
                  <a:cxn ang="0">
                    <a:pos x="12" y="11"/>
                  </a:cxn>
                  <a:cxn ang="0">
                    <a:pos x="16" y="7"/>
                  </a:cxn>
                  <a:cxn ang="0">
                    <a:pos x="42" y="2"/>
                  </a:cxn>
                  <a:cxn ang="0">
                    <a:pos x="60" y="2"/>
                  </a:cxn>
                  <a:cxn ang="0">
                    <a:pos x="64" y="6"/>
                  </a:cxn>
                  <a:cxn ang="0">
                    <a:pos x="50" y="22"/>
                  </a:cxn>
                  <a:cxn ang="0">
                    <a:pos x="66" y="23"/>
                  </a:cxn>
                </a:cxnLst>
                <a:rect l="0" t="0" r="r" b="b"/>
                <a:pathLst>
                  <a:path w="75" h="61">
                    <a:moveTo>
                      <a:pt x="66" y="23"/>
                    </a:moveTo>
                    <a:cubicBezTo>
                      <a:pt x="66" y="29"/>
                      <a:pt x="65" y="25"/>
                      <a:pt x="65" y="30"/>
                    </a:cubicBezTo>
                    <a:cubicBezTo>
                      <a:pt x="67" y="30"/>
                      <a:pt x="72" y="31"/>
                      <a:pt x="75" y="32"/>
                    </a:cubicBezTo>
                    <a:cubicBezTo>
                      <a:pt x="73" y="56"/>
                      <a:pt x="72" y="49"/>
                      <a:pt x="57" y="55"/>
                    </a:cubicBezTo>
                    <a:cubicBezTo>
                      <a:pt x="53" y="56"/>
                      <a:pt x="53" y="61"/>
                      <a:pt x="49" y="61"/>
                    </a:cubicBezTo>
                    <a:cubicBezTo>
                      <a:pt x="42" y="61"/>
                      <a:pt x="42" y="56"/>
                      <a:pt x="39" y="54"/>
                    </a:cubicBezTo>
                    <a:cubicBezTo>
                      <a:pt x="27" y="41"/>
                      <a:pt x="13" y="43"/>
                      <a:pt x="0" y="3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6" y="23"/>
                      <a:pt x="12" y="28"/>
                      <a:pt x="20" y="28"/>
                    </a:cubicBezTo>
                    <a:cubicBezTo>
                      <a:pt x="24" y="28"/>
                      <a:pt x="23" y="28"/>
                      <a:pt x="27" y="28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1" y="15"/>
                      <a:pt x="12" y="16"/>
                      <a:pt x="12" y="11"/>
                    </a:cubicBezTo>
                    <a:cubicBezTo>
                      <a:pt x="12" y="9"/>
                      <a:pt x="15" y="8"/>
                      <a:pt x="16" y="7"/>
                    </a:cubicBezTo>
                    <a:cubicBezTo>
                      <a:pt x="23" y="0"/>
                      <a:pt x="32" y="2"/>
                      <a:pt x="42" y="2"/>
                    </a:cubicBezTo>
                    <a:cubicBezTo>
                      <a:pt x="50" y="2"/>
                      <a:pt x="60" y="2"/>
                      <a:pt x="60" y="2"/>
                    </a:cubicBezTo>
                    <a:cubicBezTo>
                      <a:pt x="61" y="2"/>
                      <a:pt x="64" y="4"/>
                      <a:pt x="64" y="6"/>
                    </a:cubicBezTo>
                    <a:cubicBezTo>
                      <a:pt x="64" y="15"/>
                      <a:pt x="53" y="18"/>
                      <a:pt x="50" y="22"/>
                    </a:cubicBezTo>
                    <a:cubicBezTo>
                      <a:pt x="53" y="22"/>
                      <a:pt x="66" y="18"/>
                      <a:pt x="66" y="23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40" name="Полилиния 64">
                <a:extLst>
                  <a:ext uri="{FF2B5EF4-FFF2-40B4-BE49-F238E27FC236}">
                    <a16:creationId xmlns:a16="http://schemas.microsoft.com/office/drawing/2014/main" xmlns="" id="{45670F19-92F8-9C60-DC6E-267964AE95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6838" y="1236663"/>
                <a:ext cx="111125" cy="603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0" y="2"/>
                  </a:cxn>
                  <a:cxn ang="0">
                    <a:pos x="5" y="2"/>
                  </a:cxn>
                  <a:cxn ang="0">
                    <a:pos x="38" y="20"/>
                  </a:cxn>
                  <a:cxn ang="0">
                    <a:pos x="29" y="13"/>
                  </a:cxn>
                  <a:cxn ang="0">
                    <a:pos x="29" y="8"/>
                  </a:cxn>
                  <a:cxn ang="0">
                    <a:pos x="54" y="17"/>
                  </a:cxn>
                  <a:cxn ang="0">
                    <a:pos x="54" y="8"/>
                  </a:cxn>
                  <a:cxn ang="0">
                    <a:pos x="38" y="1"/>
                  </a:cxn>
                  <a:cxn ang="0">
                    <a:pos x="46" y="1"/>
                  </a:cxn>
                  <a:cxn ang="0">
                    <a:pos x="66" y="5"/>
                  </a:cxn>
                  <a:cxn ang="0">
                    <a:pos x="75" y="2"/>
                  </a:cxn>
                  <a:cxn ang="0">
                    <a:pos x="84" y="13"/>
                  </a:cxn>
                  <a:cxn ang="0">
                    <a:pos x="80" y="41"/>
                  </a:cxn>
                  <a:cxn ang="0">
                    <a:pos x="62" y="43"/>
                  </a:cxn>
                  <a:cxn ang="0">
                    <a:pos x="48" y="41"/>
                  </a:cxn>
                  <a:cxn ang="0">
                    <a:pos x="51" y="36"/>
                  </a:cxn>
                  <a:cxn ang="0">
                    <a:pos x="51" y="32"/>
                  </a:cxn>
                  <a:cxn ang="0">
                    <a:pos x="62" y="25"/>
                  </a:cxn>
                  <a:cxn ang="0">
                    <a:pos x="57" y="24"/>
                  </a:cxn>
                  <a:cxn ang="0">
                    <a:pos x="25" y="28"/>
                  </a:cxn>
                  <a:cxn ang="0">
                    <a:pos x="20" y="23"/>
                  </a:cxn>
                  <a:cxn ang="0">
                    <a:pos x="13" y="23"/>
                  </a:cxn>
                  <a:cxn ang="0">
                    <a:pos x="12" y="19"/>
                  </a:cxn>
                  <a:cxn ang="0">
                    <a:pos x="1" y="14"/>
                  </a:cxn>
                  <a:cxn ang="0">
                    <a:pos x="1" y="6"/>
                  </a:cxn>
                  <a:cxn ang="0">
                    <a:pos x="4" y="11"/>
                  </a:cxn>
                </a:cxnLst>
                <a:rect l="0" t="0" r="r" b="b"/>
                <a:pathLst>
                  <a:path w="84" h="45">
                    <a:moveTo>
                      <a:pt x="4" y="11"/>
                    </a:moveTo>
                    <a:cubicBezTo>
                      <a:pt x="2" y="9"/>
                      <a:pt x="0" y="6"/>
                      <a:pt x="0" y="2"/>
                    </a:cubicBezTo>
                    <a:cubicBezTo>
                      <a:pt x="1" y="2"/>
                      <a:pt x="3" y="2"/>
                      <a:pt x="5" y="2"/>
                    </a:cubicBezTo>
                    <a:cubicBezTo>
                      <a:pt x="18" y="2"/>
                      <a:pt x="24" y="24"/>
                      <a:pt x="38" y="20"/>
                    </a:cubicBezTo>
                    <a:cubicBezTo>
                      <a:pt x="35" y="18"/>
                      <a:pt x="31" y="15"/>
                      <a:pt x="29" y="13"/>
                    </a:cubicBezTo>
                    <a:cubicBezTo>
                      <a:pt x="29" y="8"/>
                      <a:pt x="29" y="8"/>
                      <a:pt x="29" y="8"/>
                    </a:cubicBezTo>
                    <a:cubicBezTo>
                      <a:pt x="39" y="8"/>
                      <a:pt x="43" y="17"/>
                      <a:pt x="54" y="17"/>
                    </a:cubicBezTo>
                    <a:cubicBezTo>
                      <a:pt x="54" y="8"/>
                      <a:pt x="54" y="8"/>
                      <a:pt x="54" y="8"/>
                    </a:cubicBezTo>
                    <a:cubicBezTo>
                      <a:pt x="46" y="8"/>
                      <a:pt x="40" y="8"/>
                      <a:pt x="38" y="1"/>
                    </a:cubicBezTo>
                    <a:cubicBezTo>
                      <a:pt x="41" y="0"/>
                      <a:pt x="43" y="1"/>
                      <a:pt x="46" y="1"/>
                    </a:cubicBezTo>
                    <a:cubicBezTo>
                      <a:pt x="53" y="1"/>
                      <a:pt x="58" y="5"/>
                      <a:pt x="66" y="5"/>
                    </a:cubicBezTo>
                    <a:cubicBezTo>
                      <a:pt x="69" y="5"/>
                      <a:pt x="71" y="2"/>
                      <a:pt x="75" y="2"/>
                    </a:cubicBezTo>
                    <a:cubicBezTo>
                      <a:pt x="83" y="2"/>
                      <a:pt x="84" y="6"/>
                      <a:pt x="84" y="13"/>
                    </a:cubicBezTo>
                    <a:cubicBezTo>
                      <a:pt x="84" y="23"/>
                      <a:pt x="78" y="28"/>
                      <a:pt x="80" y="41"/>
                    </a:cubicBezTo>
                    <a:cubicBezTo>
                      <a:pt x="73" y="43"/>
                      <a:pt x="64" y="43"/>
                      <a:pt x="62" y="43"/>
                    </a:cubicBezTo>
                    <a:cubicBezTo>
                      <a:pt x="60" y="43"/>
                      <a:pt x="48" y="45"/>
                      <a:pt x="48" y="41"/>
                    </a:cubicBezTo>
                    <a:cubicBezTo>
                      <a:pt x="48" y="39"/>
                      <a:pt x="50" y="37"/>
                      <a:pt x="51" y="36"/>
                    </a:cubicBezTo>
                    <a:cubicBezTo>
                      <a:pt x="51" y="35"/>
                      <a:pt x="51" y="33"/>
                      <a:pt x="51" y="32"/>
                    </a:cubicBezTo>
                    <a:cubicBezTo>
                      <a:pt x="51" y="28"/>
                      <a:pt x="60" y="28"/>
                      <a:pt x="62" y="25"/>
                    </a:cubicBezTo>
                    <a:cubicBezTo>
                      <a:pt x="61" y="24"/>
                      <a:pt x="59" y="24"/>
                      <a:pt x="57" y="24"/>
                    </a:cubicBezTo>
                    <a:cubicBezTo>
                      <a:pt x="49" y="24"/>
                      <a:pt x="34" y="28"/>
                      <a:pt x="25" y="28"/>
                    </a:cubicBezTo>
                    <a:cubicBezTo>
                      <a:pt x="22" y="28"/>
                      <a:pt x="20" y="26"/>
                      <a:pt x="20" y="23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7" y="20"/>
                      <a:pt x="4" y="17"/>
                      <a:pt x="1" y="14"/>
                    </a:cubicBezTo>
                    <a:cubicBezTo>
                      <a:pt x="1" y="6"/>
                      <a:pt x="1" y="6"/>
                      <a:pt x="1" y="6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41" name="Полилиния 65">
                <a:extLst>
                  <a:ext uri="{FF2B5EF4-FFF2-40B4-BE49-F238E27FC236}">
                    <a16:creationId xmlns:a16="http://schemas.microsoft.com/office/drawing/2014/main" xmlns="" id="{EECF756F-C2FB-C871-B55F-E01D501DA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0975" y="1462088"/>
                <a:ext cx="65088" cy="38100"/>
              </a:xfrm>
              <a:custGeom>
                <a:avLst/>
                <a:gdLst/>
                <a:ahLst/>
                <a:cxnLst>
                  <a:cxn ang="0">
                    <a:pos x="38" y="29"/>
                  </a:cxn>
                  <a:cxn ang="0">
                    <a:pos x="0" y="16"/>
                  </a:cxn>
                  <a:cxn ang="0">
                    <a:pos x="9" y="14"/>
                  </a:cxn>
                  <a:cxn ang="0">
                    <a:pos x="22" y="0"/>
                  </a:cxn>
                  <a:cxn ang="0">
                    <a:pos x="49" y="22"/>
                  </a:cxn>
                  <a:cxn ang="0">
                    <a:pos x="38" y="29"/>
                  </a:cxn>
                </a:cxnLst>
                <a:rect l="0" t="0" r="r" b="b"/>
                <a:pathLst>
                  <a:path w="49" h="29">
                    <a:moveTo>
                      <a:pt x="38" y="29"/>
                    </a:moveTo>
                    <a:cubicBezTo>
                      <a:pt x="32" y="29"/>
                      <a:pt x="0" y="17"/>
                      <a:pt x="0" y="16"/>
                    </a:cubicBezTo>
                    <a:cubicBezTo>
                      <a:pt x="0" y="12"/>
                      <a:pt x="8" y="14"/>
                      <a:pt x="9" y="14"/>
                    </a:cubicBezTo>
                    <a:cubicBezTo>
                      <a:pt x="15" y="12"/>
                      <a:pt x="13" y="0"/>
                      <a:pt x="22" y="0"/>
                    </a:cubicBezTo>
                    <a:cubicBezTo>
                      <a:pt x="28" y="0"/>
                      <a:pt x="46" y="16"/>
                      <a:pt x="49" y="22"/>
                    </a:cubicBezTo>
                    <a:cubicBezTo>
                      <a:pt x="45" y="25"/>
                      <a:pt x="43" y="29"/>
                      <a:pt x="38" y="29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42" name="Полилиния 66">
                <a:extLst>
                  <a:ext uri="{FF2B5EF4-FFF2-40B4-BE49-F238E27FC236}">
                    <a16:creationId xmlns:a16="http://schemas.microsoft.com/office/drawing/2014/main" xmlns="" id="{E3F56774-9EEF-66BB-4B4D-2375D06B58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4475" y="1323975"/>
                <a:ext cx="85725" cy="69850"/>
              </a:xfrm>
              <a:custGeom>
                <a:avLst/>
                <a:gdLst/>
                <a:ahLst/>
                <a:cxnLst>
                  <a:cxn ang="0">
                    <a:pos x="65" y="11"/>
                  </a:cxn>
                  <a:cxn ang="0">
                    <a:pos x="57" y="18"/>
                  </a:cxn>
                  <a:cxn ang="0">
                    <a:pos x="32" y="35"/>
                  </a:cxn>
                  <a:cxn ang="0">
                    <a:pos x="20" y="38"/>
                  </a:cxn>
                  <a:cxn ang="0">
                    <a:pos x="25" y="38"/>
                  </a:cxn>
                  <a:cxn ang="0">
                    <a:pos x="15" y="53"/>
                  </a:cxn>
                  <a:cxn ang="0">
                    <a:pos x="6" y="53"/>
                  </a:cxn>
                  <a:cxn ang="0">
                    <a:pos x="7" y="40"/>
                  </a:cxn>
                  <a:cxn ang="0">
                    <a:pos x="0" y="19"/>
                  </a:cxn>
                  <a:cxn ang="0">
                    <a:pos x="0" y="11"/>
                  </a:cxn>
                  <a:cxn ang="0">
                    <a:pos x="10" y="11"/>
                  </a:cxn>
                  <a:cxn ang="0">
                    <a:pos x="10" y="7"/>
                  </a:cxn>
                  <a:cxn ang="0">
                    <a:pos x="22" y="0"/>
                  </a:cxn>
                  <a:cxn ang="0">
                    <a:pos x="65" y="5"/>
                  </a:cxn>
                  <a:cxn ang="0">
                    <a:pos x="65" y="11"/>
                  </a:cxn>
                </a:cxnLst>
                <a:rect l="0" t="0" r="r" b="b"/>
                <a:pathLst>
                  <a:path w="65" h="53">
                    <a:moveTo>
                      <a:pt x="65" y="11"/>
                    </a:moveTo>
                    <a:cubicBezTo>
                      <a:pt x="65" y="12"/>
                      <a:pt x="57" y="18"/>
                      <a:pt x="57" y="18"/>
                    </a:cubicBezTo>
                    <a:cubicBezTo>
                      <a:pt x="51" y="26"/>
                      <a:pt x="45" y="35"/>
                      <a:pt x="32" y="35"/>
                    </a:cubicBezTo>
                    <a:cubicBezTo>
                      <a:pt x="22" y="35"/>
                      <a:pt x="22" y="30"/>
                      <a:pt x="20" y="38"/>
                    </a:cubicBezTo>
                    <a:cubicBezTo>
                      <a:pt x="25" y="38"/>
                      <a:pt x="25" y="38"/>
                      <a:pt x="25" y="38"/>
                    </a:cubicBezTo>
                    <a:cubicBezTo>
                      <a:pt x="24" y="46"/>
                      <a:pt x="21" y="48"/>
                      <a:pt x="15" y="53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6" y="47"/>
                      <a:pt x="6" y="42"/>
                      <a:pt x="7" y="40"/>
                    </a:cubicBezTo>
                    <a:cubicBezTo>
                      <a:pt x="0" y="33"/>
                      <a:pt x="3" y="27"/>
                      <a:pt x="0" y="1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3" y="11"/>
                      <a:pt x="8" y="11"/>
                      <a:pt x="10" y="11"/>
                    </a:cubicBezTo>
                    <a:cubicBezTo>
                      <a:pt x="9" y="11"/>
                      <a:pt x="10" y="8"/>
                      <a:pt x="10" y="7"/>
                    </a:cubicBezTo>
                    <a:cubicBezTo>
                      <a:pt x="10" y="6"/>
                      <a:pt x="13" y="0"/>
                      <a:pt x="22" y="0"/>
                    </a:cubicBezTo>
                    <a:cubicBezTo>
                      <a:pt x="37" y="0"/>
                      <a:pt x="49" y="5"/>
                      <a:pt x="65" y="5"/>
                    </a:cubicBezTo>
                    <a:cubicBezTo>
                      <a:pt x="65" y="8"/>
                      <a:pt x="65" y="9"/>
                      <a:pt x="65" y="11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43" name="Полилиния 67">
                <a:extLst>
                  <a:ext uri="{FF2B5EF4-FFF2-40B4-BE49-F238E27FC236}">
                    <a16:creationId xmlns:a16="http://schemas.microsoft.com/office/drawing/2014/main" xmlns="" id="{57536A53-61D3-2E3E-ED63-F493F8BCF5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8263" y="1198563"/>
                <a:ext cx="28575" cy="23813"/>
              </a:xfrm>
              <a:custGeom>
                <a:avLst/>
                <a:gdLst/>
                <a:ahLst/>
                <a:cxnLst>
                  <a:cxn ang="0">
                    <a:pos x="21" y="12"/>
                  </a:cxn>
                  <a:cxn ang="0">
                    <a:pos x="15" y="18"/>
                  </a:cxn>
                  <a:cxn ang="0">
                    <a:pos x="0" y="0"/>
                  </a:cxn>
                  <a:cxn ang="0">
                    <a:pos x="21" y="12"/>
                  </a:cxn>
                </a:cxnLst>
                <a:rect l="0" t="0" r="r" b="b"/>
                <a:pathLst>
                  <a:path w="21" h="18">
                    <a:moveTo>
                      <a:pt x="21" y="12"/>
                    </a:moveTo>
                    <a:cubicBezTo>
                      <a:pt x="21" y="16"/>
                      <a:pt x="18" y="18"/>
                      <a:pt x="15" y="18"/>
                    </a:cubicBezTo>
                    <a:cubicBezTo>
                      <a:pt x="10" y="18"/>
                      <a:pt x="0" y="6"/>
                      <a:pt x="0" y="0"/>
                    </a:cubicBezTo>
                    <a:cubicBezTo>
                      <a:pt x="11" y="0"/>
                      <a:pt x="12" y="9"/>
                      <a:pt x="21" y="12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44" name="Полилиния 68">
                <a:extLst>
                  <a:ext uri="{FF2B5EF4-FFF2-40B4-BE49-F238E27FC236}">
                    <a16:creationId xmlns:a16="http://schemas.microsoft.com/office/drawing/2014/main" xmlns="" id="{2EF4DF53-EF9B-293A-361A-78D38BF9F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5725" y="1277938"/>
                <a:ext cx="19050" cy="15875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5" y="6"/>
                  </a:cxn>
                  <a:cxn ang="0">
                    <a:pos x="9" y="12"/>
                  </a:cxn>
                  <a:cxn ang="0">
                    <a:pos x="0" y="12"/>
                  </a:cxn>
                  <a:cxn ang="0">
                    <a:pos x="12" y="0"/>
                  </a:cxn>
                </a:cxnLst>
                <a:rect l="0" t="0" r="r" b="b"/>
                <a:pathLst>
                  <a:path w="15" h="12">
                    <a:moveTo>
                      <a:pt x="12" y="0"/>
                    </a:moveTo>
                    <a:cubicBezTo>
                      <a:pt x="13" y="2"/>
                      <a:pt x="15" y="3"/>
                      <a:pt x="15" y="6"/>
                    </a:cubicBezTo>
                    <a:cubicBezTo>
                      <a:pt x="15" y="12"/>
                      <a:pt x="11" y="12"/>
                      <a:pt x="9" y="12"/>
                    </a:cubicBezTo>
                    <a:cubicBezTo>
                      <a:pt x="4" y="12"/>
                      <a:pt x="3" y="11"/>
                      <a:pt x="0" y="12"/>
                    </a:cubicBezTo>
                    <a:cubicBezTo>
                      <a:pt x="2" y="4"/>
                      <a:pt x="6" y="2"/>
                      <a:pt x="12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45" name="Полилиния 69">
                <a:extLst>
                  <a:ext uri="{FF2B5EF4-FFF2-40B4-BE49-F238E27FC236}">
                    <a16:creationId xmlns:a16="http://schemas.microsoft.com/office/drawing/2014/main" xmlns="" id="{6584708F-E8F1-2F6E-F76F-46005E037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4613" y="1139825"/>
                <a:ext cx="109538" cy="57150"/>
              </a:xfrm>
              <a:custGeom>
                <a:avLst/>
                <a:gdLst/>
                <a:ahLst/>
                <a:cxnLst>
                  <a:cxn ang="0">
                    <a:pos x="54" y="32"/>
                  </a:cxn>
                  <a:cxn ang="0">
                    <a:pos x="33" y="30"/>
                  </a:cxn>
                  <a:cxn ang="0">
                    <a:pos x="19" y="29"/>
                  </a:cxn>
                  <a:cxn ang="0">
                    <a:pos x="7" y="25"/>
                  </a:cxn>
                  <a:cxn ang="0">
                    <a:pos x="20" y="20"/>
                  </a:cxn>
                  <a:cxn ang="0">
                    <a:pos x="20" y="15"/>
                  </a:cxn>
                  <a:cxn ang="0">
                    <a:pos x="5" y="15"/>
                  </a:cxn>
                  <a:cxn ang="0">
                    <a:pos x="8" y="10"/>
                  </a:cxn>
                  <a:cxn ang="0">
                    <a:pos x="0" y="3"/>
                  </a:cxn>
                  <a:cxn ang="0">
                    <a:pos x="14" y="0"/>
                  </a:cxn>
                  <a:cxn ang="0">
                    <a:pos x="31" y="8"/>
                  </a:cxn>
                  <a:cxn ang="0">
                    <a:pos x="40" y="4"/>
                  </a:cxn>
                  <a:cxn ang="0">
                    <a:pos x="53" y="15"/>
                  </a:cxn>
                  <a:cxn ang="0">
                    <a:pos x="60" y="11"/>
                  </a:cxn>
                  <a:cxn ang="0">
                    <a:pos x="73" y="21"/>
                  </a:cxn>
                  <a:cxn ang="0">
                    <a:pos x="70" y="26"/>
                  </a:cxn>
                  <a:cxn ang="0">
                    <a:pos x="82" y="37"/>
                  </a:cxn>
                  <a:cxn ang="0">
                    <a:pos x="74" y="43"/>
                  </a:cxn>
                  <a:cxn ang="0">
                    <a:pos x="54" y="32"/>
                  </a:cxn>
                </a:cxnLst>
                <a:rect l="0" t="0" r="r" b="b"/>
                <a:pathLst>
                  <a:path w="82" h="43">
                    <a:moveTo>
                      <a:pt x="54" y="32"/>
                    </a:moveTo>
                    <a:cubicBezTo>
                      <a:pt x="46" y="32"/>
                      <a:pt x="41" y="29"/>
                      <a:pt x="33" y="30"/>
                    </a:cubicBezTo>
                    <a:cubicBezTo>
                      <a:pt x="31" y="26"/>
                      <a:pt x="25" y="29"/>
                      <a:pt x="19" y="29"/>
                    </a:cubicBezTo>
                    <a:cubicBezTo>
                      <a:pt x="13" y="29"/>
                      <a:pt x="11" y="29"/>
                      <a:pt x="7" y="25"/>
                    </a:cubicBezTo>
                    <a:cubicBezTo>
                      <a:pt x="11" y="21"/>
                      <a:pt x="15" y="22"/>
                      <a:pt x="20" y="20"/>
                    </a:cubicBezTo>
                    <a:cubicBezTo>
                      <a:pt x="19" y="18"/>
                      <a:pt x="19" y="16"/>
                      <a:pt x="20" y="15"/>
                    </a:cubicBezTo>
                    <a:cubicBezTo>
                      <a:pt x="10" y="15"/>
                      <a:pt x="8" y="17"/>
                      <a:pt x="5" y="15"/>
                    </a:cubicBezTo>
                    <a:cubicBezTo>
                      <a:pt x="6" y="14"/>
                      <a:pt x="7" y="12"/>
                      <a:pt x="8" y="10"/>
                    </a:cubicBezTo>
                    <a:cubicBezTo>
                      <a:pt x="2" y="10"/>
                      <a:pt x="0" y="9"/>
                      <a:pt x="0" y="3"/>
                    </a:cubicBezTo>
                    <a:cubicBezTo>
                      <a:pt x="6" y="3"/>
                      <a:pt x="9" y="0"/>
                      <a:pt x="14" y="0"/>
                    </a:cubicBezTo>
                    <a:cubicBezTo>
                      <a:pt x="24" y="0"/>
                      <a:pt x="26" y="8"/>
                      <a:pt x="31" y="8"/>
                    </a:cubicBezTo>
                    <a:cubicBezTo>
                      <a:pt x="35" y="8"/>
                      <a:pt x="36" y="4"/>
                      <a:pt x="40" y="4"/>
                    </a:cubicBezTo>
                    <a:cubicBezTo>
                      <a:pt x="49" y="4"/>
                      <a:pt x="48" y="15"/>
                      <a:pt x="53" y="15"/>
                    </a:cubicBezTo>
                    <a:cubicBezTo>
                      <a:pt x="56" y="15"/>
                      <a:pt x="57" y="11"/>
                      <a:pt x="60" y="11"/>
                    </a:cubicBezTo>
                    <a:cubicBezTo>
                      <a:pt x="66" y="11"/>
                      <a:pt x="71" y="19"/>
                      <a:pt x="73" y="21"/>
                    </a:cubicBezTo>
                    <a:cubicBezTo>
                      <a:pt x="72" y="22"/>
                      <a:pt x="70" y="24"/>
                      <a:pt x="70" y="26"/>
                    </a:cubicBezTo>
                    <a:cubicBezTo>
                      <a:pt x="73" y="29"/>
                      <a:pt x="82" y="33"/>
                      <a:pt x="82" y="37"/>
                    </a:cubicBezTo>
                    <a:cubicBezTo>
                      <a:pt x="82" y="42"/>
                      <a:pt x="77" y="43"/>
                      <a:pt x="74" y="43"/>
                    </a:cubicBezTo>
                    <a:cubicBezTo>
                      <a:pt x="63" y="43"/>
                      <a:pt x="64" y="32"/>
                      <a:pt x="54" y="32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46" name="Полилиния 70">
                <a:extLst>
                  <a:ext uri="{FF2B5EF4-FFF2-40B4-BE49-F238E27FC236}">
                    <a16:creationId xmlns:a16="http://schemas.microsoft.com/office/drawing/2014/main" xmlns="" id="{C586204A-D88A-BDAF-E1DB-64854B0E6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475" y="1189038"/>
                <a:ext cx="30163" cy="9525"/>
              </a:xfrm>
              <a:custGeom>
                <a:avLst/>
                <a:gdLst/>
                <a:ahLst/>
                <a:cxnLst>
                  <a:cxn ang="0">
                    <a:pos x="8" y="7"/>
                  </a:cxn>
                  <a:cxn ang="0">
                    <a:pos x="12" y="0"/>
                  </a:cxn>
                  <a:cxn ang="0">
                    <a:pos x="23" y="4"/>
                  </a:cxn>
                  <a:cxn ang="0">
                    <a:pos x="8" y="7"/>
                  </a:cxn>
                </a:cxnLst>
                <a:rect l="0" t="0" r="r" b="b"/>
                <a:pathLst>
                  <a:path w="23" h="7">
                    <a:moveTo>
                      <a:pt x="8" y="7"/>
                    </a:moveTo>
                    <a:cubicBezTo>
                      <a:pt x="0" y="7"/>
                      <a:pt x="11" y="0"/>
                      <a:pt x="12" y="0"/>
                    </a:cubicBezTo>
                    <a:cubicBezTo>
                      <a:pt x="17" y="0"/>
                      <a:pt x="19" y="3"/>
                      <a:pt x="23" y="4"/>
                    </a:cubicBezTo>
                    <a:cubicBezTo>
                      <a:pt x="20" y="7"/>
                      <a:pt x="15" y="7"/>
                      <a:pt x="8" y="7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47" name="Полилиния 71">
                <a:extLst>
                  <a:ext uri="{FF2B5EF4-FFF2-40B4-BE49-F238E27FC236}">
                    <a16:creationId xmlns:a16="http://schemas.microsoft.com/office/drawing/2014/main" xmlns="" id="{4AD89EF7-1676-9172-CBE1-4467324F4A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5425" y="1223963"/>
                <a:ext cx="287338" cy="90488"/>
              </a:xfrm>
              <a:custGeom>
                <a:avLst/>
                <a:gdLst/>
                <a:ahLst/>
                <a:cxnLst>
                  <a:cxn ang="0">
                    <a:pos x="215" y="45"/>
                  </a:cxn>
                  <a:cxn ang="0">
                    <a:pos x="210" y="51"/>
                  </a:cxn>
                  <a:cxn ang="0">
                    <a:pos x="216" y="52"/>
                  </a:cxn>
                  <a:cxn ang="0">
                    <a:pos x="179" y="67"/>
                  </a:cxn>
                  <a:cxn ang="0">
                    <a:pos x="170" y="60"/>
                  </a:cxn>
                  <a:cxn ang="0">
                    <a:pos x="159" y="66"/>
                  </a:cxn>
                  <a:cxn ang="0">
                    <a:pos x="124" y="66"/>
                  </a:cxn>
                  <a:cxn ang="0">
                    <a:pos x="102" y="60"/>
                  </a:cxn>
                  <a:cxn ang="0">
                    <a:pos x="97" y="60"/>
                  </a:cxn>
                  <a:cxn ang="0">
                    <a:pos x="84" y="67"/>
                  </a:cxn>
                  <a:cxn ang="0">
                    <a:pos x="53" y="47"/>
                  </a:cxn>
                  <a:cxn ang="0">
                    <a:pos x="58" y="40"/>
                  </a:cxn>
                  <a:cxn ang="0">
                    <a:pos x="40" y="18"/>
                  </a:cxn>
                  <a:cxn ang="0">
                    <a:pos x="32" y="22"/>
                  </a:cxn>
                  <a:cxn ang="0">
                    <a:pos x="0" y="7"/>
                  </a:cxn>
                  <a:cxn ang="0">
                    <a:pos x="13" y="0"/>
                  </a:cxn>
                  <a:cxn ang="0">
                    <a:pos x="51" y="15"/>
                  </a:cxn>
                  <a:cxn ang="0">
                    <a:pos x="60" y="12"/>
                  </a:cxn>
                  <a:cxn ang="0">
                    <a:pos x="68" y="12"/>
                  </a:cxn>
                  <a:cxn ang="0">
                    <a:pos x="89" y="25"/>
                  </a:cxn>
                  <a:cxn ang="0">
                    <a:pos x="71" y="25"/>
                  </a:cxn>
                  <a:cxn ang="0">
                    <a:pos x="91" y="35"/>
                  </a:cxn>
                  <a:cxn ang="0">
                    <a:pos x="88" y="38"/>
                  </a:cxn>
                  <a:cxn ang="0">
                    <a:pos x="95" y="40"/>
                  </a:cxn>
                  <a:cxn ang="0">
                    <a:pos x="125" y="45"/>
                  </a:cxn>
                  <a:cxn ang="0">
                    <a:pos x="181" y="34"/>
                  </a:cxn>
                  <a:cxn ang="0">
                    <a:pos x="216" y="46"/>
                  </a:cxn>
                  <a:cxn ang="0">
                    <a:pos x="211" y="47"/>
                  </a:cxn>
                  <a:cxn ang="0">
                    <a:pos x="215" y="45"/>
                  </a:cxn>
                </a:cxnLst>
                <a:rect l="0" t="0" r="r" b="b"/>
                <a:pathLst>
                  <a:path w="216" h="68">
                    <a:moveTo>
                      <a:pt x="215" y="45"/>
                    </a:moveTo>
                    <a:cubicBezTo>
                      <a:pt x="213" y="46"/>
                      <a:pt x="211" y="48"/>
                      <a:pt x="210" y="51"/>
                    </a:cubicBezTo>
                    <a:cubicBezTo>
                      <a:pt x="213" y="52"/>
                      <a:pt x="216" y="52"/>
                      <a:pt x="216" y="52"/>
                    </a:cubicBezTo>
                    <a:cubicBezTo>
                      <a:pt x="215" y="67"/>
                      <a:pt x="195" y="67"/>
                      <a:pt x="179" y="67"/>
                    </a:cubicBezTo>
                    <a:cubicBezTo>
                      <a:pt x="174" y="67"/>
                      <a:pt x="171" y="64"/>
                      <a:pt x="170" y="60"/>
                    </a:cubicBezTo>
                    <a:cubicBezTo>
                      <a:pt x="164" y="61"/>
                      <a:pt x="163" y="64"/>
                      <a:pt x="159" y="66"/>
                    </a:cubicBezTo>
                    <a:cubicBezTo>
                      <a:pt x="124" y="66"/>
                      <a:pt x="124" y="66"/>
                      <a:pt x="124" y="66"/>
                    </a:cubicBezTo>
                    <a:cubicBezTo>
                      <a:pt x="115" y="68"/>
                      <a:pt x="101" y="67"/>
                      <a:pt x="102" y="60"/>
                    </a:cubicBezTo>
                    <a:cubicBezTo>
                      <a:pt x="97" y="60"/>
                      <a:pt x="97" y="60"/>
                      <a:pt x="97" y="60"/>
                    </a:cubicBezTo>
                    <a:cubicBezTo>
                      <a:pt x="95" y="62"/>
                      <a:pt x="88" y="67"/>
                      <a:pt x="84" y="67"/>
                    </a:cubicBezTo>
                    <a:cubicBezTo>
                      <a:pt x="75" y="67"/>
                      <a:pt x="53" y="56"/>
                      <a:pt x="53" y="47"/>
                    </a:cubicBezTo>
                    <a:cubicBezTo>
                      <a:pt x="53" y="44"/>
                      <a:pt x="56" y="41"/>
                      <a:pt x="58" y="40"/>
                    </a:cubicBezTo>
                    <a:cubicBezTo>
                      <a:pt x="50" y="32"/>
                      <a:pt x="48" y="25"/>
                      <a:pt x="40" y="18"/>
                    </a:cubicBezTo>
                    <a:cubicBezTo>
                      <a:pt x="38" y="20"/>
                      <a:pt x="35" y="22"/>
                      <a:pt x="32" y="22"/>
                    </a:cubicBezTo>
                    <a:cubicBezTo>
                      <a:pt x="27" y="22"/>
                      <a:pt x="0" y="11"/>
                      <a:pt x="0" y="7"/>
                    </a:cubicBezTo>
                    <a:cubicBezTo>
                      <a:pt x="0" y="0"/>
                      <a:pt x="8" y="0"/>
                      <a:pt x="13" y="0"/>
                    </a:cubicBezTo>
                    <a:cubicBezTo>
                      <a:pt x="33" y="0"/>
                      <a:pt x="36" y="15"/>
                      <a:pt x="51" y="15"/>
                    </a:cubicBezTo>
                    <a:cubicBezTo>
                      <a:pt x="56" y="15"/>
                      <a:pt x="58" y="15"/>
                      <a:pt x="60" y="12"/>
                    </a:cubicBezTo>
                    <a:cubicBezTo>
                      <a:pt x="63" y="12"/>
                      <a:pt x="68" y="12"/>
                      <a:pt x="68" y="12"/>
                    </a:cubicBezTo>
                    <a:cubicBezTo>
                      <a:pt x="65" y="22"/>
                      <a:pt x="85" y="19"/>
                      <a:pt x="89" y="25"/>
                    </a:cubicBezTo>
                    <a:cubicBezTo>
                      <a:pt x="71" y="25"/>
                      <a:pt x="71" y="25"/>
                      <a:pt x="71" y="25"/>
                    </a:cubicBezTo>
                    <a:cubicBezTo>
                      <a:pt x="74" y="37"/>
                      <a:pt x="85" y="30"/>
                      <a:pt x="91" y="35"/>
                    </a:cubicBezTo>
                    <a:cubicBezTo>
                      <a:pt x="90" y="36"/>
                      <a:pt x="88" y="36"/>
                      <a:pt x="88" y="38"/>
                    </a:cubicBezTo>
                    <a:cubicBezTo>
                      <a:pt x="88" y="44"/>
                      <a:pt x="93" y="41"/>
                      <a:pt x="95" y="40"/>
                    </a:cubicBezTo>
                    <a:cubicBezTo>
                      <a:pt x="106" y="42"/>
                      <a:pt x="114" y="45"/>
                      <a:pt x="125" y="45"/>
                    </a:cubicBezTo>
                    <a:cubicBezTo>
                      <a:pt x="150" y="45"/>
                      <a:pt x="158" y="34"/>
                      <a:pt x="181" y="34"/>
                    </a:cubicBezTo>
                    <a:cubicBezTo>
                      <a:pt x="198" y="34"/>
                      <a:pt x="210" y="35"/>
                      <a:pt x="216" y="46"/>
                    </a:cubicBezTo>
                    <a:cubicBezTo>
                      <a:pt x="215" y="47"/>
                      <a:pt x="213" y="47"/>
                      <a:pt x="211" y="47"/>
                    </a:cubicBezTo>
                    <a:lnTo>
                      <a:pt x="215" y="45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48" name="Полилиния 72">
                <a:extLst>
                  <a:ext uri="{FF2B5EF4-FFF2-40B4-BE49-F238E27FC236}">
                    <a16:creationId xmlns:a16="http://schemas.microsoft.com/office/drawing/2014/main" xmlns="" id="{2DBF914C-FA1B-D5F5-6CED-4F3366C6AE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600" y="1271588"/>
                <a:ext cx="49213" cy="38100"/>
              </a:xfrm>
              <a:custGeom>
                <a:avLst/>
                <a:gdLst/>
                <a:ahLst/>
                <a:cxnLst>
                  <a:cxn ang="0">
                    <a:pos x="6" y="10"/>
                  </a:cxn>
                  <a:cxn ang="0">
                    <a:pos x="19" y="0"/>
                  </a:cxn>
                  <a:cxn ang="0">
                    <a:pos x="37" y="15"/>
                  </a:cxn>
                  <a:cxn ang="0">
                    <a:pos x="29" y="29"/>
                  </a:cxn>
                  <a:cxn ang="0">
                    <a:pos x="0" y="17"/>
                  </a:cxn>
                  <a:cxn ang="0">
                    <a:pos x="6" y="10"/>
                  </a:cxn>
                </a:cxnLst>
                <a:rect l="0" t="0" r="r" b="b"/>
                <a:pathLst>
                  <a:path w="37" h="29">
                    <a:moveTo>
                      <a:pt x="6" y="10"/>
                    </a:moveTo>
                    <a:cubicBezTo>
                      <a:pt x="10" y="10"/>
                      <a:pt x="9" y="0"/>
                      <a:pt x="19" y="0"/>
                    </a:cubicBezTo>
                    <a:cubicBezTo>
                      <a:pt x="27" y="0"/>
                      <a:pt x="37" y="9"/>
                      <a:pt x="37" y="15"/>
                    </a:cubicBezTo>
                    <a:cubicBezTo>
                      <a:pt x="37" y="22"/>
                      <a:pt x="35" y="29"/>
                      <a:pt x="29" y="29"/>
                    </a:cubicBezTo>
                    <a:cubicBezTo>
                      <a:pt x="25" y="29"/>
                      <a:pt x="0" y="17"/>
                      <a:pt x="0" y="17"/>
                    </a:cubicBezTo>
                    <a:cubicBezTo>
                      <a:pt x="0" y="13"/>
                      <a:pt x="5" y="10"/>
                      <a:pt x="6" y="1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49" name="Полилиния 73">
                <a:extLst>
                  <a:ext uri="{FF2B5EF4-FFF2-40B4-BE49-F238E27FC236}">
                    <a16:creationId xmlns:a16="http://schemas.microsoft.com/office/drawing/2014/main" xmlns="" id="{C898C7FA-E3ED-7B7C-4DA8-4483B758C2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4950" y="1198563"/>
                <a:ext cx="46038" cy="12700"/>
              </a:xfrm>
              <a:custGeom>
                <a:avLst/>
                <a:gdLst/>
                <a:ahLst/>
                <a:cxnLst>
                  <a:cxn ang="0">
                    <a:pos x="29" y="0"/>
                  </a:cxn>
                  <a:cxn ang="0">
                    <a:pos x="35" y="0"/>
                  </a:cxn>
                  <a:cxn ang="0">
                    <a:pos x="35" y="6"/>
                  </a:cxn>
                  <a:cxn ang="0">
                    <a:pos x="28" y="10"/>
                  </a:cxn>
                  <a:cxn ang="0">
                    <a:pos x="0" y="5"/>
                  </a:cxn>
                  <a:cxn ang="0">
                    <a:pos x="29" y="0"/>
                  </a:cxn>
                </a:cxnLst>
                <a:rect l="0" t="0" r="r" b="b"/>
                <a:pathLst>
                  <a:path w="35" h="10">
                    <a:moveTo>
                      <a:pt x="29" y="0"/>
                    </a:moveTo>
                    <a:cubicBezTo>
                      <a:pt x="34" y="0"/>
                      <a:pt x="30" y="1"/>
                      <a:pt x="35" y="0"/>
                    </a:cubicBezTo>
                    <a:cubicBezTo>
                      <a:pt x="35" y="3"/>
                      <a:pt x="35" y="5"/>
                      <a:pt x="35" y="6"/>
                    </a:cubicBezTo>
                    <a:cubicBezTo>
                      <a:pt x="35" y="8"/>
                      <a:pt x="32" y="10"/>
                      <a:pt x="28" y="10"/>
                    </a:cubicBezTo>
                    <a:cubicBezTo>
                      <a:pt x="26" y="10"/>
                      <a:pt x="0" y="5"/>
                      <a:pt x="0" y="5"/>
                    </a:cubicBezTo>
                    <a:cubicBezTo>
                      <a:pt x="5" y="1"/>
                      <a:pt x="21" y="0"/>
                      <a:pt x="29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50" name="Полилиния 74">
                <a:extLst>
                  <a:ext uri="{FF2B5EF4-FFF2-40B4-BE49-F238E27FC236}">
                    <a16:creationId xmlns:a16="http://schemas.microsoft.com/office/drawing/2014/main" xmlns="" id="{263335BA-772C-7F87-195C-0830E4F35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0025" y="1154113"/>
                <a:ext cx="53975" cy="44450"/>
              </a:xfrm>
              <a:custGeom>
                <a:avLst/>
                <a:gdLst/>
                <a:ahLst/>
                <a:cxnLst>
                  <a:cxn ang="0">
                    <a:pos x="10" y="28"/>
                  </a:cxn>
                  <a:cxn ang="0">
                    <a:pos x="14" y="23"/>
                  </a:cxn>
                  <a:cxn ang="0">
                    <a:pos x="0" y="7"/>
                  </a:cxn>
                  <a:cxn ang="0">
                    <a:pos x="10" y="0"/>
                  </a:cxn>
                  <a:cxn ang="0">
                    <a:pos x="25" y="7"/>
                  </a:cxn>
                  <a:cxn ang="0">
                    <a:pos x="41" y="17"/>
                  </a:cxn>
                  <a:cxn ang="0">
                    <a:pos x="41" y="28"/>
                  </a:cxn>
                  <a:cxn ang="0">
                    <a:pos x="10" y="28"/>
                  </a:cxn>
                </a:cxnLst>
                <a:rect l="0" t="0" r="r" b="b"/>
                <a:pathLst>
                  <a:path w="41" h="33">
                    <a:moveTo>
                      <a:pt x="10" y="28"/>
                    </a:moveTo>
                    <a:cubicBezTo>
                      <a:pt x="10" y="26"/>
                      <a:pt x="13" y="24"/>
                      <a:pt x="14" y="23"/>
                    </a:cubicBezTo>
                    <a:cubicBezTo>
                      <a:pt x="9" y="18"/>
                      <a:pt x="0" y="15"/>
                      <a:pt x="0" y="7"/>
                    </a:cubicBezTo>
                    <a:cubicBezTo>
                      <a:pt x="0" y="2"/>
                      <a:pt x="6" y="0"/>
                      <a:pt x="10" y="0"/>
                    </a:cubicBezTo>
                    <a:cubicBezTo>
                      <a:pt x="11" y="4"/>
                      <a:pt x="21" y="7"/>
                      <a:pt x="25" y="7"/>
                    </a:cubicBezTo>
                    <a:cubicBezTo>
                      <a:pt x="25" y="17"/>
                      <a:pt x="41" y="7"/>
                      <a:pt x="41" y="17"/>
                    </a:cubicBezTo>
                    <a:cubicBezTo>
                      <a:pt x="41" y="20"/>
                      <a:pt x="39" y="23"/>
                      <a:pt x="41" y="28"/>
                    </a:cubicBezTo>
                    <a:cubicBezTo>
                      <a:pt x="25" y="31"/>
                      <a:pt x="10" y="33"/>
                      <a:pt x="10" y="28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51" name="Полилиния 75">
                <a:extLst>
                  <a:ext uri="{FF2B5EF4-FFF2-40B4-BE49-F238E27FC236}">
                    <a16:creationId xmlns:a16="http://schemas.microsoft.com/office/drawing/2014/main" xmlns="" id="{C99009C0-CE6E-4DFA-96E5-2F3595A169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388" y="1114425"/>
                <a:ext cx="20638" cy="1270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9"/>
                  </a:cxn>
                  <a:cxn ang="0">
                    <a:pos x="8" y="9"/>
                  </a:cxn>
                  <a:cxn ang="0">
                    <a:pos x="0" y="0"/>
                  </a:cxn>
                  <a:cxn ang="0">
                    <a:pos x="16" y="0"/>
                  </a:cxn>
                </a:cxnLst>
                <a:rect l="0" t="0" r="r" b="b"/>
                <a:pathLst>
                  <a:path w="16" h="9">
                    <a:moveTo>
                      <a:pt x="16" y="0"/>
                    </a:moveTo>
                    <a:cubicBezTo>
                      <a:pt x="16" y="9"/>
                      <a:pt x="16" y="9"/>
                      <a:pt x="16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6" y="7"/>
                      <a:pt x="0" y="6"/>
                      <a:pt x="0" y="0"/>
                    </a:cubicBezTo>
                    <a:cubicBezTo>
                      <a:pt x="6" y="0"/>
                      <a:pt x="13" y="0"/>
                      <a:pt x="16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52" name="Полилиния 76">
                <a:extLst>
                  <a:ext uri="{FF2B5EF4-FFF2-40B4-BE49-F238E27FC236}">
                    <a16:creationId xmlns:a16="http://schemas.microsoft.com/office/drawing/2014/main" xmlns="" id="{52F3C645-F5BB-963E-479C-00585CE8A2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538" y="1062038"/>
                <a:ext cx="184150" cy="123825"/>
              </a:xfrm>
              <a:custGeom>
                <a:avLst/>
                <a:gdLst/>
                <a:ahLst/>
                <a:cxnLst>
                  <a:cxn ang="0">
                    <a:pos x="92" y="37"/>
                  </a:cxn>
                  <a:cxn ang="0">
                    <a:pos x="97" y="37"/>
                  </a:cxn>
                  <a:cxn ang="0">
                    <a:pos x="97" y="32"/>
                  </a:cxn>
                  <a:cxn ang="0">
                    <a:pos x="95" y="28"/>
                  </a:cxn>
                  <a:cxn ang="0">
                    <a:pos x="100" y="28"/>
                  </a:cxn>
                  <a:cxn ang="0">
                    <a:pos x="105" y="36"/>
                  </a:cxn>
                  <a:cxn ang="0">
                    <a:pos x="111" y="43"/>
                  </a:cxn>
                  <a:cxn ang="0">
                    <a:pos x="108" y="49"/>
                  </a:cxn>
                  <a:cxn ang="0">
                    <a:pos x="115" y="49"/>
                  </a:cxn>
                  <a:cxn ang="0">
                    <a:pos x="137" y="55"/>
                  </a:cxn>
                  <a:cxn ang="0">
                    <a:pos x="136" y="61"/>
                  </a:cxn>
                  <a:cxn ang="0">
                    <a:pos x="126" y="64"/>
                  </a:cxn>
                  <a:cxn ang="0">
                    <a:pos x="105" y="78"/>
                  </a:cxn>
                  <a:cxn ang="0">
                    <a:pos x="98" y="69"/>
                  </a:cxn>
                  <a:cxn ang="0">
                    <a:pos x="93" y="76"/>
                  </a:cxn>
                  <a:cxn ang="0">
                    <a:pos x="99" y="84"/>
                  </a:cxn>
                  <a:cxn ang="0">
                    <a:pos x="91" y="84"/>
                  </a:cxn>
                  <a:cxn ang="0">
                    <a:pos x="91" y="90"/>
                  </a:cxn>
                  <a:cxn ang="0">
                    <a:pos x="75" y="82"/>
                  </a:cxn>
                  <a:cxn ang="0">
                    <a:pos x="64" y="92"/>
                  </a:cxn>
                  <a:cxn ang="0">
                    <a:pos x="47" y="84"/>
                  </a:cxn>
                  <a:cxn ang="0">
                    <a:pos x="53" y="81"/>
                  </a:cxn>
                  <a:cxn ang="0">
                    <a:pos x="33" y="70"/>
                  </a:cxn>
                  <a:cxn ang="0">
                    <a:pos x="66" y="61"/>
                  </a:cxn>
                  <a:cxn ang="0">
                    <a:pos x="48" y="58"/>
                  </a:cxn>
                  <a:cxn ang="0">
                    <a:pos x="35" y="61"/>
                  </a:cxn>
                  <a:cxn ang="0">
                    <a:pos x="29" y="56"/>
                  </a:cxn>
                  <a:cxn ang="0">
                    <a:pos x="19" y="59"/>
                  </a:cxn>
                  <a:cxn ang="0">
                    <a:pos x="16" y="55"/>
                  </a:cxn>
                  <a:cxn ang="0">
                    <a:pos x="26" y="49"/>
                  </a:cxn>
                  <a:cxn ang="0">
                    <a:pos x="0" y="35"/>
                  </a:cxn>
                  <a:cxn ang="0">
                    <a:pos x="7" y="35"/>
                  </a:cxn>
                  <a:cxn ang="0">
                    <a:pos x="20" y="39"/>
                  </a:cxn>
                  <a:cxn ang="0">
                    <a:pos x="24" y="36"/>
                  </a:cxn>
                  <a:cxn ang="0">
                    <a:pos x="5" y="26"/>
                  </a:cxn>
                  <a:cxn ang="0">
                    <a:pos x="15" y="22"/>
                  </a:cxn>
                  <a:cxn ang="0">
                    <a:pos x="27" y="25"/>
                  </a:cxn>
                  <a:cxn ang="0">
                    <a:pos x="32" y="20"/>
                  </a:cxn>
                  <a:cxn ang="0">
                    <a:pos x="19" y="20"/>
                  </a:cxn>
                  <a:cxn ang="0">
                    <a:pos x="14" y="13"/>
                  </a:cxn>
                  <a:cxn ang="0">
                    <a:pos x="30" y="9"/>
                  </a:cxn>
                  <a:cxn ang="0">
                    <a:pos x="38" y="9"/>
                  </a:cxn>
                  <a:cxn ang="0">
                    <a:pos x="25" y="0"/>
                  </a:cxn>
                  <a:cxn ang="0">
                    <a:pos x="53" y="5"/>
                  </a:cxn>
                  <a:cxn ang="0">
                    <a:pos x="67" y="24"/>
                  </a:cxn>
                  <a:cxn ang="0">
                    <a:pos x="84" y="25"/>
                  </a:cxn>
                  <a:cxn ang="0">
                    <a:pos x="92" y="37"/>
                  </a:cxn>
                </a:cxnLst>
                <a:rect l="0" t="0" r="r" b="b"/>
                <a:pathLst>
                  <a:path w="138" h="92">
                    <a:moveTo>
                      <a:pt x="92" y="37"/>
                    </a:moveTo>
                    <a:cubicBezTo>
                      <a:pt x="97" y="37"/>
                      <a:pt x="97" y="37"/>
                      <a:pt x="97" y="37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95" y="28"/>
                      <a:pt x="95" y="28"/>
                      <a:pt x="95" y="28"/>
                    </a:cubicBezTo>
                    <a:cubicBezTo>
                      <a:pt x="97" y="28"/>
                      <a:pt x="98" y="28"/>
                      <a:pt x="100" y="28"/>
                    </a:cubicBezTo>
                    <a:cubicBezTo>
                      <a:pt x="106" y="28"/>
                      <a:pt x="105" y="31"/>
                      <a:pt x="105" y="36"/>
                    </a:cubicBezTo>
                    <a:cubicBezTo>
                      <a:pt x="105" y="39"/>
                      <a:pt x="111" y="39"/>
                      <a:pt x="111" y="43"/>
                    </a:cubicBezTo>
                    <a:cubicBezTo>
                      <a:pt x="111" y="46"/>
                      <a:pt x="108" y="46"/>
                      <a:pt x="108" y="49"/>
                    </a:cubicBezTo>
                    <a:cubicBezTo>
                      <a:pt x="108" y="53"/>
                      <a:pt x="114" y="49"/>
                      <a:pt x="115" y="49"/>
                    </a:cubicBezTo>
                    <a:cubicBezTo>
                      <a:pt x="120" y="49"/>
                      <a:pt x="131" y="54"/>
                      <a:pt x="137" y="55"/>
                    </a:cubicBezTo>
                    <a:cubicBezTo>
                      <a:pt x="137" y="58"/>
                      <a:pt x="138" y="60"/>
                      <a:pt x="136" y="61"/>
                    </a:cubicBezTo>
                    <a:cubicBezTo>
                      <a:pt x="135" y="64"/>
                      <a:pt x="130" y="63"/>
                      <a:pt x="126" y="64"/>
                    </a:cubicBezTo>
                    <a:cubicBezTo>
                      <a:pt x="117" y="65"/>
                      <a:pt x="111" y="78"/>
                      <a:pt x="105" y="78"/>
                    </a:cubicBezTo>
                    <a:cubicBezTo>
                      <a:pt x="100" y="78"/>
                      <a:pt x="100" y="74"/>
                      <a:pt x="98" y="69"/>
                    </a:cubicBezTo>
                    <a:cubicBezTo>
                      <a:pt x="96" y="71"/>
                      <a:pt x="95" y="73"/>
                      <a:pt x="93" y="76"/>
                    </a:cubicBezTo>
                    <a:cubicBezTo>
                      <a:pt x="96" y="80"/>
                      <a:pt x="97" y="81"/>
                      <a:pt x="99" y="84"/>
                    </a:cubicBezTo>
                    <a:cubicBezTo>
                      <a:pt x="91" y="84"/>
                      <a:pt x="91" y="84"/>
                      <a:pt x="91" y="84"/>
                    </a:cubicBezTo>
                    <a:cubicBezTo>
                      <a:pt x="91" y="90"/>
                      <a:pt x="91" y="90"/>
                      <a:pt x="91" y="90"/>
                    </a:cubicBezTo>
                    <a:cubicBezTo>
                      <a:pt x="87" y="91"/>
                      <a:pt x="79" y="85"/>
                      <a:pt x="75" y="82"/>
                    </a:cubicBezTo>
                    <a:cubicBezTo>
                      <a:pt x="75" y="90"/>
                      <a:pt x="71" y="92"/>
                      <a:pt x="64" y="92"/>
                    </a:cubicBezTo>
                    <a:cubicBezTo>
                      <a:pt x="57" y="92"/>
                      <a:pt x="48" y="91"/>
                      <a:pt x="47" y="84"/>
                    </a:cubicBezTo>
                    <a:cubicBezTo>
                      <a:pt x="50" y="84"/>
                      <a:pt x="51" y="83"/>
                      <a:pt x="53" y="81"/>
                    </a:cubicBezTo>
                    <a:cubicBezTo>
                      <a:pt x="45" y="81"/>
                      <a:pt x="33" y="77"/>
                      <a:pt x="33" y="70"/>
                    </a:cubicBezTo>
                    <a:cubicBezTo>
                      <a:pt x="33" y="62"/>
                      <a:pt x="60" y="63"/>
                      <a:pt x="66" y="61"/>
                    </a:cubicBezTo>
                    <a:cubicBezTo>
                      <a:pt x="60" y="60"/>
                      <a:pt x="55" y="58"/>
                      <a:pt x="48" y="58"/>
                    </a:cubicBezTo>
                    <a:cubicBezTo>
                      <a:pt x="41" y="58"/>
                      <a:pt x="40" y="61"/>
                      <a:pt x="35" y="61"/>
                    </a:cubicBezTo>
                    <a:cubicBezTo>
                      <a:pt x="30" y="61"/>
                      <a:pt x="30" y="58"/>
                      <a:pt x="29" y="56"/>
                    </a:cubicBezTo>
                    <a:cubicBezTo>
                      <a:pt x="24" y="58"/>
                      <a:pt x="23" y="59"/>
                      <a:pt x="19" y="59"/>
                    </a:cubicBezTo>
                    <a:cubicBezTo>
                      <a:pt x="16" y="59"/>
                      <a:pt x="16" y="58"/>
                      <a:pt x="16" y="55"/>
                    </a:cubicBezTo>
                    <a:cubicBezTo>
                      <a:pt x="20" y="53"/>
                      <a:pt x="23" y="53"/>
                      <a:pt x="26" y="49"/>
                    </a:cubicBezTo>
                    <a:cubicBezTo>
                      <a:pt x="11" y="49"/>
                      <a:pt x="2" y="48"/>
                      <a:pt x="0" y="3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9" y="37"/>
                      <a:pt x="16" y="39"/>
                      <a:pt x="20" y="39"/>
                    </a:cubicBezTo>
                    <a:cubicBezTo>
                      <a:pt x="22" y="39"/>
                      <a:pt x="24" y="36"/>
                      <a:pt x="24" y="36"/>
                    </a:cubicBezTo>
                    <a:cubicBezTo>
                      <a:pt x="19" y="34"/>
                      <a:pt x="5" y="31"/>
                      <a:pt x="5" y="26"/>
                    </a:cubicBezTo>
                    <a:cubicBezTo>
                      <a:pt x="5" y="21"/>
                      <a:pt x="11" y="22"/>
                      <a:pt x="15" y="22"/>
                    </a:cubicBezTo>
                    <a:cubicBezTo>
                      <a:pt x="21" y="22"/>
                      <a:pt x="23" y="25"/>
                      <a:pt x="27" y="25"/>
                    </a:cubicBezTo>
                    <a:cubicBezTo>
                      <a:pt x="30" y="25"/>
                      <a:pt x="30" y="22"/>
                      <a:pt x="32" y="20"/>
                    </a:cubicBezTo>
                    <a:cubicBezTo>
                      <a:pt x="27" y="18"/>
                      <a:pt x="22" y="20"/>
                      <a:pt x="19" y="20"/>
                    </a:cubicBezTo>
                    <a:cubicBezTo>
                      <a:pt x="18" y="20"/>
                      <a:pt x="14" y="14"/>
                      <a:pt x="14" y="13"/>
                    </a:cubicBezTo>
                    <a:cubicBezTo>
                      <a:pt x="19" y="10"/>
                      <a:pt x="23" y="8"/>
                      <a:pt x="30" y="9"/>
                    </a:cubicBezTo>
                    <a:cubicBezTo>
                      <a:pt x="38" y="9"/>
                      <a:pt x="38" y="9"/>
                      <a:pt x="38" y="9"/>
                    </a:cubicBezTo>
                    <a:cubicBezTo>
                      <a:pt x="33" y="7"/>
                      <a:pt x="25" y="6"/>
                      <a:pt x="25" y="0"/>
                    </a:cubicBezTo>
                    <a:cubicBezTo>
                      <a:pt x="36" y="1"/>
                      <a:pt x="45" y="2"/>
                      <a:pt x="53" y="5"/>
                    </a:cubicBezTo>
                    <a:cubicBezTo>
                      <a:pt x="61" y="9"/>
                      <a:pt x="60" y="21"/>
                      <a:pt x="67" y="24"/>
                    </a:cubicBezTo>
                    <a:cubicBezTo>
                      <a:pt x="73" y="27"/>
                      <a:pt x="78" y="22"/>
                      <a:pt x="84" y="25"/>
                    </a:cubicBezTo>
                    <a:cubicBezTo>
                      <a:pt x="91" y="28"/>
                      <a:pt x="88" y="33"/>
                      <a:pt x="92" y="37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53" name="Полилиния 77">
                <a:extLst>
                  <a:ext uri="{FF2B5EF4-FFF2-40B4-BE49-F238E27FC236}">
                    <a16:creationId xmlns:a16="http://schemas.microsoft.com/office/drawing/2014/main" xmlns="" id="{A3CB7A42-70C3-67C4-03D1-0D60D8C99C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5763" y="1574800"/>
                <a:ext cx="117475" cy="74613"/>
              </a:xfrm>
              <a:custGeom>
                <a:avLst/>
                <a:gdLst/>
                <a:ahLst/>
                <a:cxnLst>
                  <a:cxn ang="0">
                    <a:pos x="6" y="39"/>
                  </a:cxn>
                  <a:cxn ang="0">
                    <a:pos x="11" y="33"/>
                  </a:cxn>
                  <a:cxn ang="0">
                    <a:pos x="11" y="27"/>
                  </a:cxn>
                  <a:cxn ang="0">
                    <a:pos x="25" y="0"/>
                  </a:cxn>
                  <a:cxn ang="0">
                    <a:pos x="32" y="13"/>
                  </a:cxn>
                  <a:cxn ang="0">
                    <a:pos x="36" y="9"/>
                  </a:cxn>
                  <a:cxn ang="0">
                    <a:pos x="67" y="27"/>
                  </a:cxn>
                  <a:cxn ang="0">
                    <a:pos x="70" y="35"/>
                  </a:cxn>
                  <a:cxn ang="0">
                    <a:pos x="89" y="43"/>
                  </a:cxn>
                  <a:cxn ang="0">
                    <a:pos x="75" y="48"/>
                  </a:cxn>
                  <a:cxn ang="0">
                    <a:pos x="63" y="48"/>
                  </a:cxn>
                  <a:cxn ang="0">
                    <a:pos x="46" y="37"/>
                  </a:cxn>
                  <a:cxn ang="0">
                    <a:pos x="25" y="53"/>
                  </a:cxn>
                  <a:cxn ang="0">
                    <a:pos x="22" y="57"/>
                  </a:cxn>
                  <a:cxn ang="0">
                    <a:pos x="19" y="48"/>
                  </a:cxn>
                  <a:cxn ang="0">
                    <a:pos x="0" y="48"/>
                  </a:cxn>
                  <a:cxn ang="0">
                    <a:pos x="6" y="39"/>
                  </a:cxn>
                </a:cxnLst>
                <a:rect l="0" t="0" r="r" b="b"/>
                <a:pathLst>
                  <a:path w="89" h="57">
                    <a:moveTo>
                      <a:pt x="6" y="39"/>
                    </a:moveTo>
                    <a:cubicBezTo>
                      <a:pt x="9" y="37"/>
                      <a:pt x="11" y="36"/>
                      <a:pt x="11" y="33"/>
                    </a:cubicBezTo>
                    <a:cubicBezTo>
                      <a:pt x="11" y="29"/>
                      <a:pt x="11" y="31"/>
                      <a:pt x="11" y="27"/>
                    </a:cubicBezTo>
                    <a:cubicBezTo>
                      <a:pt x="11" y="19"/>
                      <a:pt x="13" y="2"/>
                      <a:pt x="25" y="0"/>
                    </a:cubicBezTo>
                    <a:cubicBezTo>
                      <a:pt x="28" y="7"/>
                      <a:pt x="30" y="8"/>
                      <a:pt x="32" y="13"/>
                    </a:cubicBezTo>
                    <a:cubicBezTo>
                      <a:pt x="33" y="11"/>
                      <a:pt x="35" y="10"/>
                      <a:pt x="36" y="9"/>
                    </a:cubicBezTo>
                    <a:cubicBezTo>
                      <a:pt x="45" y="21"/>
                      <a:pt x="59" y="16"/>
                      <a:pt x="67" y="27"/>
                    </a:cubicBezTo>
                    <a:cubicBezTo>
                      <a:pt x="69" y="30"/>
                      <a:pt x="68" y="33"/>
                      <a:pt x="70" y="35"/>
                    </a:cubicBezTo>
                    <a:cubicBezTo>
                      <a:pt x="77" y="40"/>
                      <a:pt x="85" y="38"/>
                      <a:pt x="89" y="43"/>
                    </a:cubicBezTo>
                    <a:cubicBezTo>
                      <a:pt x="84" y="46"/>
                      <a:pt x="80" y="48"/>
                      <a:pt x="75" y="48"/>
                    </a:cubicBezTo>
                    <a:cubicBezTo>
                      <a:pt x="69" y="48"/>
                      <a:pt x="67" y="48"/>
                      <a:pt x="63" y="48"/>
                    </a:cubicBezTo>
                    <a:cubicBezTo>
                      <a:pt x="63" y="48"/>
                      <a:pt x="49" y="38"/>
                      <a:pt x="46" y="37"/>
                    </a:cubicBezTo>
                    <a:cubicBezTo>
                      <a:pt x="46" y="47"/>
                      <a:pt x="31" y="56"/>
                      <a:pt x="25" y="53"/>
                    </a:cubicBezTo>
                    <a:cubicBezTo>
                      <a:pt x="24" y="55"/>
                      <a:pt x="24" y="57"/>
                      <a:pt x="22" y="57"/>
                    </a:cubicBezTo>
                    <a:cubicBezTo>
                      <a:pt x="16" y="57"/>
                      <a:pt x="18" y="52"/>
                      <a:pt x="19" y="48"/>
                    </a:cubicBezTo>
                    <a:cubicBezTo>
                      <a:pt x="12" y="46"/>
                      <a:pt x="3" y="48"/>
                      <a:pt x="0" y="48"/>
                    </a:cubicBezTo>
                    <a:cubicBezTo>
                      <a:pt x="0" y="40"/>
                      <a:pt x="5" y="41"/>
                      <a:pt x="6" y="39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54" name="Полилиния 78">
                <a:extLst>
                  <a:ext uri="{FF2B5EF4-FFF2-40B4-BE49-F238E27FC236}">
                    <a16:creationId xmlns:a16="http://schemas.microsoft.com/office/drawing/2014/main" xmlns="" id="{0A3C369E-29D8-BD9D-EC32-97F545077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4038" y="1500188"/>
                <a:ext cx="36513" cy="36513"/>
              </a:xfrm>
              <a:custGeom>
                <a:avLst/>
                <a:gdLst/>
                <a:ahLst/>
                <a:cxnLst>
                  <a:cxn ang="0">
                    <a:pos x="27" y="18"/>
                  </a:cxn>
                  <a:cxn ang="0">
                    <a:pos x="11" y="28"/>
                  </a:cxn>
                  <a:cxn ang="0">
                    <a:pos x="0" y="18"/>
                  </a:cxn>
                  <a:cxn ang="0">
                    <a:pos x="27" y="18"/>
                  </a:cxn>
                </a:cxnLst>
                <a:rect l="0" t="0" r="r" b="b"/>
                <a:pathLst>
                  <a:path w="27" h="28">
                    <a:moveTo>
                      <a:pt x="27" y="18"/>
                    </a:moveTo>
                    <a:cubicBezTo>
                      <a:pt x="27" y="24"/>
                      <a:pt x="16" y="28"/>
                      <a:pt x="11" y="28"/>
                    </a:cubicBezTo>
                    <a:cubicBezTo>
                      <a:pt x="4" y="28"/>
                      <a:pt x="0" y="23"/>
                      <a:pt x="0" y="18"/>
                    </a:cubicBezTo>
                    <a:cubicBezTo>
                      <a:pt x="0" y="0"/>
                      <a:pt x="27" y="3"/>
                      <a:pt x="27" y="18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55" name="Полилиния 79">
                <a:extLst>
                  <a:ext uri="{FF2B5EF4-FFF2-40B4-BE49-F238E27FC236}">
                    <a16:creationId xmlns:a16="http://schemas.microsoft.com/office/drawing/2014/main" xmlns="" id="{9EC67E9C-202C-A933-4B38-64DD548B6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1652588"/>
                <a:ext cx="30163" cy="23813"/>
              </a:xfrm>
              <a:custGeom>
                <a:avLst/>
                <a:gdLst/>
                <a:ahLst/>
                <a:cxnLst>
                  <a:cxn ang="0">
                    <a:pos x="10" y="1"/>
                  </a:cxn>
                  <a:cxn ang="0">
                    <a:pos x="22" y="3"/>
                  </a:cxn>
                  <a:cxn ang="0">
                    <a:pos x="0" y="18"/>
                  </a:cxn>
                  <a:cxn ang="0">
                    <a:pos x="0" y="12"/>
                  </a:cxn>
                  <a:cxn ang="0">
                    <a:pos x="10" y="1"/>
                  </a:cxn>
                </a:cxnLst>
                <a:rect l="0" t="0" r="r" b="b"/>
                <a:pathLst>
                  <a:path w="22" h="18">
                    <a:moveTo>
                      <a:pt x="10" y="1"/>
                    </a:moveTo>
                    <a:cubicBezTo>
                      <a:pt x="19" y="0"/>
                      <a:pt x="17" y="0"/>
                      <a:pt x="22" y="3"/>
                    </a:cubicBezTo>
                    <a:cubicBezTo>
                      <a:pt x="18" y="8"/>
                      <a:pt x="7" y="17"/>
                      <a:pt x="0" y="1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7"/>
                      <a:pt x="9" y="4"/>
                      <a:pt x="10" y="1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56" name="Полилиния 80">
                <a:extLst>
                  <a:ext uri="{FF2B5EF4-FFF2-40B4-BE49-F238E27FC236}">
                    <a16:creationId xmlns:a16="http://schemas.microsoft.com/office/drawing/2014/main" xmlns="" id="{637C9EAE-7E84-2A36-1031-8D421ABEE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125" y="1336675"/>
                <a:ext cx="79375" cy="33338"/>
              </a:xfrm>
              <a:custGeom>
                <a:avLst/>
                <a:gdLst/>
                <a:ahLst/>
                <a:cxnLst>
                  <a:cxn ang="0">
                    <a:pos x="22" y="25"/>
                  </a:cxn>
                  <a:cxn ang="0">
                    <a:pos x="9" y="16"/>
                  </a:cxn>
                  <a:cxn ang="0">
                    <a:pos x="0" y="6"/>
                  </a:cxn>
                  <a:cxn ang="0">
                    <a:pos x="8" y="0"/>
                  </a:cxn>
                  <a:cxn ang="0">
                    <a:pos x="30" y="3"/>
                  </a:cxn>
                  <a:cxn ang="0">
                    <a:pos x="60" y="17"/>
                  </a:cxn>
                  <a:cxn ang="0">
                    <a:pos x="52" y="24"/>
                  </a:cxn>
                  <a:cxn ang="0">
                    <a:pos x="39" y="21"/>
                  </a:cxn>
                  <a:cxn ang="0">
                    <a:pos x="22" y="25"/>
                  </a:cxn>
                </a:cxnLst>
                <a:rect l="0" t="0" r="r" b="b"/>
                <a:pathLst>
                  <a:path w="60" h="25">
                    <a:moveTo>
                      <a:pt x="22" y="25"/>
                    </a:moveTo>
                    <a:cubicBezTo>
                      <a:pt x="14" y="25"/>
                      <a:pt x="6" y="23"/>
                      <a:pt x="9" y="16"/>
                    </a:cubicBezTo>
                    <a:cubicBezTo>
                      <a:pt x="5" y="13"/>
                      <a:pt x="0" y="11"/>
                      <a:pt x="0" y="6"/>
                    </a:cubicBezTo>
                    <a:cubicBezTo>
                      <a:pt x="0" y="2"/>
                      <a:pt x="4" y="0"/>
                      <a:pt x="8" y="0"/>
                    </a:cubicBezTo>
                    <a:cubicBezTo>
                      <a:pt x="18" y="0"/>
                      <a:pt x="21" y="3"/>
                      <a:pt x="30" y="3"/>
                    </a:cubicBezTo>
                    <a:cubicBezTo>
                      <a:pt x="42" y="3"/>
                      <a:pt x="52" y="13"/>
                      <a:pt x="60" y="17"/>
                    </a:cubicBezTo>
                    <a:cubicBezTo>
                      <a:pt x="59" y="21"/>
                      <a:pt x="56" y="24"/>
                      <a:pt x="52" y="24"/>
                    </a:cubicBezTo>
                    <a:cubicBezTo>
                      <a:pt x="46" y="24"/>
                      <a:pt x="44" y="21"/>
                      <a:pt x="39" y="21"/>
                    </a:cubicBezTo>
                    <a:cubicBezTo>
                      <a:pt x="34" y="21"/>
                      <a:pt x="30" y="25"/>
                      <a:pt x="22" y="25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57" name="Полилиния 81">
                <a:extLst>
                  <a:ext uri="{FF2B5EF4-FFF2-40B4-BE49-F238E27FC236}">
                    <a16:creationId xmlns:a16="http://schemas.microsoft.com/office/drawing/2014/main" xmlns="" id="{94227E73-BF3D-896C-52F2-633C512DB1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0063" y="1666875"/>
                <a:ext cx="17463" cy="20638"/>
              </a:xfrm>
              <a:custGeom>
                <a:avLst/>
                <a:gdLst/>
                <a:ahLst/>
                <a:cxnLst>
                  <a:cxn ang="0">
                    <a:pos x="14" y="6"/>
                  </a:cxn>
                  <a:cxn ang="0">
                    <a:pos x="6" y="15"/>
                  </a:cxn>
                  <a:cxn ang="0">
                    <a:pos x="0" y="9"/>
                  </a:cxn>
                  <a:cxn ang="0">
                    <a:pos x="14" y="6"/>
                  </a:cxn>
                </a:cxnLst>
                <a:rect l="0" t="0" r="r" b="b"/>
                <a:pathLst>
                  <a:path w="14" h="15">
                    <a:moveTo>
                      <a:pt x="14" y="6"/>
                    </a:moveTo>
                    <a:cubicBezTo>
                      <a:pt x="12" y="9"/>
                      <a:pt x="11" y="15"/>
                      <a:pt x="6" y="15"/>
                    </a:cubicBezTo>
                    <a:cubicBezTo>
                      <a:pt x="5" y="15"/>
                      <a:pt x="0" y="9"/>
                      <a:pt x="0" y="9"/>
                    </a:cubicBezTo>
                    <a:cubicBezTo>
                      <a:pt x="0" y="1"/>
                      <a:pt x="10" y="0"/>
                      <a:pt x="14" y="6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58" name="Полилиния 82">
                <a:extLst>
                  <a:ext uri="{FF2B5EF4-FFF2-40B4-BE49-F238E27FC236}">
                    <a16:creationId xmlns:a16="http://schemas.microsoft.com/office/drawing/2014/main" xmlns="" id="{529CE223-0477-34E6-A42A-B716F9BFC9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6900" y="1509713"/>
                <a:ext cx="19050" cy="11113"/>
              </a:xfrm>
              <a:custGeom>
                <a:avLst/>
                <a:gdLst/>
                <a:ahLst/>
                <a:cxnLst>
                  <a:cxn ang="0">
                    <a:pos x="5" y="8"/>
                  </a:cxn>
                  <a:cxn ang="0">
                    <a:pos x="0" y="4"/>
                  </a:cxn>
                  <a:cxn ang="0">
                    <a:pos x="5" y="0"/>
                  </a:cxn>
                  <a:cxn ang="0">
                    <a:pos x="14" y="7"/>
                  </a:cxn>
                  <a:cxn ang="0">
                    <a:pos x="5" y="8"/>
                  </a:cxn>
                </a:cxnLst>
                <a:rect l="0" t="0" r="r" b="b"/>
                <a:pathLst>
                  <a:path w="14" h="8">
                    <a:moveTo>
                      <a:pt x="5" y="8"/>
                    </a:moveTo>
                    <a:cubicBezTo>
                      <a:pt x="2" y="8"/>
                      <a:pt x="0" y="7"/>
                      <a:pt x="0" y="4"/>
                    </a:cubicBezTo>
                    <a:cubicBezTo>
                      <a:pt x="0" y="3"/>
                      <a:pt x="4" y="0"/>
                      <a:pt x="5" y="0"/>
                    </a:cubicBezTo>
                    <a:cubicBezTo>
                      <a:pt x="9" y="0"/>
                      <a:pt x="13" y="5"/>
                      <a:pt x="14" y="7"/>
                    </a:cubicBezTo>
                    <a:cubicBezTo>
                      <a:pt x="8" y="8"/>
                      <a:pt x="10" y="8"/>
                      <a:pt x="5" y="8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59" name="Полилиния 83">
                <a:extLst>
                  <a:ext uri="{FF2B5EF4-FFF2-40B4-BE49-F238E27FC236}">
                    <a16:creationId xmlns:a16="http://schemas.microsoft.com/office/drawing/2014/main" xmlns="" id="{34061DCF-A6F1-8318-7EDE-C42D91CA1A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2763" y="1476375"/>
                <a:ext cx="20638" cy="12700"/>
              </a:xfrm>
              <a:custGeom>
                <a:avLst/>
                <a:gdLst/>
                <a:ahLst/>
                <a:cxnLst>
                  <a:cxn ang="0">
                    <a:pos x="5" y="10"/>
                  </a:cxn>
                  <a:cxn ang="0">
                    <a:pos x="15" y="0"/>
                  </a:cxn>
                  <a:cxn ang="0">
                    <a:pos x="5" y="10"/>
                  </a:cxn>
                </a:cxnLst>
                <a:rect l="0" t="0" r="r" b="b"/>
                <a:pathLst>
                  <a:path w="15" h="10">
                    <a:moveTo>
                      <a:pt x="5" y="10"/>
                    </a:moveTo>
                    <a:cubicBezTo>
                      <a:pt x="0" y="10"/>
                      <a:pt x="10" y="0"/>
                      <a:pt x="15" y="0"/>
                    </a:cubicBezTo>
                    <a:cubicBezTo>
                      <a:pt x="14" y="6"/>
                      <a:pt x="10" y="10"/>
                      <a:pt x="5" y="1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60" name="Полилиния 84">
                <a:extLst>
                  <a:ext uri="{FF2B5EF4-FFF2-40B4-BE49-F238E27FC236}">
                    <a16:creationId xmlns:a16="http://schemas.microsoft.com/office/drawing/2014/main" xmlns="" id="{C7D3585F-1DE2-3926-FD47-FF0EC4440C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550" y="1335088"/>
                <a:ext cx="482600" cy="347663"/>
              </a:xfrm>
              <a:custGeom>
                <a:avLst/>
                <a:gdLst/>
                <a:ahLst/>
                <a:cxnLst>
                  <a:cxn ang="0">
                    <a:pos x="333" y="196"/>
                  </a:cxn>
                  <a:cxn ang="0">
                    <a:pos x="281" y="171"/>
                  </a:cxn>
                  <a:cxn ang="0">
                    <a:pos x="289" y="177"/>
                  </a:cxn>
                  <a:cxn ang="0">
                    <a:pos x="283" y="184"/>
                  </a:cxn>
                  <a:cxn ang="0">
                    <a:pos x="298" y="201"/>
                  </a:cxn>
                  <a:cxn ang="0">
                    <a:pos x="318" y="206"/>
                  </a:cxn>
                  <a:cxn ang="0">
                    <a:pos x="326" y="225"/>
                  </a:cxn>
                  <a:cxn ang="0">
                    <a:pos x="278" y="225"/>
                  </a:cxn>
                  <a:cxn ang="0">
                    <a:pos x="304" y="256"/>
                  </a:cxn>
                  <a:cxn ang="0">
                    <a:pos x="295" y="256"/>
                  </a:cxn>
                  <a:cxn ang="0">
                    <a:pos x="233" y="226"/>
                  </a:cxn>
                  <a:cxn ang="0">
                    <a:pos x="190" y="210"/>
                  </a:cxn>
                  <a:cxn ang="0">
                    <a:pos x="169" y="214"/>
                  </a:cxn>
                  <a:cxn ang="0">
                    <a:pos x="168" y="189"/>
                  </a:cxn>
                  <a:cxn ang="0">
                    <a:pos x="207" y="183"/>
                  </a:cxn>
                  <a:cxn ang="0">
                    <a:pos x="210" y="167"/>
                  </a:cxn>
                  <a:cxn ang="0">
                    <a:pos x="186" y="115"/>
                  </a:cxn>
                  <a:cxn ang="0">
                    <a:pos x="168" y="115"/>
                  </a:cxn>
                  <a:cxn ang="0">
                    <a:pos x="146" y="85"/>
                  </a:cxn>
                  <a:cxn ang="0">
                    <a:pos x="122" y="91"/>
                  </a:cxn>
                  <a:cxn ang="0">
                    <a:pos x="41" y="82"/>
                  </a:cxn>
                  <a:cxn ang="0">
                    <a:pos x="11" y="69"/>
                  </a:cxn>
                  <a:cxn ang="0">
                    <a:pos x="30" y="65"/>
                  </a:cxn>
                  <a:cxn ang="0">
                    <a:pos x="0" y="48"/>
                  </a:cxn>
                  <a:cxn ang="0">
                    <a:pos x="11" y="16"/>
                  </a:cxn>
                  <a:cxn ang="0">
                    <a:pos x="61" y="4"/>
                  </a:cxn>
                  <a:cxn ang="0">
                    <a:pos x="46" y="32"/>
                  </a:cxn>
                  <a:cxn ang="0">
                    <a:pos x="50" y="47"/>
                  </a:cxn>
                  <a:cxn ang="0">
                    <a:pos x="55" y="26"/>
                  </a:cxn>
                  <a:cxn ang="0">
                    <a:pos x="120" y="29"/>
                  </a:cxn>
                  <a:cxn ang="0">
                    <a:pos x="128" y="34"/>
                  </a:cxn>
                  <a:cxn ang="0">
                    <a:pos x="156" y="27"/>
                  </a:cxn>
                  <a:cxn ang="0">
                    <a:pos x="217" y="56"/>
                  </a:cxn>
                  <a:cxn ang="0">
                    <a:pos x="242" y="65"/>
                  </a:cxn>
                  <a:cxn ang="0">
                    <a:pos x="273" y="85"/>
                  </a:cxn>
                  <a:cxn ang="0">
                    <a:pos x="293" y="95"/>
                  </a:cxn>
                  <a:cxn ang="0">
                    <a:pos x="291" y="102"/>
                  </a:cxn>
                  <a:cxn ang="0">
                    <a:pos x="283" y="116"/>
                  </a:cxn>
                  <a:cxn ang="0">
                    <a:pos x="317" y="135"/>
                  </a:cxn>
                  <a:cxn ang="0">
                    <a:pos x="342" y="153"/>
                  </a:cxn>
                  <a:cxn ang="0">
                    <a:pos x="362" y="165"/>
                  </a:cxn>
                  <a:cxn ang="0">
                    <a:pos x="349" y="178"/>
                  </a:cxn>
                </a:cxnLst>
                <a:rect l="0" t="0" r="r" b="b"/>
                <a:pathLst>
                  <a:path w="362" h="261">
                    <a:moveTo>
                      <a:pt x="339" y="184"/>
                    </a:moveTo>
                    <a:cubicBezTo>
                      <a:pt x="339" y="189"/>
                      <a:pt x="338" y="196"/>
                      <a:pt x="333" y="196"/>
                    </a:cubicBezTo>
                    <a:cubicBezTo>
                      <a:pt x="311" y="196"/>
                      <a:pt x="311" y="166"/>
                      <a:pt x="289" y="166"/>
                    </a:cubicBezTo>
                    <a:cubicBezTo>
                      <a:pt x="287" y="166"/>
                      <a:pt x="281" y="171"/>
                      <a:pt x="281" y="171"/>
                    </a:cubicBezTo>
                    <a:cubicBezTo>
                      <a:pt x="284" y="173"/>
                      <a:pt x="285" y="173"/>
                      <a:pt x="289" y="172"/>
                    </a:cubicBezTo>
                    <a:cubicBezTo>
                      <a:pt x="289" y="177"/>
                      <a:pt x="289" y="177"/>
                      <a:pt x="289" y="177"/>
                    </a:cubicBezTo>
                    <a:cubicBezTo>
                      <a:pt x="287" y="178"/>
                      <a:pt x="284" y="178"/>
                      <a:pt x="283" y="177"/>
                    </a:cubicBezTo>
                    <a:cubicBezTo>
                      <a:pt x="283" y="184"/>
                      <a:pt x="283" y="184"/>
                      <a:pt x="283" y="184"/>
                    </a:cubicBezTo>
                    <a:cubicBezTo>
                      <a:pt x="288" y="184"/>
                      <a:pt x="288" y="184"/>
                      <a:pt x="288" y="184"/>
                    </a:cubicBezTo>
                    <a:cubicBezTo>
                      <a:pt x="289" y="189"/>
                      <a:pt x="295" y="199"/>
                      <a:pt x="298" y="201"/>
                    </a:cubicBezTo>
                    <a:cubicBezTo>
                      <a:pt x="307" y="204"/>
                      <a:pt x="310" y="198"/>
                      <a:pt x="311" y="206"/>
                    </a:cubicBezTo>
                    <a:cubicBezTo>
                      <a:pt x="315" y="206"/>
                      <a:pt x="315" y="206"/>
                      <a:pt x="318" y="206"/>
                    </a:cubicBezTo>
                    <a:cubicBezTo>
                      <a:pt x="318" y="213"/>
                      <a:pt x="318" y="213"/>
                      <a:pt x="318" y="215"/>
                    </a:cubicBezTo>
                    <a:cubicBezTo>
                      <a:pt x="318" y="218"/>
                      <a:pt x="326" y="220"/>
                      <a:pt x="326" y="225"/>
                    </a:cubicBezTo>
                    <a:cubicBezTo>
                      <a:pt x="326" y="229"/>
                      <a:pt x="321" y="238"/>
                      <a:pt x="319" y="242"/>
                    </a:cubicBezTo>
                    <a:cubicBezTo>
                      <a:pt x="311" y="242"/>
                      <a:pt x="283" y="231"/>
                      <a:pt x="278" y="225"/>
                    </a:cubicBezTo>
                    <a:cubicBezTo>
                      <a:pt x="272" y="225"/>
                      <a:pt x="272" y="225"/>
                      <a:pt x="272" y="225"/>
                    </a:cubicBezTo>
                    <a:cubicBezTo>
                      <a:pt x="279" y="234"/>
                      <a:pt x="304" y="243"/>
                      <a:pt x="304" y="256"/>
                    </a:cubicBezTo>
                    <a:cubicBezTo>
                      <a:pt x="304" y="259"/>
                      <a:pt x="301" y="261"/>
                      <a:pt x="299" y="261"/>
                    </a:cubicBezTo>
                    <a:cubicBezTo>
                      <a:pt x="297" y="261"/>
                      <a:pt x="296" y="256"/>
                      <a:pt x="295" y="256"/>
                    </a:cubicBezTo>
                    <a:cubicBezTo>
                      <a:pt x="282" y="249"/>
                      <a:pt x="274" y="252"/>
                      <a:pt x="263" y="245"/>
                    </a:cubicBezTo>
                    <a:cubicBezTo>
                      <a:pt x="252" y="239"/>
                      <a:pt x="226" y="240"/>
                      <a:pt x="233" y="226"/>
                    </a:cubicBezTo>
                    <a:cubicBezTo>
                      <a:pt x="219" y="219"/>
                      <a:pt x="212" y="211"/>
                      <a:pt x="199" y="204"/>
                    </a:cubicBezTo>
                    <a:cubicBezTo>
                      <a:pt x="197" y="207"/>
                      <a:pt x="194" y="210"/>
                      <a:pt x="190" y="210"/>
                    </a:cubicBezTo>
                    <a:cubicBezTo>
                      <a:pt x="186" y="210"/>
                      <a:pt x="187" y="207"/>
                      <a:pt x="183" y="207"/>
                    </a:cubicBezTo>
                    <a:cubicBezTo>
                      <a:pt x="177" y="207"/>
                      <a:pt x="175" y="214"/>
                      <a:pt x="169" y="214"/>
                    </a:cubicBezTo>
                    <a:cubicBezTo>
                      <a:pt x="165" y="214"/>
                      <a:pt x="150" y="208"/>
                      <a:pt x="150" y="201"/>
                    </a:cubicBezTo>
                    <a:cubicBezTo>
                      <a:pt x="150" y="197"/>
                      <a:pt x="162" y="189"/>
                      <a:pt x="168" y="189"/>
                    </a:cubicBezTo>
                    <a:cubicBezTo>
                      <a:pt x="176" y="189"/>
                      <a:pt x="183" y="189"/>
                      <a:pt x="187" y="189"/>
                    </a:cubicBezTo>
                    <a:cubicBezTo>
                      <a:pt x="191" y="189"/>
                      <a:pt x="202" y="187"/>
                      <a:pt x="207" y="183"/>
                    </a:cubicBezTo>
                    <a:cubicBezTo>
                      <a:pt x="205" y="182"/>
                      <a:pt x="199" y="178"/>
                      <a:pt x="199" y="174"/>
                    </a:cubicBezTo>
                    <a:cubicBezTo>
                      <a:pt x="199" y="167"/>
                      <a:pt x="207" y="171"/>
                      <a:pt x="210" y="167"/>
                    </a:cubicBezTo>
                    <a:cubicBezTo>
                      <a:pt x="214" y="163"/>
                      <a:pt x="223" y="154"/>
                      <a:pt x="223" y="148"/>
                    </a:cubicBezTo>
                    <a:cubicBezTo>
                      <a:pt x="223" y="136"/>
                      <a:pt x="195" y="115"/>
                      <a:pt x="186" y="115"/>
                    </a:cubicBezTo>
                    <a:cubicBezTo>
                      <a:pt x="180" y="115"/>
                      <a:pt x="177" y="120"/>
                      <a:pt x="172" y="120"/>
                    </a:cubicBezTo>
                    <a:cubicBezTo>
                      <a:pt x="170" y="120"/>
                      <a:pt x="168" y="115"/>
                      <a:pt x="168" y="115"/>
                    </a:cubicBezTo>
                    <a:cubicBezTo>
                      <a:pt x="168" y="110"/>
                      <a:pt x="176" y="109"/>
                      <a:pt x="179" y="109"/>
                    </a:cubicBezTo>
                    <a:cubicBezTo>
                      <a:pt x="175" y="105"/>
                      <a:pt x="151" y="85"/>
                      <a:pt x="146" y="85"/>
                    </a:cubicBezTo>
                    <a:cubicBezTo>
                      <a:pt x="140" y="85"/>
                      <a:pt x="133" y="101"/>
                      <a:pt x="125" y="101"/>
                    </a:cubicBezTo>
                    <a:cubicBezTo>
                      <a:pt x="120" y="101"/>
                      <a:pt x="121" y="94"/>
                      <a:pt x="122" y="91"/>
                    </a:cubicBezTo>
                    <a:cubicBezTo>
                      <a:pt x="108" y="90"/>
                      <a:pt x="75" y="91"/>
                      <a:pt x="55" y="91"/>
                    </a:cubicBezTo>
                    <a:cubicBezTo>
                      <a:pt x="51" y="91"/>
                      <a:pt x="44" y="86"/>
                      <a:pt x="41" y="82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18" y="76"/>
                      <a:pt x="11" y="75"/>
                      <a:pt x="11" y="69"/>
                    </a:cubicBezTo>
                    <a:cubicBezTo>
                      <a:pt x="16" y="67"/>
                      <a:pt x="23" y="70"/>
                      <a:pt x="30" y="70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26" y="62"/>
                      <a:pt x="6" y="60"/>
                      <a:pt x="6" y="60"/>
                    </a:cubicBezTo>
                    <a:cubicBezTo>
                      <a:pt x="6" y="60"/>
                      <a:pt x="0" y="52"/>
                      <a:pt x="0" y="48"/>
                    </a:cubicBezTo>
                    <a:cubicBezTo>
                      <a:pt x="0" y="36"/>
                      <a:pt x="2" y="33"/>
                      <a:pt x="8" y="29"/>
                    </a:cubicBezTo>
                    <a:cubicBezTo>
                      <a:pt x="12" y="26"/>
                      <a:pt x="10" y="18"/>
                      <a:pt x="11" y="16"/>
                    </a:cubicBezTo>
                    <a:cubicBezTo>
                      <a:pt x="20" y="7"/>
                      <a:pt x="32" y="0"/>
                      <a:pt x="47" y="0"/>
                    </a:cubicBezTo>
                    <a:cubicBezTo>
                      <a:pt x="47" y="0"/>
                      <a:pt x="61" y="4"/>
                      <a:pt x="61" y="4"/>
                    </a:cubicBezTo>
                    <a:cubicBezTo>
                      <a:pt x="57" y="14"/>
                      <a:pt x="42" y="14"/>
                      <a:pt x="42" y="27"/>
                    </a:cubicBezTo>
                    <a:cubicBezTo>
                      <a:pt x="42" y="30"/>
                      <a:pt x="44" y="32"/>
                      <a:pt x="46" y="32"/>
                    </a:cubicBezTo>
                    <a:cubicBezTo>
                      <a:pt x="45" y="35"/>
                      <a:pt x="46" y="40"/>
                      <a:pt x="46" y="40"/>
                    </a:cubicBezTo>
                    <a:cubicBezTo>
                      <a:pt x="46" y="43"/>
                      <a:pt x="45" y="47"/>
                      <a:pt x="50" y="47"/>
                    </a:cubicBezTo>
                    <a:cubicBezTo>
                      <a:pt x="53" y="47"/>
                      <a:pt x="59" y="42"/>
                      <a:pt x="59" y="38"/>
                    </a:cubicBezTo>
                    <a:cubicBezTo>
                      <a:pt x="59" y="34"/>
                      <a:pt x="55" y="31"/>
                      <a:pt x="55" y="26"/>
                    </a:cubicBezTo>
                    <a:cubicBezTo>
                      <a:pt x="55" y="10"/>
                      <a:pt x="84" y="4"/>
                      <a:pt x="102" y="4"/>
                    </a:cubicBezTo>
                    <a:cubicBezTo>
                      <a:pt x="113" y="4"/>
                      <a:pt x="120" y="20"/>
                      <a:pt x="120" y="29"/>
                    </a:cubicBezTo>
                    <a:cubicBezTo>
                      <a:pt x="120" y="31"/>
                      <a:pt x="117" y="38"/>
                      <a:pt x="120" y="38"/>
                    </a:cubicBezTo>
                    <a:cubicBezTo>
                      <a:pt x="122" y="38"/>
                      <a:pt x="124" y="34"/>
                      <a:pt x="128" y="34"/>
                    </a:cubicBezTo>
                    <a:cubicBezTo>
                      <a:pt x="133" y="34"/>
                      <a:pt x="135" y="38"/>
                      <a:pt x="138" y="38"/>
                    </a:cubicBezTo>
                    <a:cubicBezTo>
                      <a:pt x="146" y="38"/>
                      <a:pt x="148" y="27"/>
                      <a:pt x="156" y="27"/>
                    </a:cubicBezTo>
                    <a:cubicBezTo>
                      <a:pt x="165" y="27"/>
                      <a:pt x="183" y="30"/>
                      <a:pt x="189" y="34"/>
                    </a:cubicBezTo>
                    <a:cubicBezTo>
                      <a:pt x="199" y="41"/>
                      <a:pt x="202" y="56"/>
                      <a:pt x="217" y="56"/>
                    </a:cubicBezTo>
                    <a:cubicBezTo>
                      <a:pt x="223" y="56"/>
                      <a:pt x="224" y="56"/>
                      <a:pt x="228" y="56"/>
                    </a:cubicBezTo>
                    <a:cubicBezTo>
                      <a:pt x="232" y="56"/>
                      <a:pt x="243" y="57"/>
                      <a:pt x="242" y="65"/>
                    </a:cubicBezTo>
                    <a:cubicBezTo>
                      <a:pt x="254" y="69"/>
                      <a:pt x="261" y="76"/>
                      <a:pt x="273" y="77"/>
                    </a:cubicBezTo>
                    <a:cubicBezTo>
                      <a:pt x="273" y="85"/>
                      <a:pt x="273" y="85"/>
                      <a:pt x="273" y="85"/>
                    </a:cubicBezTo>
                    <a:cubicBezTo>
                      <a:pt x="276" y="85"/>
                      <a:pt x="281" y="85"/>
                      <a:pt x="281" y="85"/>
                    </a:cubicBezTo>
                    <a:cubicBezTo>
                      <a:pt x="287" y="85"/>
                      <a:pt x="290" y="89"/>
                      <a:pt x="293" y="95"/>
                    </a:cubicBezTo>
                    <a:cubicBezTo>
                      <a:pt x="287" y="96"/>
                      <a:pt x="281" y="96"/>
                      <a:pt x="277" y="101"/>
                    </a:cubicBezTo>
                    <a:cubicBezTo>
                      <a:pt x="285" y="102"/>
                      <a:pt x="287" y="102"/>
                      <a:pt x="291" y="102"/>
                    </a:cubicBezTo>
                    <a:cubicBezTo>
                      <a:pt x="293" y="102"/>
                      <a:pt x="296" y="103"/>
                      <a:pt x="297" y="106"/>
                    </a:cubicBezTo>
                    <a:cubicBezTo>
                      <a:pt x="290" y="110"/>
                      <a:pt x="287" y="110"/>
                      <a:pt x="283" y="116"/>
                    </a:cubicBezTo>
                    <a:cubicBezTo>
                      <a:pt x="287" y="118"/>
                      <a:pt x="289" y="120"/>
                      <a:pt x="295" y="120"/>
                    </a:cubicBezTo>
                    <a:cubicBezTo>
                      <a:pt x="296" y="130"/>
                      <a:pt x="308" y="134"/>
                      <a:pt x="317" y="135"/>
                    </a:cubicBezTo>
                    <a:cubicBezTo>
                      <a:pt x="318" y="143"/>
                      <a:pt x="320" y="151"/>
                      <a:pt x="327" y="151"/>
                    </a:cubicBezTo>
                    <a:cubicBezTo>
                      <a:pt x="337" y="151"/>
                      <a:pt x="339" y="145"/>
                      <a:pt x="342" y="153"/>
                    </a:cubicBezTo>
                    <a:cubicBezTo>
                      <a:pt x="344" y="155"/>
                      <a:pt x="348" y="155"/>
                      <a:pt x="350" y="155"/>
                    </a:cubicBezTo>
                    <a:cubicBezTo>
                      <a:pt x="359" y="155"/>
                      <a:pt x="362" y="158"/>
                      <a:pt x="362" y="165"/>
                    </a:cubicBezTo>
                    <a:cubicBezTo>
                      <a:pt x="362" y="171"/>
                      <a:pt x="355" y="173"/>
                      <a:pt x="349" y="173"/>
                    </a:cubicBezTo>
                    <a:cubicBezTo>
                      <a:pt x="349" y="178"/>
                      <a:pt x="349" y="176"/>
                      <a:pt x="349" y="178"/>
                    </a:cubicBezTo>
                    <a:cubicBezTo>
                      <a:pt x="349" y="180"/>
                      <a:pt x="348" y="184"/>
                      <a:pt x="339" y="184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61" name="Полилиния 85">
                <a:extLst>
                  <a:ext uri="{FF2B5EF4-FFF2-40B4-BE49-F238E27FC236}">
                    <a16:creationId xmlns:a16="http://schemas.microsoft.com/office/drawing/2014/main" xmlns="" id="{62D882DC-92DF-93E7-970E-C6721F7A52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3400" y="1635125"/>
                <a:ext cx="14288" cy="12700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0" y="6"/>
                  </a:cxn>
                  <a:cxn ang="0">
                    <a:pos x="10" y="6"/>
                  </a:cxn>
                </a:cxnLst>
                <a:rect l="0" t="0" r="r" b="b"/>
                <a:pathLst>
                  <a:path w="10" h="9">
                    <a:moveTo>
                      <a:pt x="10" y="6"/>
                    </a:moveTo>
                    <a:cubicBezTo>
                      <a:pt x="6" y="9"/>
                      <a:pt x="5" y="9"/>
                      <a:pt x="0" y="6"/>
                    </a:cubicBezTo>
                    <a:cubicBezTo>
                      <a:pt x="5" y="0"/>
                      <a:pt x="5" y="3"/>
                      <a:pt x="10" y="6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62" name="Полилиния 86">
                <a:extLst>
                  <a:ext uri="{FF2B5EF4-FFF2-40B4-BE49-F238E27FC236}">
                    <a16:creationId xmlns:a16="http://schemas.microsoft.com/office/drawing/2014/main" xmlns="" id="{7053134A-9A71-D576-0021-056372E52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4975" y="1568450"/>
                <a:ext cx="12700" cy="12700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9" y="9"/>
                  </a:cxn>
                  <a:cxn ang="0">
                    <a:pos x="1" y="2"/>
                  </a:cxn>
                </a:cxnLst>
                <a:rect l="0" t="0" r="r" b="b"/>
                <a:pathLst>
                  <a:path w="9" h="9">
                    <a:moveTo>
                      <a:pt x="1" y="2"/>
                    </a:moveTo>
                    <a:cubicBezTo>
                      <a:pt x="6" y="0"/>
                      <a:pt x="6" y="5"/>
                      <a:pt x="9" y="9"/>
                    </a:cubicBezTo>
                    <a:cubicBezTo>
                      <a:pt x="4" y="9"/>
                      <a:pt x="0" y="5"/>
                      <a:pt x="1" y="2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63" name="Полилиния 87">
                <a:extLst>
                  <a:ext uri="{FF2B5EF4-FFF2-40B4-BE49-F238E27FC236}">
                    <a16:creationId xmlns:a16="http://schemas.microsoft.com/office/drawing/2014/main" xmlns="" id="{C4727391-B0EA-08AA-2E9D-855226EF8D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7975" y="985838"/>
                <a:ext cx="514350" cy="269875"/>
              </a:xfrm>
              <a:custGeom>
                <a:avLst/>
                <a:gdLst/>
                <a:ahLst/>
                <a:cxnLst>
                  <a:cxn ang="0">
                    <a:pos x="307" y="16"/>
                  </a:cxn>
                  <a:cxn ang="0">
                    <a:pos x="350" y="9"/>
                  </a:cxn>
                  <a:cxn ang="0">
                    <a:pos x="386" y="28"/>
                  </a:cxn>
                  <a:cxn ang="0">
                    <a:pos x="313" y="51"/>
                  </a:cxn>
                  <a:cxn ang="0">
                    <a:pos x="295" y="74"/>
                  </a:cxn>
                  <a:cxn ang="0">
                    <a:pos x="231" y="108"/>
                  </a:cxn>
                  <a:cxn ang="0">
                    <a:pos x="216" y="118"/>
                  </a:cxn>
                  <a:cxn ang="0">
                    <a:pos x="216" y="137"/>
                  </a:cxn>
                  <a:cxn ang="0">
                    <a:pos x="174" y="157"/>
                  </a:cxn>
                  <a:cxn ang="0">
                    <a:pos x="158" y="184"/>
                  </a:cxn>
                  <a:cxn ang="0">
                    <a:pos x="176" y="188"/>
                  </a:cxn>
                  <a:cxn ang="0">
                    <a:pos x="126" y="197"/>
                  </a:cxn>
                  <a:cxn ang="0">
                    <a:pos x="80" y="201"/>
                  </a:cxn>
                  <a:cxn ang="0">
                    <a:pos x="33" y="197"/>
                  </a:cxn>
                  <a:cxn ang="0">
                    <a:pos x="60" y="176"/>
                  </a:cxn>
                  <a:cxn ang="0">
                    <a:pos x="57" y="158"/>
                  </a:cxn>
                  <a:cxn ang="0">
                    <a:pos x="92" y="170"/>
                  </a:cxn>
                  <a:cxn ang="0">
                    <a:pos x="66" y="148"/>
                  </a:cxn>
                  <a:cxn ang="0">
                    <a:pos x="55" y="151"/>
                  </a:cxn>
                  <a:cxn ang="0">
                    <a:pos x="68" y="131"/>
                  </a:cxn>
                  <a:cxn ang="0">
                    <a:pos x="62" y="97"/>
                  </a:cxn>
                  <a:cxn ang="0">
                    <a:pos x="67" y="89"/>
                  </a:cxn>
                  <a:cxn ang="0">
                    <a:pos x="97" y="90"/>
                  </a:cxn>
                  <a:cxn ang="0">
                    <a:pos x="108" y="91"/>
                  </a:cxn>
                  <a:cxn ang="0">
                    <a:pos x="133" y="86"/>
                  </a:cxn>
                  <a:cxn ang="0">
                    <a:pos x="147" y="74"/>
                  </a:cxn>
                  <a:cxn ang="0">
                    <a:pos x="99" y="81"/>
                  </a:cxn>
                  <a:cxn ang="0">
                    <a:pos x="72" y="76"/>
                  </a:cxn>
                  <a:cxn ang="0">
                    <a:pos x="57" y="81"/>
                  </a:cxn>
                  <a:cxn ang="0">
                    <a:pos x="44" y="67"/>
                  </a:cxn>
                  <a:cxn ang="0">
                    <a:pos x="51" y="53"/>
                  </a:cxn>
                  <a:cxn ang="0">
                    <a:pos x="25" y="60"/>
                  </a:cxn>
                  <a:cxn ang="0">
                    <a:pos x="29" y="49"/>
                  </a:cxn>
                  <a:cxn ang="0">
                    <a:pos x="9" y="52"/>
                  </a:cxn>
                  <a:cxn ang="0">
                    <a:pos x="44" y="36"/>
                  </a:cxn>
                  <a:cxn ang="0">
                    <a:pos x="57" y="32"/>
                  </a:cxn>
                  <a:cxn ang="0">
                    <a:pos x="104" y="32"/>
                  </a:cxn>
                  <a:cxn ang="0">
                    <a:pos x="135" y="11"/>
                  </a:cxn>
                  <a:cxn ang="0">
                    <a:pos x="196" y="6"/>
                  </a:cxn>
                  <a:cxn ang="0">
                    <a:pos x="218" y="8"/>
                  </a:cxn>
                  <a:cxn ang="0">
                    <a:pos x="245" y="3"/>
                  </a:cxn>
                  <a:cxn ang="0">
                    <a:pos x="315" y="11"/>
                  </a:cxn>
                </a:cxnLst>
                <a:rect l="0" t="0" r="r" b="b"/>
                <a:pathLst>
                  <a:path w="386" h="203">
                    <a:moveTo>
                      <a:pt x="315" y="11"/>
                    </a:moveTo>
                    <a:cubicBezTo>
                      <a:pt x="312" y="14"/>
                      <a:pt x="310" y="15"/>
                      <a:pt x="307" y="16"/>
                    </a:cubicBezTo>
                    <a:cubicBezTo>
                      <a:pt x="342" y="6"/>
                      <a:pt x="342" y="6"/>
                      <a:pt x="342" y="6"/>
                    </a:cubicBezTo>
                    <a:cubicBezTo>
                      <a:pt x="345" y="7"/>
                      <a:pt x="347" y="8"/>
                      <a:pt x="350" y="9"/>
                    </a:cubicBezTo>
                    <a:cubicBezTo>
                      <a:pt x="355" y="11"/>
                      <a:pt x="355" y="14"/>
                      <a:pt x="358" y="17"/>
                    </a:cubicBezTo>
                    <a:cubicBezTo>
                      <a:pt x="363" y="22"/>
                      <a:pt x="386" y="20"/>
                      <a:pt x="386" y="28"/>
                    </a:cubicBezTo>
                    <a:cubicBezTo>
                      <a:pt x="386" y="33"/>
                      <a:pt x="378" y="32"/>
                      <a:pt x="375" y="34"/>
                    </a:cubicBezTo>
                    <a:cubicBezTo>
                      <a:pt x="358" y="48"/>
                      <a:pt x="336" y="40"/>
                      <a:pt x="313" y="51"/>
                    </a:cubicBezTo>
                    <a:cubicBezTo>
                      <a:pt x="317" y="56"/>
                      <a:pt x="335" y="52"/>
                      <a:pt x="346" y="52"/>
                    </a:cubicBezTo>
                    <a:cubicBezTo>
                      <a:pt x="336" y="63"/>
                      <a:pt x="311" y="69"/>
                      <a:pt x="295" y="74"/>
                    </a:cubicBezTo>
                    <a:cubicBezTo>
                      <a:pt x="277" y="80"/>
                      <a:pt x="267" y="97"/>
                      <a:pt x="254" y="107"/>
                    </a:cubicBezTo>
                    <a:cubicBezTo>
                      <a:pt x="248" y="112"/>
                      <a:pt x="238" y="106"/>
                      <a:pt x="231" y="108"/>
                    </a:cubicBezTo>
                    <a:cubicBezTo>
                      <a:pt x="221" y="112"/>
                      <a:pt x="210" y="112"/>
                      <a:pt x="203" y="118"/>
                    </a:cubicBezTo>
                    <a:cubicBezTo>
                      <a:pt x="216" y="118"/>
                      <a:pt x="216" y="118"/>
                      <a:pt x="216" y="118"/>
                    </a:cubicBezTo>
                    <a:cubicBezTo>
                      <a:pt x="217" y="128"/>
                      <a:pt x="211" y="127"/>
                      <a:pt x="203" y="126"/>
                    </a:cubicBezTo>
                    <a:cubicBezTo>
                      <a:pt x="208" y="129"/>
                      <a:pt x="213" y="131"/>
                      <a:pt x="216" y="137"/>
                    </a:cubicBezTo>
                    <a:cubicBezTo>
                      <a:pt x="206" y="141"/>
                      <a:pt x="203" y="152"/>
                      <a:pt x="196" y="157"/>
                    </a:cubicBezTo>
                    <a:cubicBezTo>
                      <a:pt x="177" y="157"/>
                      <a:pt x="177" y="157"/>
                      <a:pt x="174" y="157"/>
                    </a:cubicBezTo>
                    <a:cubicBezTo>
                      <a:pt x="175" y="160"/>
                      <a:pt x="177" y="161"/>
                      <a:pt x="177" y="164"/>
                    </a:cubicBezTo>
                    <a:cubicBezTo>
                      <a:pt x="177" y="178"/>
                      <a:pt x="158" y="169"/>
                      <a:pt x="158" y="184"/>
                    </a:cubicBezTo>
                    <a:cubicBezTo>
                      <a:pt x="165" y="184"/>
                      <a:pt x="166" y="184"/>
                      <a:pt x="169" y="184"/>
                    </a:cubicBezTo>
                    <a:cubicBezTo>
                      <a:pt x="171" y="184"/>
                      <a:pt x="176" y="184"/>
                      <a:pt x="176" y="188"/>
                    </a:cubicBezTo>
                    <a:cubicBezTo>
                      <a:pt x="176" y="195"/>
                      <a:pt x="151" y="203"/>
                      <a:pt x="141" y="203"/>
                    </a:cubicBezTo>
                    <a:cubicBezTo>
                      <a:pt x="131" y="203"/>
                      <a:pt x="135" y="197"/>
                      <a:pt x="126" y="197"/>
                    </a:cubicBezTo>
                    <a:cubicBezTo>
                      <a:pt x="113" y="197"/>
                      <a:pt x="104" y="197"/>
                      <a:pt x="93" y="197"/>
                    </a:cubicBezTo>
                    <a:cubicBezTo>
                      <a:pt x="89" y="197"/>
                      <a:pt x="86" y="201"/>
                      <a:pt x="80" y="201"/>
                    </a:cubicBezTo>
                    <a:cubicBezTo>
                      <a:pt x="65" y="201"/>
                      <a:pt x="53" y="197"/>
                      <a:pt x="38" y="192"/>
                    </a:cubicBezTo>
                    <a:cubicBezTo>
                      <a:pt x="37" y="194"/>
                      <a:pt x="35" y="197"/>
                      <a:pt x="33" y="197"/>
                    </a:cubicBezTo>
                    <a:cubicBezTo>
                      <a:pt x="29" y="197"/>
                      <a:pt x="28" y="194"/>
                      <a:pt x="28" y="193"/>
                    </a:cubicBezTo>
                    <a:cubicBezTo>
                      <a:pt x="28" y="176"/>
                      <a:pt x="51" y="182"/>
                      <a:pt x="60" y="176"/>
                    </a:cubicBezTo>
                    <a:cubicBezTo>
                      <a:pt x="55" y="172"/>
                      <a:pt x="46" y="170"/>
                      <a:pt x="46" y="162"/>
                    </a:cubicBezTo>
                    <a:cubicBezTo>
                      <a:pt x="46" y="156"/>
                      <a:pt x="52" y="158"/>
                      <a:pt x="57" y="158"/>
                    </a:cubicBezTo>
                    <a:cubicBezTo>
                      <a:pt x="71" y="158"/>
                      <a:pt x="76" y="165"/>
                      <a:pt x="84" y="170"/>
                    </a:cubicBezTo>
                    <a:cubicBezTo>
                      <a:pt x="92" y="170"/>
                      <a:pt x="92" y="170"/>
                      <a:pt x="92" y="170"/>
                    </a:cubicBezTo>
                    <a:cubicBezTo>
                      <a:pt x="86" y="164"/>
                      <a:pt x="72" y="159"/>
                      <a:pt x="72" y="148"/>
                    </a:cubicBezTo>
                    <a:cubicBezTo>
                      <a:pt x="66" y="148"/>
                      <a:pt x="66" y="148"/>
                      <a:pt x="66" y="148"/>
                    </a:cubicBezTo>
                    <a:cubicBezTo>
                      <a:pt x="63" y="149"/>
                      <a:pt x="63" y="149"/>
                      <a:pt x="61" y="151"/>
                    </a:cubicBezTo>
                    <a:cubicBezTo>
                      <a:pt x="55" y="151"/>
                      <a:pt x="55" y="151"/>
                      <a:pt x="55" y="151"/>
                    </a:cubicBezTo>
                    <a:cubicBezTo>
                      <a:pt x="55" y="146"/>
                      <a:pt x="55" y="146"/>
                      <a:pt x="55" y="146"/>
                    </a:cubicBezTo>
                    <a:cubicBezTo>
                      <a:pt x="58" y="138"/>
                      <a:pt x="61" y="134"/>
                      <a:pt x="68" y="131"/>
                    </a:cubicBezTo>
                    <a:cubicBezTo>
                      <a:pt x="79" y="128"/>
                      <a:pt x="92" y="132"/>
                      <a:pt x="92" y="119"/>
                    </a:cubicBezTo>
                    <a:cubicBezTo>
                      <a:pt x="92" y="105"/>
                      <a:pt x="62" y="105"/>
                      <a:pt x="62" y="97"/>
                    </a:cubicBezTo>
                    <a:cubicBezTo>
                      <a:pt x="62" y="93"/>
                      <a:pt x="69" y="94"/>
                      <a:pt x="73" y="94"/>
                    </a:cubicBezTo>
                    <a:cubicBezTo>
                      <a:pt x="68" y="94"/>
                      <a:pt x="67" y="92"/>
                      <a:pt x="67" y="89"/>
                    </a:cubicBezTo>
                    <a:cubicBezTo>
                      <a:pt x="69" y="88"/>
                      <a:pt x="71" y="89"/>
                      <a:pt x="73" y="89"/>
                    </a:cubicBezTo>
                    <a:cubicBezTo>
                      <a:pt x="78" y="89"/>
                      <a:pt x="88" y="87"/>
                      <a:pt x="97" y="90"/>
                    </a:cubicBezTo>
                    <a:cubicBezTo>
                      <a:pt x="108" y="93"/>
                      <a:pt x="112" y="106"/>
                      <a:pt x="124" y="104"/>
                    </a:cubicBezTo>
                    <a:cubicBezTo>
                      <a:pt x="122" y="102"/>
                      <a:pt x="108" y="93"/>
                      <a:pt x="108" y="91"/>
                    </a:cubicBezTo>
                    <a:cubicBezTo>
                      <a:pt x="108" y="89"/>
                      <a:pt x="110" y="88"/>
                      <a:pt x="111" y="86"/>
                    </a:cubicBezTo>
                    <a:cubicBezTo>
                      <a:pt x="133" y="86"/>
                      <a:pt x="133" y="86"/>
                      <a:pt x="133" y="86"/>
                    </a:cubicBezTo>
                    <a:cubicBezTo>
                      <a:pt x="141" y="83"/>
                      <a:pt x="149" y="81"/>
                      <a:pt x="154" y="74"/>
                    </a:cubicBezTo>
                    <a:cubicBezTo>
                      <a:pt x="147" y="74"/>
                      <a:pt x="147" y="74"/>
                      <a:pt x="147" y="74"/>
                    </a:cubicBezTo>
                    <a:cubicBezTo>
                      <a:pt x="138" y="81"/>
                      <a:pt x="128" y="84"/>
                      <a:pt x="114" y="84"/>
                    </a:cubicBezTo>
                    <a:cubicBezTo>
                      <a:pt x="106" y="84"/>
                      <a:pt x="103" y="81"/>
                      <a:pt x="99" y="81"/>
                    </a:cubicBezTo>
                    <a:cubicBezTo>
                      <a:pt x="95" y="81"/>
                      <a:pt x="93" y="85"/>
                      <a:pt x="90" y="85"/>
                    </a:cubicBezTo>
                    <a:cubicBezTo>
                      <a:pt x="81" y="85"/>
                      <a:pt x="70" y="82"/>
                      <a:pt x="72" y="76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3" y="78"/>
                      <a:pt x="61" y="81"/>
                      <a:pt x="57" y="81"/>
                    </a:cubicBezTo>
                    <a:cubicBezTo>
                      <a:pt x="48" y="81"/>
                      <a:pt x="36" y="75"/>
                      <a:pt x="33" y="71"/>
                    </a:cubicBezTo>
                    <a:cubicBezTo>
                      <a:pt x="36" y="69"/>
                      <a:pt x="39" y="67"/>
                      <a:pt x="44" y="67"/>
                    </a:cubicBezTo>
                    <a:cubicBezTo>
                      <a:pt x="36" y="67"/>
                      <a:pt x="27" y="66"/>
                      <a:pt x="24" y="67"/>
                    </a:cubicBezTo>
                    <a:cubicBezTo>
                      <a:pt x="29" y="55"/>
                      <a:pt x="40" y="56"/>
                      <a:pt x="51" y="53"/>
                    </a:cubicBezTo>
                    <a:cubicBezTo>
                      <a:pt x="47" y="52"/>
                      <a:pt x="46" y="52"/>
                      <a:pt x="42" y="52"/>
                    </a:cubicBezTo>
                    <a:cubicBezTo>
                      <a:pt x="33" y="52"/>
                      <a:pt x="33" y="60"/>
                      <a:pt x="25" y="60"/>
                    </a:cubicBezTo>
                    <a:cubicBezTo>
                      <a:pt x="22" y="60"/>
                      <a:pt x="18" y="57"/>
                      <a:pt x="17" y="56"/>
                    </a:cubicBezTo>
                    <a:cubicBezTo>
                      <a:pt x="21" y="52"/>
                      <a:pt x="24" y="51"/>
                      <a:pt x="29" y="49"/>
                    </a:cubicBezTo>
                    <a:cubicBezTo>
                      <a:pt x="16" y="49"/>
                      <a:pt x="16" y="49"/>
                      <a:pt x="16" y="49"/>
                    </a:cubicBezTo>
                    <a:cubicBezTo>
                      <a:pt x="13" y="50"/>
                      <a:pt x="11" y="51"/>
                      <a:pt x="9" y="52"/>
                    </a:cubicBezTo>
                    <a:cubicBezTo>
                      <a:pt x="7" y="52"/>
                      <a:pt x="2" y="52"/>
                      <a:pt x="0" y="52"/>
                    </a:cubicBezTo>
                    <a:cubicBezTo>
                      <a:pt x="2" y="41"/>
                      <a:pt x="31" y="36"/>
                      <a:pt x="44" y="36"/>
                    </a:cubicBezTo>
                    <a:cubicBezTo>
                      <a:pt x="49" y="36"/>
                      <a:pt x="52" y="36"/>
                      <a:pt x="53" y="36"/>
                    </a:cubicBezTo>
                    <a:cubicBezTo>
                      <a:pt x="55" y="36"/>
                      <a:pt x="57" y="34"/>
                      <a:pt x="57" y="32"/>
                    </a:cubicBezTo>
                    <a:cubicBezTo>
                      <a:pt x="71" y="32"/>
                      <a:pt x="65" y="22"/>
                      <a:pt x="74" y="22"/>
                    </a:cubicBezTo>
                    <a:cubicBezTo>
                      <a:pt x="83" y="22"/>
                      <a:pt x="100" y="31"/>
                      <a:pt x="104" y="32"/>
                    </a:cubicBezTo>
                    <a:cubicBezTo>
                      <a:pt x="108" y="22"/>
                      <a:pt x="113" y="12"/>
                      <a:pt x="126" y="12"/>
                    </a:cubicBezTo>
                    <a:cubicBezTo>
                      <a:pt x="134" y="12"/>
                      <a:pt x="129" y="16"/>
                      <a:pt x="135" y="11"/>
                    </a:cubicBezTo>
                    <a:cubicBezTo>
                      <a:pt x="137" y="7"/>
                      <a:pt x="141" y="6"/>
                      <a:pt x="145" y="6"/>
                    </a:cubicBezTo>
                    <a:cubicBezTo>
                      <a:pt x="168" y="6"/>
                      <a:pt x="173" y="6"/>
                      <a:pt x="196" y="6"/>
                    </a:cubicBezTo>
                    <a:cubicBezTo>
                      <a:pt x="197" y="4"/>
                      <a:pt x="199" y="3"/>
                      <a:pt x="201" y="3"/>
                    </a:cubicBezTo>
                    <a:cubicBezTo>
                      <a:pt x="209" y="3"/>
                      <a:pt x="211" y="8"/>
                      <a:pt x="218" y="8"/>
                    </a:cubicBezTo>
                    <a:cubicBezTo>
                      <a:pt x="224" y="8"/>
                      <a:pt x="226" y="0"/>
                      <a:pt x="232" y="0"/>
                    </a:cubicBezTo>
                    <a:cubicBezTo>
                      <a:pt x="239" y="0"/>
                      <a:pt x="241" y="3"/>
                      <a:pt x="245" y="3"/>
                    </a:cubicBezTo>
                    <a:cubicBezTo>
                      <a:pt x="250" y="3"/>
                      <a:pt x="253" y="3"/>
                      <a:pt x="258" y="3"/>
                    </a:cubicBezTo>
                    <a:cubicBezTo>
                      <a:pt x="268" y="3"/>
                      <a:pt x="306" y="2"/>
                      <a:pt x="315" y="11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64" name="Полилиния 88">
                <a:extLst>
                  <a:ext uri="{FF2B5EF4-FFF2-40B4-BE49-F238E27FC236}">
                    <a16:creationId xmlns:a16="http://schemas.microsoft.com/office/drawing/2014/main" xmlns="" id="{22E89FEB-DC6D-882D-D0F4-7C7852CAF2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0238" y="960438"/>
                <a:ext cx="1006475" cy="765175"/>
              </a:xfrm>
              <a:custGeom>
                <a:avLst/>
                <a:gdLst/>
                <a:ahLst/>
                <a:cxnLst>
                  <a:cxn ang="0">
                    <a:pos x="280" y="372"/>
                  </a:cxn>
                  <a:cxn ang="0">
                    <a:pos x="267" y="360"/>
                  </a:cxn>
                  <a:cxn ang="0">
                    <a:pos x="228" y="336"/>
                  </a:cxn>
                  <a:cxn ang="0">
                    <a:pos x="215" y="302"/>
                  </a:cxn>
                  <a:cxn ang="0">
                    <a:pos x="109" y="219"/>
                  </a:cxn>
                  <a:cxn ang="0">
                    <a:pos x="73" y="223"/>
                  </a:cxn>
                  <a:cxn ang="0">
                    <a:pos x="43" y="217"/>
                  </a:cxn>
                  <a:cxn ang="0">
                    <a:pos x="19" y="202"/>
                  </a:cxn>
                  <a:cxn ang="0">
                    <a:pos x="51" y="190"/>
                  </a:cxn>
                  <a:cxn ang="0">
                    <a:pos x="64" y="180"/>
                  </a:cxn>
                  <a:cxn ang="0">
                    <a:pos x="0" y="166"/>
                  </a:cxn>
                  <a:cxn ang="0">
                    <a:pos x="84" y="141"/>
                  </a:cxn>
                  <a:cxn ang="0">
                    <a:pos x="72" y="102"/>
                  </a:cxn>
                  <a:cxn ang="0">
                    <a:pos x="144" y="59"/>
                  </a:cxn>
                  <a:cxn ang="0">
                    <a:pos x="237" y="56"/>
                  </a:cxn>
                  <a:cxn ang="0">
                    <a:pos x="260" y="53"/>
                  </a:cxn>
                  <a:cxn ang="0">
                    <a:pos x="274" y="38"/>
                  </a:cxn>
                  <a:cxn ang="0">
                    <a:pos x="309" y="36"/>
                  </a:cxn>
                  <a:cxn ang="0">
                    <a:pos x="355" y="15"/>
                  </a:cxn>
                  <a:cxn ang="0">
                    <a:pos x="391" y="13"/>
                  </a:cxn>
                  <a:cxn ang="0">
                    <a:pos x="534" y="0"/>
                  </a:cxn>
                  <a:cxn ang="0">
                    <a:pos x="594" y="48"/>
                  </a:cxn>
                  <a:cxn ang="0">
                    <a:pos x="570" y="75"/>
                  </a:cxn>
                  <a:cxn ang="0">
                    <a:pos x="603" y="102"/>
                  </a:cxn>
                  <a:cxn ang="0">
                    <a:pos x="684" y="66"/>
                  </a:cxn>
                  <a:cxn ang="0">
                    <a:pos x="730" y="51"/>
                  </a:cxn>
                  <a:cxn ang="0">
                    <a:pos x="702" y="94"/>
                  </a:cxn>
                  <a:cxn ang="0">
                    <a:pos x="691" y="114"/>
                  </a:cxn>
                  <a:cxn ang="0">
                    <a:pos x="654" y="150"/>
                  </a:cxn>
                  <a:cxn ang="0">
                    <a:pos x="677" y="178"/>
                  </a:cxn>
                  <a:cxn ang="0">
                    <a:pos x="657" y="202"/>
                  </a:cxn>
                  <a:cxn ang="0">
                    <a:pos x="669" y="236"/>
                  </a:cxn>
                  <a:cxn ang="0">
                    <a:pos x="673" y="260"/>
                  </a:cxn>
                  <a:cxn ang="0">
                    <a:pos x="633" y="295"/>
                  </a:cxn>
                  <a:cxn ang="0">
                    <a:pos x="637" y="305"/>
                  </a:cxn>
                  <a:cxn ang="0">
                    <a:pos x="601" y="297"/>
                  </a:cxn>
                  <a:cxn ang="0">
                    <a:pos x="633" y="358"/>
                  </a:cxn>
                  <a:cxn ang="0">
                    <a:pos x="596" y="347"/>
                  </a:cxn>
                  <a:cxn ang="0">
                    <a:pos x="616" y="375"/>
                  </a:cxn>
                  <a:cxn ang="0">
                    <a:pos x="518" y="408"/>
                  </a:cxn>
                  <a:cxn ang="0">
                    <a:pos x="483" y="445"/>
                  </a:cxn>
                  <a:cxn ang="0">
                    <a:pos x="443" y="449"/>
                  </a:cxn>
                  <a:cxn ang="0">
                    <a:pos x="402" y="485"/>
                  </a:cxn>
                  <a:cxn ang="0">
                    <a:pos x="384" y="523"/>
                  </a:cxn>
                  <a:cxn ang="0">
                    <a:pos x="362" y="571"/>
                  </a:cxn>
                  <a:cxn ang="0">
                    <a:pos x="313" y="560"/>
                  </a:cxn>
                  <a:cxn ang="0">
                    <a:pos x="270" y="499"/>
                  </a:cxn>
                  <a:cxn ang="0">
                    <a:pos x="256" y="475"/>
                  </a:cxn>
                  <a:cxn ang="0">
                    <a:pos x="237" y="438"/>
                  </a:cxn>
                  <a:cxn ang="0">
                    <a:pos x="255" y="403"/>
                  </a:cxn>
                </a:cxnLst>
                <a:rect l="0" t="0" r="r" b="b"/>
                <a:pathLst>
                  <a:path w="756" h="575">
                    <a:moveTo>
                      <a:pt x="255" y="403"/>
                    </a:moveTo>
                    <a:cubicBezTo>
                      <a:pt x="261" y="400"/>
                      <a:pt x="261" y="400"/>
                      <a:pt x="267" y="402"/>
                    </a:cubicBezTo>
                    <a:cubicBezTo>
                      <a:pt x="270" y="389"/>
                      <a:pt x="276" y="385"/>
                      <a:pt x="280" y="372"/>
                    </a:cubicBezTo>
                    <a:cubicBezTo>
                      <a:pt x="266" y="368"/>
                      <a:pt x="234" y="366"/>
                      <a:pt x="233" y="353"/>
                    </a:cubicBezTo>
                    <a:cubicBezTo>
                      <a:pt x="237" y="352"/>
                      <a:pt x="236" y="353"/>
                      <a:pt x="240" y="353"/>
                    </a:cubicBezTo>
                    <a:cubicBezTo>
                      <a:pt x="250" y="353"/>
                      <a:pt x="256" y="360"/>
                      <a:pt x="267" y="360"/>
                    </a:cubicBezTo>
                    <a:cubicBezTo>
                      <a:pt x="271" y="360"/>
                      <a:pt x="271" y="356"/>
                      <a:pt x="271" y="353"/>
                    </a:cubicBezTo>
                    <a:cubicBezTo>
                      <a:pt x="258" y="349"/>
                      <a:pt x="254" y="328"/>
                      <a:pt x="239" y="328"/>
                    </a:cubicBezTo>
                    <a:cubicBezTo>
                      <a:pt x="235" y="328"/>
                      <a:pt x="234" y="336"/>
                      <a:pt x="228" y="336"/>
                    </a:cubicBezTo>
                    <a:cubicBezTo>
                      <a:pt x="220" y="336"/>
                      <a:pt x="216" y="335"/>
                      <a:pt x="216" y="328"/>
                    </a:cubicBezTo>
                    <a:cubicBezTo>
                      <a:pt x="216" y="318"/>
                      <a:pt x="226" y="319"/>
                      <a:pt x="226" y="309"/>
                    </a:cubicBezTo>
                    <a:cubicBezTo>
                      <a:pt x="226" y="303"/>
                      <a:pt x="219" y="302"/>
                      <a:pt x="215" y="302"/>
                    </a:cubicBezTo>
                    <a:cubicBezTo>
                      <a:pt x="215" y="295"/>
                      <a:pt x="215" y="295"/>
                      <a:pt x="215" y="295"/>
                    </a:cubicBezTo>
                    <a:cubicBezTo>
                      <a:pt x="203" y="257"/>
                      <a:pt x="172" y="219"/>
                      <a:pt x="122" y="219"/>
                    </a:cubicBezTo>
                    <a:cubicBezTo>
                      <a:pt x="115" y="219"/>
                      <a:pt x="113" y="219"/>
                      <a:pt x="109" y="219"/>
                    </a:cubicBezTo>
                    <a:cubicBezTo>
                      <a:pt x="103" y="219"/>
                      <a:pt x="101" y="224"/>
                      <a:pt x="95" y="224"/>
                    </a:cubicBezTo>
                    <a:cubicBezTo>
                      <a:pt x="91" y="224"/>
                      <a:pt x="87" y="221"/>
                      <a:pt x="82" y="221"/>
                    </a:cubicBezTo>
                    <a:cubicBezTo>
                      <a:pt x="77" y="221"/>
                      <a:pt x="75" y="222"/>
                      <a:pt x="73" y="223"/>
                    </a:cubicBezTo>
                    <a:cubicBezTo>
                      <a:pt x="74" y="224"/>
                      <a:pt x="76" y="226"/>
                      <a:pt x="77" y="226"/>
                    </a:cubicBezTo>
                    <a:cubicBezTo>
                      <a:pt x="75" y="229"/>
                      <a:pt x="75" y="228"/>
                      <a:pt x="72" y="228"/>
                    </a:cubicBezTo>
                    <a:cubicBezTo>
                      <a:pt x="62" y="228"/>
                      <a:pt x="48" y="224"/>
                      <a:pt x="43" y="217"/>
                    </a:cubicBezTo>
                    <a:cubicBezTo>
                      <a:pt x="47" y="214"/>
                      <a:pt x="50" y="214"/>
                      <a:pt x="52" y="210"/>
                    </a:cubicBezTo>
                    <a:cubicBezTo>
                      <a:pt x="45" y="207"/>
                      <a:pt x="39" y="202"/>
                      <a:pt x="34" y="202"/>
                    </a:cubicBezTo>
                    <a:cubicBezTo>
                      <a:pt x="24" y="202"/>
                      <a:pt x="27" y="206"/>
                      <a:pt x="19" y="202"/>
                    </a:cubicBezTo>
                    <a:cubicBezTo>
                      <a:pt x="19" y="196"/>
                      <a:pt x="28" y="194"/>
                      <a:pt x="32" y="194"/>
                    </a:cubicBezTo>
                    <a:cubicBezTo>
                      <a:pt x="37" y="194"/>
                      <a:pt x="40" y="194"/>
                      <a:pt x="43" y="194"/>
                    </a:cubicBezTo>
                    <a:cubicBezTo>
                      <a:pt x="47" y="194"/>
                      <a:pt x="49" y="193"/>
                      <a:pt x="51" y="190"/>
                    </a:cubicBezTo>
                    <a:cubicBezTo>
                      <a:pt x="76" y="190"/>
                      <a:pt x="76" y="190"/>
                      <a:pt x="76" y="190"/>
                    </a:cubicBezTo>
                    <a:cubicBezTo>
                      <a:pt x="80" y="187"/>
                      <a:pt x="80" y="185"/>
                      <a:pt x="82" y="180"/>
                    </a:cubicBezTo>
                    <a:cubicBezTo>
                      <a:pt x="64" y="180"/>
                      <a:pt x="64" y="180"/>
                      <a:pt x="64" y="180"/>
                    </a:cubicBezTo>
                    <a:cubicBezTo>
                      <a:pt x="63" y="183"/>
                      <a:pt x="62" y="185"/>
                      <a:pt x="60" y="185"/>
                    </a:cubicBezTo>
                    <a:cubicBezTo>
                      <a:pt x="53" y="185"/>
                      <a:pt x="50" y="185"/>
                      <a:pt x="44" y="185"/>
                    </a:cubicBezTo>
                    <a:cubicBezTo>
                      <a:pt x="42" y="185"/>
                      <a:pt x="0" y="173"/>
                      <a:pt x="0" y="166"/>
                    </a:cubicBezTo>
                    <a:cubicBezTo>
                      <a:pt x="0" y="152"/>
                      <a:pt x="16" y="157"/>
                      <a:pt x="25" y="154"/>
                    </a:cubicBezTo>
                    <a:cubicBezTo>
                      <a:pt x="33" y="151"/>
                      <a:pt x="38" y="146"/>
                      <a:pt x="46" y="144"/>
                    </a:cubicBezTo>
                    <a:cubicBezTo>
                      <a:pt x="58" y="140"/>
                      <a:pt x="74" y="146"/>
                      <a:pt x="84" y="141"/>
                    </a:cubicBezTo>
                    <a:cubicBezTo>
                      <a:pt x="91" y="136"/>
                      <a:pt x="96" y="128"/>
                      <a:pt x="96" y="117"/>
                    </a:cubicBezTo>
                    <a:cubicBezTo>
                      <a:pt x="88" y="116"/>
                      <a:pt x="63" y="117"/>
                      <a:pt x="63" y="109"/>
                    </a:cubicBezTo>
                    <a:cubicBezTo>
                      <a:pt x="63" y="105"/>
                      <a:pt x="69" y="102"/>
                      <a:pt x="72" y="102"/>
                    </a:cubicBezTo>
                    <a:cubicBezTo>
                      <a:pt x="87" y="97"/>
                      <a:pt x="106" y="86"/>
                      <a:pt x="115" y="78"/>
                    </a:cubicBezTo>
                    <a:cubicBezTo>
                      <a:pt x="119" y="80"/>
                      <a:pt x="122" y="81"/>
                      <a:pt x="127" y="81"/>
                    </a:cubicBezTo>
                    <a:cubicBezTo>
                      <a:pt x="142" y="81"/>
                      <a:pt x="130" y="61"/>
                      <a:pt x="144" y="59"/>
                    </a:cubicBezTo>
                    <a:cubicBezTo>
                      <a:pt x="162" y="57"/>
                      <a:pt x="169" y="52"/>
                      <a:pt x="185" y="52"/>
                    </a:cubicBezTo>
                    <a:cubicBezTo>
                      <a:pt x="198" y="49"/>
                      <a:pt x="206" y="42"/>
                      <a:pt x="218" y="42"/>
                    </a:cubicBezTo>
                    <a:cubicBezTo>
                      <a:pt x="226" y="42"/>
                      <a:pt x="229" y="56"/>
                      <a:pt x="237" y="56"/>
                    </a:cubicBezTo>
                    <a:cubicBezTo>
                      <a:pt x="237" y="52"/>
                      <a:pt x="235" y="50"/>
                      <a:pt x="235" y="47"/>
                    </a:cubicBezTo>
                    <a:cubicBezTo>
                      <a:pt x="239" y="42"/>
                      <a:pt x="239" y="42"/>
                      <a:pt x="239" y="42"/>
                    </a:cubicBezTo>
                    <a:cubicBezTo>
                      <a:pt x="244" y="51"/>
                      <a:pt x="252" y="50"/>
                      <a:pt x="260" y="53"/>
                    </a:cubicBezTo>
                    <a:cubicBezTo>
                      <a:pt x="262" y="53"/>
                      <a:pt x="267" y="53"/>
                      <a:pt x="267" y="53"/>
                    </a:cubicBezTo>
                    <a:cubicBezTo>
                      <a:pt x="266" y="50"/>
                      <a:pt x="263" y="47"/>
                      <a:pt x="263" y="44"/>
                    </a:cubicBezTo>
                    <a:cubicBezTo>
                      <a:pt x="263" y="38"/>
                      <a:pt x="270" y="38"/>
                      <a:pt x="274" y="38"/>
                    </a:cubicBezTo>
                    <a:cubicBezTo>
                      <a:pt x="293" y="38"/>
                      <a:pt x="303" y="48"/>
                      <a:pt x="314" y="53"/>
                    </a:cubicBezTo>
                    <a:cubicBezTo>
                      <a:pt x="334" y="53"/>
                      <a:pt x="334" y="53"/>
                      <a:pt x="334" y="53"/>
                    </a:cubicBezTo>
                    <a:cubicBezTo>
                      <a:pt x="327" y="50"/>
                      <a:pt x="309" y="44"/>
                      <a:pt x="309" y="36"/>
                    </a:cubicBezTo>
                    <a:cubicBezTo>
                      <a:pt x="309" y="29"/>
                      <a:pt x="322" y="31"/>
                      <a:pt x="326" y="30"/>
                    </a:cubicBezTo>
                    <a:cubicBezTo>
                      <a:pt x="323" y="27"/>
                      <a:pt x="320" y="27"/>
                      <a:pt x="318" y="24"/>
                    </a:cubicBezTo>
                    <a:cubicBezTo>
                      <a:pt x="330" y="18"/>
                      <a:pt x="341" y="15"/>
                      <a:pt x="355" y="15"/>
                    </a:cubicBezTo>
                    <a:cubicBezTo>
                      <a:pt x="366" y="15"/>
                      <a:pt x="373" y="15"/>
                      <a:pt x="382" y="18"/>
                    </a:cubicBezTo>
                    <a:cubicBezTo>
                      <a:pt x="391" y="18"/>
                      <a:pt x="391" y="18"/>
                      <a:pt x="391" y="18"/>
                    </a:cubicBezTo>
                    <a:cubicBezTo>
                      <a:pt x="391" y="13"/>
                      <a:pt x="391" y="13"/>
                      <a:pt x="391" y="13"/>
                    </a:cubicBezTo>
                    <a:cubicBezTo>
                      <a:pt x="398" y="12"/>
                      <a:pt x="402" y="13"/>
                      <a:pt x="409" y="13"/>
                    </a:cubicBezTo>
                    <a:cubicBezTo>
                      <a:pt x="430" y="13"/>
                      <a:pt x="447" y="0"/>
                      <a:pt x="470" y="0"/>
                    </a:cubicBezTo>
                    <a:cubicBezTo>
                      <a:pt x="495" y="0"/>
                      <a:pt x="512" y="0"/>
                      <a:pt x="534" y="0"/>
                    </a:cubicBezTo>
                    <a:cubicBezTo>
                      <a:pt x="560" y="0"/>
                      <a:pt x="579" y="17"/>
                      <a:pt x="600" y="26"/>
                    </a:cubicBezTo>
                    <a:cubicBezTo>
                      <a:pt x="612" y="31"/>
                      <a:pt x="627" y="28"/>
                      <a:pt x="638" y="30"/>
                    </a:cubicBezTo>
                    <a:cubicBezTo>
                      <a:pt x="636" y="46"/>
                      <a:pt x="606" y="44"/>
                      <a:pt x="594" y="48"/>
                    </a:cubicBezTo>
                    <a:cubicBezTo>
                      <a:pt x="497" y="53"/>
                      <a:pt x="497" y="53"/>
                      <a:pt x="497" y="53"/>
                    </a:cubicBezTo>
                    <a:cubicBezTo>
                      <a:pt x="505" y="59"/>
                      <a:pt x="579" y="50"/>
                      <a:pt x="587" y="53"/>
                    </a:cubicBezTo>
                    <a:cubicBezTo>
                      <a:pt x="586" y="57"/>
                      <a:pt x="567" y="75"/>
                      <a:pt x="570" y="75"/>
                    </a:cubicBezTo>
                    <a:cubicBezTo>
                      <a:pt x="581" y="75"/>
                      <a:pt x="607" y="50"/>
                      <a:pt x="622" y="50"/>
                    </a:cubicBezTo>
                    <a:cubicBezTo>
                      <a:pt x="630" y="50"/>
                      <a:pt x="633" y="57"/>
                      <a:pt x="633" y="64"/>
                    </a:cubicBezTo>
                    <a:cubicBezTo>
                      <a:pt x="633" y="67"/>
                      <a:pt x="605" y="97"/>
                      <a:pt x="603" y="102"/>
                    </a:cubicBezTo>
                    <a:cubicBezTo>
                      <a:pt x="615" y="99"/>
                      <a:pt x="637" y="70"/>
                      <a:pt x="644" y="64"/>
                    </a:cubicBezTo>
                    <a:cubicBezTo>
                      <a:pt x="655" y="64"/>
                      <a:pt x="674" y="64"/>
                      <a:pt x="674" y="64"/>
                    </a:cubicBezTo>
                    <a:cubicBezTo>
                      <a:pt x="674" y="64"/>
                      <a:pt x="682" y="66"/>
                      <a:pt x="684" y="66"/>
                    </a:cubicBezTo>
                    <a:cubicBezTo>
                      <a:pt x="692" y="63"/>
                      <a:pt x="693" y="60"/>
                      <a:pt x="700" y="57"/>
                    </a:cubicBezTo>
                    <a:cubicBezTo>
                      <a:pt x="721" y="57"/>
                      <a:pt x="721" y="57"/>
                      <a:pt x="721" y="57"/>
                    </a:cubicBezTo>
                    <a:cubicBezTo>
                      <a:pt x="723" y="52"/>
                      <a:pt x="726" y="51"/>
                      <a:pt x="730" y="51"/>
                    </a:cubicBezTo>
                    <a:cubicBezTo>
                      <a:pt x="736" y="51"/>
                      <a:pt x="756" y="61"/>
                      <a:pt x="756" y="67"/>
                    </a:cubicBezTo>
                    <a:cubicBezTo>
                      <a:pt x="756" y="72"/>
                      <a:pt x="748" y="76"/>
                      <a:pt x="745" y="77"/>
                    </a:cubicBezTo>
                    <a:cubicBezTo>
                      <a:pt x="731" y="82"/>
                      <a:pt x="722" y="94"/>
                      <a:pt x="702" y="94"/>
                    </a:cubicBezTo>
                    <a:cubicBezTo>
                      <a:pt x="707" y="97"/>
                      <a:pt x="708" y="97"/>
                      <a:pt x="711" y="94"/>
                    </a:cubicBezTo>
                    <a:cubicBezTo>
                      <a:pt x="711" y="107"/>
                      <a:pt x="699" y="107"/>
                      <a:pt x="691" y="109"/>
                    </a:cubicBezTo>
                    <a:cubicBezTo>
                      <a:pt x="694" y="115"/>
                      <a:pt x="691" y="110"/>
                      <a:pt x="691" y="114"/>
                    </a:cubicBezTo>
                    <a:cubicBezTo>
                      <a:pt x="691" y="121"/>
                      <a:pt x="680" y="123"/>
                      <a:pt x="671" y="125"/>
                    </a:cubicBezTo>
                    <a:cubicBezTo>
                      <a:pt x="672" y="130"/>
                      <a:pt x="671" y="130"/>
                      <a:pt x="671" y="132"/>
                    </a:cubicBezTo>
                    <a:cubicBezTo>
                      <a:pt x="671" y="141"/>
                      <a:pt x="662" y="144"/>
                      <a:pt x="654" y="150"/>
                    </a:cubicBezTo>
                    <a:cubicBezTo>
                      <a:pt x="648" y="154"/>
                      <a:pt x="649" y="165"/>
                      <a:pt x="646" y="169"/>
                    </a:cubicBezTo>
                    <a:cubicBezTo>
                      <a:pt x="651" y="172"/>
                      <a:pt x="655" y="169"/>
                      <a:pt x="659" y="169"/>
                    </a:cubicBezTo>
                    <a:cubicBezTo>
                      <a:pt x="667" y="169"/>
                      <a:pt x="673" y="174"/>
                      <a:pt x="677" y="178"/>
                    </a:cubicBezTo>
                    <a:cubicBezTo>
                      <a:pt x="675" y="179"/>
                      <a:pt x="672" y="180"/>
                      <a:pt x="669" y="180"/>
                    </a:cubicBezTo>
                    <a:cubicBezTo>
                      <a:pt x="671" y="187"/>
                      <a:pt x="688" y="185"/>
                      <a:pt x="688" y="196"/>
                    </a:cubicBezTo>
                    <a:cubicBezTo>
                      <a:pt x="688" y="206"/>
                      <a:pt x="665" y="202"/>
                      <a:pt x="657" y="202"/>
                    </a:cubicBezTo>
                    <a:cubicBezTo>
                      <a:pt x="652" y="202"/>
                      <a:pt x="648" y="206"/>
                      <a:pt x="648" y="209"/>
                    </a:cubicBezTo>
                    <a:cubicBezTo>
                      <a:pt x="648" y="217"/>
                      <a:pt x="656" y="217"/>
                      <a:pt x="663" y="217"/>
                    </a:cubicBezTo>
                    <a:cubicBezTo>
                      <a:pt x="663" y="226"/>
                      <a:pt x="669" y="229"/>
                      <a:pt x="669" y="236"/>
                    </a:cubicBezTo>
                    <a:cubicBezTo>
                      <a:pt x="669" y="239"/>
                      <a:pt x="667" y="243"/>
                      <a:pt x="669" y="245"/>
                    </a:cubicBezTo>
                    <a:cubicBezTo>
                      <a:pt x="662" y="245"/>
                      <a:pt x="655" y="245"/>
                      <a:pt x="655" y="251"/>
                    </a:cubicBezTo>
                    <a:cubicBezTo>
                      <a:pt x="655" y="258"/>
                      <a:pt x="667" y="258"/>
                      <a:pt x="673" y="260"/>
                    </a:cubicBezTo>
                    <a:cubicBezTo>
                      <a:pt x="670" y="267"/>
                      <a:pt x="661" y="271"/>
                      <a:pt x="653" y="272"/>
                    </a:cubicBezTo>
                    <a:cubicBezTo>
                      <a:pt x="653" y="275"/>
                      <a:pt x="655" y="277"/>
                      <a:pt x="657" y="278"/>
                    </a:cubicBezTo>
                    <a:cubicBezTo>
                      <a:pt x="654" y="292"/>
                      <a:pt x="637" y="286"/>
                      <a:pt x="633" y="295"/>
                    </a:cubicBezTo>
                    <a:cubicBezTo>
                      <a:pt x="628" y="292"/>
                      <a:pt x="623" y="290"/>
                      <a:pt x="620" y="285"/>
                    </a:cubicBezTo>
                    <a:cubicBezTo>
                      <a:pt x="613" y="285"/>
                      <a:pt x="613" y="285"/>
                      <a:pt x="613" y="285"/>
                    </a:cubicBezTo>
                    <a:cubicBezTo>
                      <a:pt x="618" y="297"/>
                      <a:pt x="637" y="293"/>
                      <a:pt x="637" y="305"/>
                    </a:cubicBezTo>
                    <a:cubicBezTo>
                      <a:pt x="637" y="310"/>
                      <a:pt x="636" y="317"/>
                      <a:pt x="631" y="317"/>
                    </a:cubicBezTo>
                    <a:cubicBezTo>
                      <a:pt x="623" y="317"/>
                      <a:pt x="609" y="306"/>
                      <a:pt x="607" y="297"/>
                    </a:cubicBezTo>
                    <a:cubicBezTo>
                      <a:pt x="603" y="298"/>
                      <a:pt x="602" y="297"/>
                      <a:pt x="601" y="297"/>
                    </a:cubicBezTo>
                    <a:cubicBezTo>
                      <a:pt x="601" y="304"/>
                      <a:pt x="601" y="304"/>
                      <a:pt x="601" y="304"/>
                    </a:cubicBezTo>
                    <a:cubicBezTo>
                      <a:pt x="617" y="320"/>
                      <a:pt x="645" y="327"/>
                      <a:pt x="645" y="352"/>
                    </a:cubicBezTo>
                    <a:cubicBezTo>
                      <a:pt x="645" y="357"/>
                      <a:pt x="638" y="358"/>
                      <a:pt x="633" y="358"/>
                    </a:cubicBezTo>
                    <a:cubicBezTo>
                      <a:pt x="612" y="358"/>
                      <a:pt x="617" y="336"/>
                      <a:pt x="599" y="336"/>
                    </a:cubicBezTo>
                    <a:cubicBezTo>
                      <a:pt x="596" y="336"/>
                      <a:pt x="594" y="337"/>
                      <a:pt x="592" y="336"/>
                    </a:cubicBezTo>
                    <a:cubicBezTo>
                      <a:pt x="592" y="342"/>
                      <a:pt x="596" y="343"/>
                      <a:pt x="596" y="347"/>
                    </a:cubicBezTo>
                    <a:cubicBezTo>
                      <a:pt x="596" y="351"/>
                      <a:pt x="589" y="352"/>
                      <a:pt x="587" y="352"/>
                    </a:cubicBezTo>
                    <a:cubicBezTo>
                      <a:pt x="587" y="366"/>
                      <a:pt x="626" y="364"/>
                      <a:pt x="635" y="367"/>
                    </a:cubicBezTo>
                    <a:cubicBezTo>
                      <a:pt x="629" y="372"/>
                      <a:pt x="624" y="373"/>
                      <a:pt x="616" y="375"/>
                    </a:cubicBezTo>
                    <a:cubicBezTo>
                      <a:pt x="602" y="380"/>
                      <a:pt x="597" y="393"/>
                      <a:pt x="584" y="397"/>
                    </a:cubicBezTo>
                    <a:cubicBezTo>
                      <a:pt x="569" y="402"/>
                      <a:pt x="556" y="400"/>
                      <a:pt x="539" y="408"/>
                    </a:cubicBezTo>
                    <a:cubicBezTo>
                      <a:pt x="518" y="408"/>
                      <a:pt x="518" y="408"/>
                      <a:pt x="518" y="408"/>
                    </a:cubicBezTo>
                    <a:cubicBezTo>
                      <a:pt x="514" y="410"/>
                      <a:pt x="510" y="412"/>
                      <a:pt x="510" y="415"/>
                    </a:cubicBezTo>
                    <a:cubicBezTo>
                      <a:pt x="498" y="423"/>
                      <a:pt x="498" y="423"/>
                      <a:pt x="498" y="423"/>
                    </a:cubicBezTo>
                    <a:cubicBezTo>
                      <a:pt x="490" y="430"/>
                      <a:pt x="490" y="438"/>
                      <a:pt x="483" y="445"/>
                    </a:cubicBezTo>
                    <a:cubicBezTo>
                      <a:pt x="474" y="454"/>
                      <a:pt x="459" y="452"/>
                      <a:pt x="450" y="458"/>
                    </a:cubicBezTo>
                    <a:cubicBezTo>
                      <a:pt x="443" y="458"/>
                      <a:pt x="443" y="458"/>
                      <a:pt x="443" y="458"/>
                    </a:cubicBezTo>
                    <a:cubicBezTo>
                      <a:pt x="443" y="449"/>
                      <a:pt x="443" y="449"/>
                      <a:pt x="443" y="449"/>
                    </a:cubicBezTo>
                    <a:cubicBezTo>
                      <a:pt x="437" y="452"/>
                      <a:pt x="438" y="457"/>
                      <a:pt x="435" y="460"/>
                    </a:cubicBezTo>
                    <a:cubicBezTo>
                      <a:pt x="425" y="470"/>
                      <a:pt x="401" y="466"/>
                      <a:pt x="401" y="480"/>
                    </a:cubicBezTo>
                    <a:cubicBezTo>
                      <a:pt x="401" y="482"/>
                      <a:pt x="402" y="483"/>
                      <a:pt x="402" y="485"/>
                    </a:cubicBezTo>
                    <a:cubicBezTo>
                      <a:pt x="401" y="486"/>
                      <a:pt x="399" y="488"/>
                      <a:pt x="399" y="490"/>
                    </a:cubicBezTo>
                    <a:cubicBezTo>
                      <a:pt x="399" y="493"/>
                      <a:pt x="405" y="495"/>
                      <a:pt x="405" y="500"/>
                    </a:cubicBezTo>
                    <a:cubicBezTo>
                      <a:pt x="405" y="515"/>
                      <a:pt x="384" y="510"/>
                      <a:pt x="384" y="523"/>
                    </a:cubicBezTo>
                    <a:cubicBezTo>
                      <a:pt x="384" y="531"/>
                      <a:pt x="383" y="543"/>
                      <a:pt x="384" y="547"/>
                    </a:cubicBezTo>
                    <a:cubicBezTo>
                      <a:pt x="374" y="552"/>
                      <a:pt x="379" y="575"/>
                      <a:pt x="367" y="575"/>
                    </a:cubicBezTo>
                    <a:cubicBezTo>
                      <a:pt x="364" y="575"/>
                      <a:pt x="363" y="573"/>
                      <a:pt x="362" y="571"/>
                    </a:cubicBezTo>
                    <a:cubicBezTo>
                      <a:pt x="356" y="571"/>
                      <a:pt x="356" y="574"/>
                      <a:pt x="353" y="574"/>
                    </a:cubicBezTo>
                    <a:cubicBezTo>
                      <a:pt x="342" y="574"/>
                      <a:pt x="343" y="554"/>
                      <a:pt x="332" y="554"/>
                    </a:cubicBezTo>
                    <a:cubicBezTo>
                      <a:pt x="326" y="554"/>
                      <a:pt x="319" y="559"/>
                      <a:pt x="313" y="560"/>
                    </a:cubicBezTo>
                    <a:cubicBezTo>
                      <a:pt x="310" y="550"/>
                      <a:pt x="306" y="553"/>
                      <a:pt x="299" y="547"/>
                    </a:cubicBezTo>
                    <a:cubicBezTo>
                      <a:pt x="296" y="546"/>
                      <a:pt x="297" y="539"/>
                      <a:pt x="296" y="539"/>
                    </a:cubicBezTo>
                    <a:cubicBezTo>
                      <a:pt x="287" y="531"/>
                      <a:pt x="270" y="512"/>
                      <a:pt x="270" y="499"/>
                    </a:cubicBezTo>
                    <a:cubicBezTo>
                      <a:pt x="270" y="493"/>
                      <a:pt x="274" y="494"/>
                      <a:pt x="277" y="490"/>
                    </a:cubicBezTo>
                    <a:cubicBezTo>
                      <a:pt x="270" y="482"/>
                      <a:pt x="268" y="493"/>
                      <a:pt x="260" y="489"/>
                    </a:cubicBezTo>
                    <a:cubicBezTo>
                      <a:pt x="259" y="487"/>
                      <a:pt x="257" y="479"/>
                      <a:pt x="256" y="475"/>
                    </a:cubicBezTo>
                    <a:cubicBezTo>
                      <a:pt x="253" y="466"/>
                      <a:pt x="241" y="461"/>
                      <a:pt x="241" y="449"/>
                    </a:cubicBezTo>
                    <a:cubicBezTo>
                      <a:pt x="241" y="445"/>
                      <a:pt x="244" y="443"/>
                      <a:pt x="246" y="438"/>
                    </a:cubicBezTo>
                    <a:cubicBezTo>
                      <a:pt x="243" y="437"/>
                      <a:pt x="240" y="436"/>
                      <a:pt x="237" y="438"/>
                    </a:cubicBezTo>
                    <a:cubicBezTo>
                      <a:pt x="237" y="428"/>
                      <a:pt x="237" y="428"/>
                      <a:pt x="237" y="428"/>
                    </a:cubicBezTo>
                    <a:cubicBezTo>
                      <a:pt x="243" y="420"/>
                      <a:pt x="246" y="411"/>
                      <a:pt x="255" y="404"/>
                    </a:cubicBezTo>
                    <a:lnTo>
                      <a:pt x="255" y="403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65" name="Полилиния 89">
                <a:extLst>
                  <a:ext uri="{FF2B5EF4-FFF2-40B4-BE49-F238E27FC236}">
                    <a16:creationId xmlns:a16="http://schemas.microsoft.com/office/drawing/2014/main" xmlns="" id="{08038DD9-B5E1-9EA3-06D1-81D9435351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0275" y="1443038"/>
                <a:ext cx="47625" cy="31750"/>
              </a:xfrm>
              <a:custGeom>
                <a:avLst/>
                <a:gdLst/>
                <a:ahLst/>
                <a:cxnLst>
                  <a:cxn ang="0">
                    <a:pos x="9" y="24"/>
                  </a:cxn>
                  <a:cxn ang="0">
                    <a:pos x="0" y="9"/>
                  </a:cxn>
                  <a:cxn ang="0">
                    <a:pos x="10" y="0"/>
                  </a:cxn>
                  <a:cxn ang="0">
                    <a:pos x="36" y="16"/>
                  </a:cxn>
                  <a:cxn ang="0">
                    <a:pos x="19" y="24"/>
                  </a:cxn>
                  <a:cxn ang="0">
                    <a:pos x="9" y="24"/>
                  </a:cxn>
                </a:cxnLst>
                <a:rect l="0" t="0" r="r" b="b"/>
                <a:pathLst>
                  <a:path w="36" h="24">
                    <a:moveTo>
                      <a:pt x="9" y="24"/>
                    </a:moveTo>
                    <a:cubicBezTo>
                      <a:pt x="5" y="24"/>
                      <a:pt x="0" y="14"/>
                      <a:pt x="0" y="9"/>
                    </a:cubicBezTo>
                    <a:cubicBezTo>
                      <a:pt x="0" y="2"/>
                      <a:pt x="6" y="0"/>
                      <a:pt x="10" y="0"/>
                    </a:cubicBezTo>
                    <a:cubicBezTo>
                      <a:pt x="21" y="0"/>
                      <a:pt x="25" y="12"/>
                      <a:pt x="36" y="16"/>
                    </a:cubicBezTo>
                    <a:cubicBezTo>
                      <a:pt x="35" y="23"/>
                      <a:pt x="26" y="24"/>
                      <a:pt x="19" y="24"/>
                    </a:cubicBezTo>
                    <a:lnTo>
                      <a:pt x="9" y="24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66" name="Полилиния 90">
                <a:extLst>
                  <a:ext uri="{FF2B5EF4-FFF2-40B4-BE49-F238E27FC236}">
                    <a16:creationId xmlns:a16="http://schemas.microsoft.com/office/drawing/2014/main" xmlns="" id="{2FA53A94-9C00-9171-CE13-5DD0F505B9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70350" y="1277938"/>
                <a:ext cx="26988" cy="15875"/>
              </a:xfrm>
              <a:custGeom>
                <a:avLst/>
                <a:gdLst/>
                <a:ahLst/>
                <a:cxnLst>
                  <a:cxn ang="0">
                    <a:pos x="6" y="12"/>
                  </a:cxn>
                  <a:cxn ang="0">
                    <a:pos x="0" y="5"/>
                  </a:cxn>
                  <a:cxn ang="0">
                    <a:pos x="4" y="0"/>
                  </a:cxn>
                  <a:cxn ang="0">
                    <a:pos x="12" y="0"/>
                  </a:cxn>
                  <a:cxn ang="0">
                    <a:pos x="12" y="5"/>
                  </a:cxn>
                  <a:cxn ang="0">
                    <a:pos x="20" y="5"/>
                  </a:cxn>
                  <a:cxn ang="0">
                    <a:pos x="6" y="12"/>
                  </a:cxn>
                </a:cxnLst>
                <a:rect l="0" t="0" r="r" b="b"/>
                <a:pathLst>
                  <a:path w="20" h="12">
                    <a:moveTo>
                      <a:pt x="6" y="12"/>
                    </a:moveTo>
                    <a:cubicBezTo>
                      <a:pt x="2" y="12"/>
                      <a:pt x="0" y="8"/>
                      <a:pt x="0" y="5"/>
                    </a:cubicBezTo>
                    <a:cubicBezTo>
                      <a:pt x="0" y="3"/>
                      <a:pt x="3" y="1"/>
                      <a:pt x="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"/>
                      <a:pt x="12" y="4"/>
                      <a:pt x="12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17" y="7"/>
                      <a:pt x="10" y="12"/>
                      <a:pt x="6" y="12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67" name="Полилиния 91">
                <a:extLst>
                  <a:ext uri="{FF2B5EF4-FFF2-40B4-BE49-F238E27FC236}">
                    <a16:creationId xmlns:a16="http://schemas.microsoft.com/office/drawing/2014/main" xmlns="" id="{465E6A82-504D-686D-5BE4-C567ABF88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50" y="1928813"/>
                <a:ext cx="109538" cy="106363"/>
              </a:xfrm>
              <a:custGeom>
                <a:avLst/>
                <a:gdLst/>
                <a:ahLst/>
                <a:cxnLst>
                  <a:cxn ang="0">
                    <a:pos x="4" y="67"/>
                  </a:cxn>
                  <a:cxn ang="0">
                    <a:pos x="0" y="62"/>
                  </a:cxn>
                  <a:cxn ang="0">
                    <a:pos x="8" y="54"/>
                  </a:cxn>
                  <a:cxn ang="0">
                    <a:pos x="8" y="51"/>
                  </a:cxn>
                  <a:cxn ang="0">
                    <a:pos x="4" y="49"/>
                  </a:cxn>
                  <a:cxn ang="0">
                    <a:pos x="28" y="13"/>
                  </a:cxn>
                  <a:cxn ang="0">
                    <a:pos x="41" y="0"/>
                  </a:cxn>
                  <a:cxn ang="0">
                    <a:pos x="44" y="4"/>
                  </a:cxn>
                  <a:cxn ang="0">
                    <a:pos x="32" y="27"/>
                  </a:cxn>
                  <a:cxn ang="0">
                    <a:pos x="32" y="31"/>
                  </a:cxn>
                  <a:cxn ang="0">
                    <a:pos x="39" y="27"/>
                  </a:cxn>
                  <a:cxn ang="0">
                    <a:pos x="46" y="29"/>
                  </a:cxn>
                  <a:cxn ang="0">
                    <a:pos x="44" y="32"/>
                  </a:cxn>
                  <a:cxn ang="0">
                    <a:pos x="44" y="36"/>
                  </a:cxn>
                  <a:cxn ang="0">
                    <a:pos x="52" y="36"/>
                  </a:cxn>
                  <a:cxn ang="0">
                    <a:pos x="52" y="38"/>
                  </a:cxn>
                  <a:cxn ang="0">
                    <a:pos x="57" y="36"/>
                  </a:cxn>
                  <a:cxn ang="0">
                    <a:pos x="70" y="36"/>
                  </a:cxn>
                  <a:cxn ang="0">
                    <a:pos x="69" y="51"/>
                  </a:cxn>
                  <a:cxn ang="0">
                    <a:pos x="74" y="49"/>
                  </a:cxn>
                  <a:cxn ang="0">
                    <a:pos x="70" y="56"/>
                  </a:cxn>
                  <a:cxn ang="0">
                    <a:pos x="73" y="63"/>
                  </a:cxn>
                  <a:cxn ang="0">
                    <a:pos x="79" y="60"/>
                  </a:cxn>
                  <a:cxn ang="0">
                    <a:pos x="82" y="70"/>
                  </a:cxn>
                  <a:cxn ang="0">
                    <a:pos x="75" y="80"/>
                  </a:cxn>
                  <a:cxn ang="0">
                    <a:pos x="71" y="75"/>
                  </a:cxn>
                  <a:cxn ang="0">
                    <a:pos x="67" y="74"/>
                  </a:cxn>
                  <a:cxn ang="0">
                    <a:pos x="63" y="62"/>
                  </a:cxn>
                  <a:cxn ang="0">
                    <a:pos x="50" y="74"/>
                  </a:cxn>
                  <a:cxn ang="0">
                    <a:pos x="47" y="74"/>
                  </a:cxn>
                  <a:cxn ang="0">
                    <a:pos x="52" y="67"/>
                  </a:cxn>
                  <a:cxn ang="0">
                    <a:pos x="40" y="65"/>
                  </a:cxn>
                  <a:cxn ang="0">
                    <a:pos x="31" y="67"/>
                  </a:cxn>
                  <a:cxn ang="0">
                    <a:pos x="18" y="64"/>
                  </a:cxn>
                  <a:cxn ang="0">
                    <a:pos x="4" y="67"/>
                  </a:cxn>
                </a:cxnLst>
                <a:rect l="0" t="0" r="r" b="b"/>
                <a:pathLst>
                  <a:path w="82" h="80">
                    <a:moveTo>
                      <a:pt x="4" y="67"/>
                    </a:moveTo>
                    <a:cubicBezTo>
                      <a:pt x="2" y="67"/>
                      <a:pt x="0" y="64"/>
                      <a:pt x="0" y="62"/>
                    </a:cubicBezTo>
                    <a:cubicBezTo>
                      <a:pt x="0" y="61"/>
                      <a:pt x="8" y="55"/>
                      <a:pt x="8" y="54"/>
                    </a:cubicBezTo>
                    <a:cubicBezTo>
                      <a:pt x="8" y="51"/>
                      <a:pt x="8" y="51"/>
                      <a:pt x="8" y="51"/>
                    </a:cubicBezTo>
                    <a:cubicBezTo>
                      <a:pt x="6" y="51"/>
                      <a:pt x="5" y="51"/>
                      <a:pt x="4" y="49"/>
                    </a:cubicBezTo>
                    <a:cubicBezTo>
                      <a:pt x="17" y="43"/>
                      <a:pt x="21" y="23"/>
                      <a:pt x="28" y="13"/>
                    </a:cubicBezTo>
                    <a:cubicBezTo>
                      <a:pt x="32" y="7"/>
                      <a:pt x="34" y="0"/>
                      <a:pt x="41" y="0"/>
                    </a:cubicBezTo>
                    <a:cubicBezTo>
                      <a:pt x="43" y="0"/>
                      <a:pt x="44" y="3"/>
                      <a:pt x="44" y="4"/>
                    </a:cubicBezTo>
                    <a:cubicBezTo>
                      <a:pt x="44" y="14"/>
                      <a:pt x="35" y="19"/>
                      <a:pt x="32" y="27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36" y="30"/>
                      <a:pt x="36" y="27"/>
                      <a:pt x="39" y="27"/>
                    </a:cubicBezTo>
                    <a:cubicBezTo>
                      <a:pt x="42" y="27"/>
                      <a:pt x="44" y="28"/>
                      <a:pt x="46" y="29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36"/>
                      <a:pt x="44" y="36"/>
                      <a:pt x="44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36"/>
                      <a:pt x="52" y="38"/>
                      <a:pt x="52" y="38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62" y="37"/>
                      <a:pt x="68" y="37"/>
                      <a:pt x="70" y="36"/>
                    </a:cubicBezTo>
                    <a:cubicBezTo>
                      <a:pt x="70" y="40"/>
                      <a:pt x="69" y="44"/>
                      <a:pt x="69" y="51"/>
                    </a:cubicBezTo>
                    <a:cubicBezTo>
                      <a:pt x="70" y="50"/>
                      <a:pt x="73" y="49"/>
                      <a:pt x="74" y="49"/>
                    </a:cubicBezTo>
                    <a:cubicBezTo>
                      <a:pt x="74" y="53"/>
                      <a:pt x="70" y="54"/>
                      <a:pt x="70" y="56"/>
                    </a:cubicBezTo>
                    <a:cubicBezTo>
                      <a:pt x="70" y="58"/>
                      <a:pt x="73" y="60"/>
                      <a:pt x="73" y="63"/>
                    </a:cubicBezTo>
                    <a:cubicBezTo>
                      <a:pt x="77" y="63"/>
                      <a:pt x="76" y="62"/>
                      <a:pt x="79" y="60"/>
                    </a:cubicBezTo>
                    <a:cubicBezTo>
                      <a:pt x="79" y="66"/>
                      <a:pt x="82" y="65"/>
                      <a:pt x="82" y="70"/>
                    </a:cubicBezTo>
                    <a:cubicBezTo>
                      <a:pt x="82" y="75"/>
                      <a:pt x="79" y="80"/>
                      <a:pt x="75" y="80"/>
                    </a:cubicBezTo>
                    <a:cubicBezTo>
                      <a:pt x="72" y="80"/>
                      <a:pt x="71" y="77"/>
                      <a:pt x="71" y="75"/>
                    </a:cubicBezTo>
                    <a:cubicBezTo>
                      <a:pt x="69" y="75"/>
                      <a:pt x="69" y="74"/>
                      <a:pt x="67" y="74"/>
                    </a:cubicBezTo>
                    <a:cubicBezTo>
                      <a:pt x="64" y="74"/>
                      <a:pt x="66" y="66"/>
                      <a:pt x="63" y="62"/>
                    </a:cubicBezTo>
                    <a:cubicBezTo>
                      <a:pt x="59" y="67"/>
                      <a:pt x="55" y="74"/>
                      <a:pt x="50" y="74"/>
                    </a:cubicBezTo>
                    <a:cubicBezTo>
                      <a:pt x="49" y="74"/>
                      <a:pt x="47" y="75"/>
                      <a:pt x="47" y="74"/>
                    </a:cubicBezTo>
                    <a:cubicBezTo>
                      <a:pt x="47" y="70"/>
                      <a:pt x="51" y="70"/>
                      <a:pt x="52" y="67"/>
                    </a:cubicBezTo>
                    <a:cubicBezTo>
                      <a:pt x="48" y="67"/>
                      <a:pt x="42" y="70"/>
                      <a:pt x="40" y="65"/>
                    </a:cubicBezTo>
                    <a:cubicBezTo>
                      <a:pt x="37" y="66"/>
                      <a:pt x="34" y="67"/>
                      <a:pt x="31" y="67"/>
                    </a:cubicBezTo>
                    <a:cubicBezTo>
                      <a:pt x="25" y="67"/>
                      <a:pt x="23" y="64"/>
                      <a:pt x="18" y="64"/>
                    </a:cubicBezTo>
                    <a:cubicBezTo>
                      <a:pt x="11" y="64"/>
                      <a:pt x="9" y="67"/>
                      <a:pt x="4" y="67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68" name="Полилиния 92">
                <a:extLst>
                  <a:ext uri="{FF2B5EF4-FFF2-40B4-BE49-F238E27FC236}">
                    <a16:creationId xmlns:a16="http://schemas.microsoft.com/office/drawing/2014/main" xmlns="" id="{A43D7A3A-344E-F021-E596-32E90725D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7288" y="2314575"/>
                <a:ext cx="671513" cy="450850"/>
              </a:xfrm>
              <a:custGeom>
                <a:avLst/>
                <a:gdLst/>
                <a:ahLst/>
                <a:cxnLst>
                  <a:cxn ang="0">
                    <a:pos x="250" y="98"/>
                  </a:cxn>
                  <a:cxn ang="0">
                    <a:pos x="246" y="141"/>
                  </a:cxn>
                  <a:cxn ang="0">
                    <a:pos x="251" y="160"/>
                  </a:cxn>
                  <a:cxn ang="0">
                    <a:pos x="281" y="192"/>
                  </a:cxn>
                  <a:cxn ang="0">
                    <a:pos x="312" y="191"/>
                  </a:cxn>
                  <a:cxn ang="0">
                    <a:pos x="327" y="187"/>
                  </a:cxn>
                  <a:cxn ang="0">
                    <a:pos x="363" y="152"/>
                  </a:cxn>
                  <a:cxn ang="0">
                    <a:pos x="382" y="154"/>
                  </a:cxn>
                  <a:cxn ang="0">
                    <a:pos x="374" y="180"/>
                  </a:cxn>
                  <a:cxn ang="0">
                    <a:pos x="369" y="192"/>
                  </a:cxn>
                  <a:cxn ang="0">
                    <a:pos x="365" y="213"/>
                  </a:cxn>
                  <a:cxn ang="0">
                    <a:pos x="357" y="224"/>
                  </a:cxn>
                  <a:cxn ang="0">
                    <a:pos x="405" y="226"/>
                  </a:cxn>
                  <a:cxn ang="0">
                    <a:pos x="426" y="242"/>
                  </a:cxn>
                  <a:cxn ang="0">
                    <a:pos x="423" y="289"/>
                  </a:cxn>
                  <a:cxn ang="0">
                    <a:pos x="451" y="316"/>
                  </a:cxn>
                  <a:cxn ang="0">
                    <a:pos x="504" y="322"/>
                  </a:cxn>
                  <a:cxn ang="0">
                    <a:pos x="488" y="329"/>
                  </a:cxn>
                  <a:cxn ang="0">
                    <a:pos x="480" y="316"/>
                  </a:cxn>
                  <a:cxn ang="0">
                    <a:pos x="468" y="332"/>
                  </a:cxn>
                  <a:cxn ang="0">
                    <a:pos x="446" y="326"/>
                  </a:cxn>
                  <a:cxn ang="0">
                    <a:pos x="431" y="323"/>
                  </a:cxn>
                  <a:cxn ang="0">
                    <a:pos x="406" y="302"/>
                  </a:cxn>
                  <a:cxn ang="0">
                    <a:pos x="402" y="306"/>
                  </a:cxn>
                  <a:cxn ang="0">
                    <a:pos x="391" y="281"/>
                  </a:cxn>
                  <a:cxn ang="0">
                    <a:pos x="372" y="260"/>
                  </a:cxn>
                  <a:cxn ang="0">
                    <a:pos x="345" y="255"/>
                  </a:cxn>
                  <a:cxn ang="0">
                    <a:pos x="294" y="226"/>
                  </a:cxn>
                  <a:cxn ang="0">
                    <a:pos x="282" y="222"/>
                  </a:cxn>
                  <a:cxn ang="0">
                    <a:pos x="256" y="227"/>
                  </a:cxn>
                  <a:cxn ang="0">
                    <a:pos x="221" y="214"/>
                  </a:cxn>
                  <a:cxn ang="0">
                    <a:pos x="195" y="203"/>
                  </a:cxn>
                  <a:cxn ang="0">
                    <a:pos x="175" y="195"/>
                  </a:cxn>
                  <a:cxn ang="0">
                    <a:pos x="148" y="172"/>
                  </a:cxn>
                  <a:cxn ang="0">
                    <a:pos x="148" y="150"/>
                  </a:cxn>
                  <a:cxn ang="0">
                    <a:pos x="102" y="101"/>
                  </a:cxn>
                  <a:cxn ang="0">
                    <a:pos x="82" y="68"/>
                  </a:cxn>
                  <a:cxn ang="0">
                    <a:pos x="62" y="53"/>
                  </a:cxn>
                  <a:cxn ang="0">
                    <a:pos x="49" y="22"/>
                  </a:cxn>
                  <a:cxn ang="0">
                    <a:pos x="28" y="19"/>
                  </a:cxn>
                  <a:cxn ang="0">
                    <a:pos x="49" y="53"/>
                  </a:cxn>
                  <a:cxn ang="0">
                    <a:pos x="73" y="95"/>
                  </a:cxn>
                  <a:cxn ang="0">
                    <a:pos x="96" y="130"/>
                  </a:cxn>
                  <a:cxn ang="0">
                    <a:pos x="86" y="127"/>
                  </a:cxn>
                  <a:cxn ang="0">
                    <a:pos x="65" y="109"/>
                  </a:cxn>
                  <a:cxn ang="0">
                    <a:pos x="52" y="84"/>
                  </a:cxn>
                  <a:cxn ang="0">
                    <a:pos x="40" y="69"/>
                  </a:cxn>
                  <a:cxn ang="0">
                    <a:pos x="11" y="24"/>
                  </a:cxn>
                  <a:cxn ang="0">
                    <a:pos x="0" y="0"/>
                  </a:cxn>
                  <a:cxn ang="0">
                    <a:pos x="76" y="16"/>
                  </a:cxn>
                  <a:cxn ang="0">
                    <a:pos x="113" y="10"/>
                  </a:cxn>
                  <a:cxn ang="0">
                    <a:pos x="152" y="29"/>
                  </a:cxn>
                  <a:cxn ang="0">
                    <a:pos x="188" y="38"/>
                  </a:cxn>
                  <a:cxn ang="0">
                    <a:pos x="249" y="90"/>
                  </a:cxn>
                  <a:cxn ang="0">
                    <a:pos x="247" y="86"/>
                  </a:cxn>
                </a:cxnLst>
                <a:rect l="0" t="0" r="r" b="b"/>
                <a:pathLst>
                  <a:path w="504" h="338">
                    <a:moveTo>
                      <a:pt x="248" y="91"/>
                    </a:moveTo>
                    <a:cubicBezTo>
                      <a:pt x="249" y="94"/>
                      <a:pt x="250" y="96"/>
                      <a:pt x="250" y="98"/>
                    </a:cubicBezTo>
                    <a:cubicBezTo>
                      <a:pt x="250" y="106"/>
                      <a:pt x="247" y="109"/>
                      <a:pt x="246" y="116"/>
                    </a:cubicBezTo>
                    <a:cubicBezTo>
                      <a:pt x="246" y="141"/>
                      <a:pt x="246" y="141"/>
                      <a:pt x="246" y="141"/>
                    </a:cubicBezTo>
                    <a:cubicBezTo>
                      <a:pt x="245" y="144"/>
                      <a:pt x="248" y="148"/>
                      <a:pt x="249" y="150"/>
                    </a:cubicBezTo>
                    <a:cubicBezTo>
                      <a:pt x="251" y="154"/>
                      <a:pt x="249" y="156"/>
                      <a:pt x="251" y="160"/>
                    </a:cubicBezTo>
                    <a:cubicBezTo>
                      <a:pt x="252" y="164"/>
                      <a:pt x="258" y="170"/>
                      <a:pt x="261" y="173"/>
                    </a:cubicBezTo>
                    <a:cubicBezTo>
                      <a:pt x="269" y="181"/>
                      <a:pt x="269" y="188"/>
                      <a:pt x="281" y="192"/>
                    </a:cubicBezTo>
                    <a:cubicBezTo>
                      <a:pt x="285" y="193"/>
                      <a:pt x="285" y="197"/>
                      <a:pt x="288" y="197"/>
                    </a:cubicBezTo>
                    <a:cubicBezTo>
                      <a:pt x="297" y="197"/>
                      <a:pt x="304" y="191"/>
                      <a:pt x="312" y="191"/>
                    </a:cubicBezTo>
                    <a:cubicBezTo>
                      <a:pt x="317" y="191"/>
                      <a:pt x="319" y="194"/>
                      <a:pt x="321" y="194"/>
                    </a:cubicBezTo>
                    <a:cubicBezTo>
                      <a:pt x="324" y="194"/>
                      <a:pt x="327" y="188"/>
                      <a:pt x="327" y="187"/>
                    </a:cubicBezTo>
                    <a:cubicBezTo>
                      <a:pt x="329" y="181"/>
                      <a:pt x="336" y="176"/>
                      <a:pt x="336" y="169"/>
                    </a:cubicBezTo>
                    <a:cubicBezTo>
                      <a:pt x="336" y="156"/>
                      <a:pt x="351" y="152"/>
                      <a:pt x="363" y="152"/>
                    </a:cubicBezTo>
                    <a:cubicBezTo>
                      <a:pt x="367" y="152"/>
                      <a:pt x="370" y="152"/>
                      <a:pt x="372" y="153"/>
                    </a:cubicBezTo>
                    <a:cubicBezTo>
                      <a:pt x="373" y="154"/>
                      <a:pt x="379" y="154"/>
                      <a:pt x="382" y="154"/>
                    </a:cubicBezTo>
                    <a:cubicBezTo>
                      <a:pt x="382" y="155"/>
                      <a:pt x="382" y="157"/>
                      <a:pt x="382" y="158"/>
                    </a:cubicBezTo>
                    <a:cubicBezTo>
                      <a:pt x="382" y="164"/>
                      <a:pt x="374" y="172"/>
                      <a:pt x="374" y="180"/>
                    </a:cubicBezTo>
                    <a:cubicBezTo>
                      <a:pt x="374" y="188"/>
                      <a:pt x="372" y="191"/>
                      <a:pt x="369" y="195"/>
                    </a:cubicBezTo>
                    <a:cubicBezTo>
                      <a:pt x="369" y="194"/>
                      <a:pt x="369" y="193"/>
                      <a:pt x="369" y="192"/>
                    </a:cubicBezTo>
                    <a:cubicBezTo>
                      <a:pt x="368" y="192"/>
                      <a:pt x="367" y="192"/>
                      <a:pt x="365" y="192"/>
                    </a:cubicBezTo>
                    <a:cubicBezTo>
                      <a:pt x="365" y="197"/>
                      <a:pt x="365" y="207"/>
                      <a:pt x="365" y="213"/>
                    </a:cubicBezTo>
                    <a:cubicBezTo>
                      <a:pt x="365" y="217"/>
                      <a:pt x="360" y="219"/>
                      <a:pt x="357" y="222"/>
                    </a:cubicBezTo>
                    <a:cubicBezTo>
                      <a:pt x="357" y="223"/>
                      <a:pt x="357" y="223"/>
                      <a:pt x="357" y="224"/>
                    </a:cubicBezTo>
                    <a:cubicBezTo>
                      <a:pt x="357" y="227"/>
                      <a:pt x="360" y="229"/>
                      <a:pt x="363" y="229"/>
                    </a:cubicBezTo>
                    <a:cubicBezTo>
                      <a:pt x="377" y="229"/>
                      <a:pt x="389" y="226"/>
                      <a:pt x="405" y="226"/>
                    </a:cubicBezTo>
                    <a:cubicBezTo>
                      <a:pt x="415" y="226"/>
                      <a:pt x="418" y="234"/>
                      <a:pt x="426" y="236"/>
                    </a:cubicBezTo>
                    <a:cubicBezTo>
                      <a:pt x="426" y="238"/>
                      <a:pt x="426" y="240"/>
                      <a:pt x="426" y="242"/>
                    </a:cubicBezTo>
                    <a:cubicBezTo>
                      <a:pt x="426" y="246"/>
                      <a:pt x="425" y="257"/>
                      <a:pt x="423" y="262"/>
                    </a:cubicBezTo>
                    <a:cubicBezTo>
                      <a:pt x="423" y="272"/>
                      <a:pt x="423" y="281"/>
                      <a:pt x="423" y="289"/>
                    </a:cubicBezTo>
                    <a:cubicBezTo>
                      <a:pt x="423" y="298"/>
                      <a:pt x="432" y="302"/>
                      <a:pt x="439" y="306"/>
                    </a:cubicBezTo>
                    <a:cubicBezTo>
                      <a:pt x="444" y="308"/>
                      <a:pt x="444" y="316"/>
                      <a:pt x="451" y="316"/>
                    </a:cubicBezTo>
                    <a:cubicBezTo>
                      <a:pt x="463" y="316"/>
                      <a:pt x="469" y="307"/>
                      <a:pt x="479" y="307"/>
                    </a:cubicBezTo>
                    <a:cubicBezTo>
                      <a:pt x="491" y="307"/>
                      <a:pt x="497" y="316"/>
                      <a:pt x="504" y="322"/>
                    </a:cubicBezTo>
                    <a:cubicBezTo>
                      <a:pt x="503" y="323"/>
                      <a:pt x="494" y="333"/>
                      <a:pt x="493" y="332"/>
                    </a:cubicBezTo>
                    <a:cubicBezTo>
                      <a:pt x="492" y="331"/>
                      <a:pt x="488" y="330"/>
                      <a:pt x="488" y="329"/>
                    </a:cubicBezTo>
                    <a:cubicBezTo>
                      <a:pt x="488" y="327"/>
                      <a:pt x="490" y="326"/>
                      <a:pt x="491" y="324"/>
                    </a:cubicBezTo>
                    <a:cubicBezTo>
                      <a:pt x="486" y="322"/>
                      <a:pt x="484" y="316"/>
                      <a:pt x="480" y="316"/>
                    </a:cubicBezTo>
                    <a:cubicBezTo>
                      <a:pt x="476" y="316"/>
                      <a:pt x="464" y="325"/>
                      <a:pt x="464" y="328"/>
                    </a:cubicBezTo>
                    <a:cubicBezTo>
                      <a:pt x="464" y="330"/>
                      <a:pt x="467" y="331"/>
                      <a:pt x="468" y="332"/>
                    </a:cubicBezTo>
                    <a:cubicBezTo>
                      <a:pt x="467" y="336"/>
                      <a:pt x="465" y="338"/>
                      <a:pt x="461" y="338"/>
                    </a:cubicBezTo>
                    <a:cubicBezTo>
                      <a:pt x="454" y="338"/>
                      <a:pt x="450" y="330"/>
                      <a:pt x="446" y="326"/>
                    </a:cubicBezTo>
                    <a:cubicBezTo>
                      <a:pt x="443" y="323"/>
                      <a:pt x="436" y="326"/>
                      <a:pt x="433" y="326"/>
                    </a:cubicBezTo>
                    <a:cubicBezTo>
                      <a:pt x="432" y="326"/>
                      <a:pt x="431" y="324"/>
                      <a:pt x="431" y="323"/>
                    </a:cubicBezTo>
                    <a:cubicBezTo>
                      <a:pt x="424" y="322"/>
                      <a:pt x="424" y="318"/>
                      <a:pt x="423" y="314"/>
                    </a:cubicBezTo>
                    <a:cubicBezTo>
                      <a:pt x="421" y="311"/>
                      <a:pt x="406" y="302"/>
                      <a:pt x="406" y="302"/>
                    </a:cubicBezTo>
                    <a:cubicBezTo>
                      <a:pt x="405" y="304"/>
                      <a:pt x="405" y="305"/>
                      <a:pt x="406" y="306"/>
                    </a:cubicBezTo>
                    <a:cubicBezTo>
                      <a:pt x="402" y="306"/>
                      <a:pt x="402" y="306"/>
                      <a:pt x="402" y="306"/>
                    </a:cubicBezTo>
                    <a:cubicBezTo>
                      <a:pt x="395" y="302"/>
                      <a:pt x="399" y="296"/>
                      <a:pt x="397" y="289"/>
                    </a:cubicBezTo>
                    <a:cubicBezTo>
                      <a:pt x="396" y="285"/>
                      <a:pt x="394" y="284"/>
                      <a:pt x="391" y="281"/>
                    </a:cubicBezTo>
                    <a:cubicBezTo>
                      <a:pt x="384" y="274"/>
                      <a:pt x="377" y="270"/>
                      <a:pt x="374" y="260"/>
                    </a:cubicBezTo>
                    <a:cubicBezTo>
                      <a:pt x="373" y="260"/>
                      <a:pt x="372" y="260"/>
                      <a:pt x="372" y="260"/>
                    </a:cubicBezTo>
                    <a:cubicBezTo>
                      <a:pt x="368" y="260"/>
                      <a:pt x="366" y="262"/>
                      <a:pt x="363" y="262"/>
                    </a:cubicBezTo>
                    <a:cubicBezTo>
                      <a:pt x="355" y="262"/>
                      <a:pt x="350" y="257"/>
                      <a:pt x="345" y="255"/>
                    </a:cubicBezTo>
                    <a:cubicBezTo>
                      <a:pt x="336" y="251"/>
                      <a:pt x="330" y="253"/>
                      <a:pt x="321" y="248"/>
                    </a:cubicBezTo>
                    <a:cubicBezTo>
                      <a:pt x="308" y="242"/>
                      <a:pt x="306" y="232"/>
                      <a:pt x="294" y="226"/>
                    </a:cubicBezTo>
                    <a:cubicBezTo>
                      <a:pt x="291" y="226"/>
                      <a:pt x="291" y="226"/>
                      <a:pt x="291" y="226"/>
                    </a:cubicBezTo>
                    <a:cubicBezTo>
                      <a:pt x="288" y="224"/>
                      <a:pt x="285" y="222"/>
                      <a:pt x="282" y="222"/>
                    </a:cubicBezTo>
                    <a:cubicBezTo>
                      <a:pt x="274" y="222"/>
                      <a:pt x="272" y="231"/>
                      <a:pt x="265" y="231"/>
                    </a:cubicBezTo>
                    <a:cubicBezTo>
                      <a:pt x="261" y="231"/>
                      <a:pt x="258" y="228"/>
                      <a:pt x="256" y="227"/>
                    </a:cubicBezTo>
                    <a:cubicBezTo>
                      <a:pt x="252" y="225"/>
                      <a:pt x="249" y="226"/>
                      <a:pt x="246" y="226"/>
                    </a:cubicBezTo>
                    <a:cubicBezTo>
                      <a:pt x="241" y="226"/>
                      <a:pt x="226" y="216"/>
                      <a:pt x="221" y="214"/>
                    </a:cubicBezTo>
                    <a:cubicBezTo>
                      <a:pt x="216" y="211"/>
                      <a:pt x="213" y="214"/>
                      <a:pt x="208" y="213"/>
                    </a:cubicBezTo>
                    <a:cubicBezTo>
                      <a:pt x="202" y="211"/>
                      <a:pt x="201" y="206"/>
                      <a:pt x="195" y="203"/>
                    </a:cubicBezTo>
                    <a:cubicBezTo>
                      <a:pt x="189" y="200"/>
                      <a:pt x="186" y="201"/>
                      <a:pt x="180" y="198"/>
                    </a:cubicBezTo>
                    <a:cubicBezTo>
                      <a:pt x="177" y="197"/>
                      <a:pt x="177" y="196"/>
                      <a:pt x="175" y="195"/>
                    </a:cubicBezTo>
                    <a:cubicBezTo>
                      <a:pt x="170" y="190"/>
                      <a:pt x="156" y="187"/>
                      <a:pt x="155" y="181"/>
                    </a:cubicBezTo>
                    <a:cubicBezTo>
                      <a:pt x="151" y="181"/>
                      <a:pt x="148" y="176"/>
                      <a:pt x="148" y="172"/>
                    </a:cubicBezTo>
                    <a:cubicBezTo>
                      <a:pt x="148" y="167"/>
                      <a:pt x="153" y="165"/>
                      <a:pt x="153" y="160"/>
                    </a:cubicBezTo>
                    <a:cubicBezTo>
                      <a:pt x="153" y="154"/>
                      <a:pt x="149" y="153"/>
                      <a:pt x="148" y="150"/>
                    </a:cubicBezTo>
                    <a:cubicBezTo>
                      <a:pt x="143" y="134"/>
                      <a:pt x="128" y="121"/>
                      <a:pt x="118" y="111"/>
                    </a:cubicBezTo>
                    <a:cubicBezTo>
                      <a:pt x="114" y="107"/>
                      <a:pt x="107" y="105"/>
                      <a:pt x="102" y="101"/>
                    </a:cubicBezTo>
                    <a:cubicBezTo>
                      <a:pt x="99" y="97"/>
                      <a:pt x="102" y="93"/>
                      <a:pt x="100" y="88"/>
                    </a:cubicBezTo>
                    <a:cubicBezTo>
                      <a:pt x="96" y="80"/>
                      <a:pt x="82" y="79"/>
                      <a:pt x="82" y="68"/>
                    </a:cubicBezTo>
                    <a:cubicBezTo>
                      <a:pt x="78" y="68"/>
                      <a:pt x="79" y="67"/>
                      <a:pt x="77" y="68"/>
                    </a:cubicBezTo>
                    <a:cubicBezTo>
                      <a:pt x="72" y="63"/>
                      <a:pt x="67" y="58"/>
                      <a:pt x="62" y="53"/>
                    </a:cubicBezTo>
                    <a:cubicBezTo>
                      <a:pt x="58" y="49"/>
                      <a:pt x="60" y="42"/>
                      <a:pt x="56" y="38"/>
                    </a:cubicBezTo>
                    <a:cubicBezTo>
                      <a:pt x="52" y="34"/>
                      <a:pt x="53" y="24"/>
                      <a:pt x="49" y="22"/>
                    </a:cubicBezTo>
                    <a:cubicBezTo>
                      <a:pt x="42" y="19"/>
                      <a:pt x="35" y="19"/>
                      <a:pt x="29" y="13"/>
                    </a:cubicBezTo>
                    <a:cubicBezTo>
                      <a:pt x="27" y="15"/>
                      <a:pt x="28" y="18"/>
                      <a:pt x="28" y="19"/>
                    </a:cubicBezTo>
                    <a:cubicBezTo>
                      <a:pt x="28" y="28"/>
                      <a:pt x="32" y="34"/>
                      <a:pt x="36" y="41"/>
                    </a:cubicBezTo>
                    <a:cubicBezTo>
                      <a:pt x="39" y="48"/>
                      <a:pt x="45" y="48"/>
                      <a:pt x="49" y="53"/>
                    </a:cubicBezTo>
                    <a:cubicBezTo>
                      <a:pt x="55" y="59"/>
                      <a:pt x="56" y="63"/>
                      <a:pt x="58" y="71"/>
                    </a:cubicBezTo>
                    <a:cubicBezTo>
                      <a:pt x="61" y="81"/>
                      <a:pt x="70" y="86"/>
                      <a:pt x="73" y="95"/>
                    </a:cubicBezTo>
                    <a:cubicBezTo>
                      <a:pt x="77" y="106"/>
                      <a:pt x="80" y="117"/>
                      <a:pt x="87" y="122"/>
                    </a:cubicBezTo>
                    <a:cubicBezTo>
                      <a:pt x="91" y="119"/>
                      <a:pt x="96" y="126"/>
                      <a:pt x="96" y="130"/>
                    </a:cubicBezTo>
                    <a:cubicBezTo>
                      <a:pt x="96" y="132"/>
                      <a:pt x="95" y="136"/>
                      <a:pt x="93" y="136"/>
                    </a:cubicBezTo>
                    <a:cubicBezTo>
                      <a:pt x="92" y="136"/>
                      <a:pt x="86" y="129"/>
                      <a:pt x="86" y="127"/>
                    </a:cubicBezTo>
                    <a:cubicBezTo>
                      <a:pt x="78" y="127"/>
                      <a:pt x="74" y="117"/>
                      <a:pt x="69" y="113"/>
                    </a:cubicBezTo>
                    <a:cubicBezTo>
                      <a:pt x="66" y="112"/>
                      <a:pt x="66" y="112"/>
                      <a:pt x="65" y="109"/>
                    </a:cubicBezTo>
                    <a:cubicBezTo>
                      <a:pt x="65" y="98"/>
                      <a:pt x="65" y="98"/>
                      <a:pt x="65" y="98"/>
                    </a:cubicBezTo>
                    <a:cubicBezTo>
                      <a:pt x="60" y="93"/>
                      <a:pt x="56" y="88"/>
                      <a:pt x="52" y="84"/>
                    </a:cubicBezTo>
                    <a:cubicBezTo>
                      <a:pt x="46" y="78"/>
                      <a:pt x="36" y="79"/>
                      <a:pt x="31" y="72"/>
                    </a:cubicBezTo>
                    <a:cubicBezTo>
                      <a:pt x="34" y="72"/>
                      <a:pt x="44" y="74"/>
                      <a:pt x="40" y="69"/>
                    </a:cubicBezTo>
                    <a:cubicBezTo>
                      <a:pt x="34" y="59"/>
                      <a:pt x="26" y="50"/>
                      <a:pt x="19" y="45"/>
                    </a:cubicBezTo>
                    <a:cubicBezTo>
                      <a:pt x="14" y="41"/>
                      <a:pt x="14" y="29"/>
                      <a:pt x="11" y="24"/>
                    </a:cubicBezTo>
                    <a:cubicBezTo>
                      <a:pt x="7" y="16"/>
                      <a:pt x="3" y="13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113" y="16"/>
                      <a:pt x="113" y="16"/>
                      <a:pt x="113" y="16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21" y="10"/>
                      <a:pt x="121" y="10"/>
                      <a:pt x="121" y="10"/>
                    </a:cubicBezTo>
                    <a:cubicBezTo>
                      <a:pt x="136" y="14"/>
                      <a:pt x="145" y="16"/>
                      <a:pt x="152" y="29"/>
                    </a:cubicBezTo>
                    <a:cubicBezTo>
                      <a:pt x="156" y="35"/>
                      <a:pt x="163" y="50"/>
                      <a:pt x="172" y="50"/>
                    </a:cubicBezTo>
                    <a:cubicBezTo>
                      <a:pt x="181" y="50"/>
                      <a:pt x="178" y="38"/>
                      <a:pt x="188" y="38"/>
                    </a:cubicBezTo>
                    <a:cubicBezTo>
                      <a:pt x="214" y="38"/>
                      <a:pt x="213" y="70"/>
                      <a:pt x="227" y="84"/>
                    </a:cubicBezTo>
                    <a:cubicBezTo>
                      <a:pt x="231" y="87"/>
                      <a:pt x="242" y="90"/>
                      <a:pt x="249" y="90"/>
                    </a:cubicBezTo>
                    <a:cubicBezTo>
                      <a:pt x="249" y="89"/>
                      <a:pt x="247" y="87"/>
                      <a:pt x="247" y="86"/>
                    </a:cubicBezTo>
                    <a:cubicBezTo>
                      <a:pt x="247" y="86"/>
                      <a:pt x="247" y="86"/>
                      <a:pt x="247" y="86"/>
                    </a:cubicBezTo>
                    <a:lnTo>
                      <a:pt x="248" y="91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69" name="Полилиния 93">
                <a:extLst>
                  <a:ext uri="{FF2B5EF4-FFF2-40B4-BE49-F238E27FC236}">
                    <a16:creationId xmlns:a16="http://schemas.microsoft.com/office/drawing/2014/main" xmlns="" id="{EDFE03EB-3C1B-AB47-DFA2-E558E86153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1895475"/>
                <a:ext cx="20638" cy="95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" y="7"/>
                  </a:cxn>
                  <a:cxn ang="0">
                    <a:pos x="12" y="7"/>
                  </a:cxn>
                  <a:cxn ang="0">
                    <a:pos x="0" y="3"/>
                  </a:cxn>
                  <a:cxn ang="0">
                    <a:pos x="0" y="0"/>
                  </a:cxn>
                </a:cxnLst>
                <a:rect l="0" t="0" r="r" b="b"/>
                <a:pathLst>
                  <a:path w="15" h="8">
                    <a:moveTo>
                      <a:pt x="0" y="0"/>
                    </a:moveTo>
                    <a:cubicBezTo>
                      <a:pt x="7" y="0"/>
                      <a:pt x="15" y="1"/>
                      <a:pt x="15" y="7"/>
                    </a:cubicBezTo>
                    <a:cubicBezTo>
                      <a:pt x="15" y="8"/>
                      <a:pt x="13" y="7"/>
                      <a:pt x="12" y="7"/>
                    </a:cubicBezTo>
                    <a:cubicBezTo>
                      <a:pt x="8" y="7"/>
                      <a:pt x="2" y="5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70" name="Полилиния 94">
                <a:extLst>
                  <a:ext uri="{FF2B5EF4-FFF2-40B4-BE49-F238E27FC236}">
                    <a16:creationId xmlns:a16="http://schemas.microsoft.com/office/drawing/2014/main" xmlns="" id="{B598D3D7-E3A2-1478-7045-8C242E88B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9963" y="1951038"/>
                <a:ext cx="79375" cy="50800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6" y="0"/>
                  </a:cxn>
                  <a:cxn ang="0">
                    <a:pos x="18" y="6"/>
                  </a:cxn>
                  <a:cxn ang="0">
                    <a:pos x="59" y="34"/>
                  </a:cxn>
                  <a:cxn ang="0">
                    <a:pos x="59" y="38"/>
                  </a:cxn>
                  <a:cxn ang="0">
                    <a:pos x="55" y="38"/>
                  </a:cxn>
                  <a:cxn ang="0">
                    <a:pos x="22" y="22"/>
                  </a:cxn>
                  <a:cxn ang="0">
                    <a:pos x="27" y="17"/>
                  </a:cxn>
                  <a:cxn ang="0">
                    <a:pos x="4" y="8"/>
                  </a:cxn>
                  <a:cxn ang="0">
                    <a:pos x="8" y="4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59" h="38">
                    <a:moveTo>
                      <a:pt x="0" y="2"/>
                    </a:moveTo>
                    <a:cubicBezTo>
                      <a:pt x="2" y="1"/>
                      <a:pt x="4" y="0"/>
                      <a:pt x="6" y="0"/>
                    </a:cubicBezTo>
                    <a:cubicBezTo>
                      <a:pt x="11" y="0"/>
                      <a:pt x="15" y="5"/>
                      <a:pt x="18" y="6"/>
                    </a:cubicBezTo>
                    <a:cubicBezTo>
                      <a:pt x="37" y="12"/>
                      <a:pt x="48" y="23"/>
                      <a:pt x="59" y="34"/>
                    </a:cubicBezTo>
                    <a:cubicBezTo>
                      <a:pt x="59" y="38"/>
                      <a:pt x="59" y="38"/>
                      <a:pt x="59" y="38"/>
                    </a:cubicBezTo>
                    <a:cubicBezTo>
                      <a:pt x="58" y="38"/>
                      <a:pt x="56" y="38"/>
                      <a:pt x="55" y="38"/>
                    </a:cubicBezTo>
                    <a:cubicBezTo>
                      <a:pt x="45" y="38"/>
                      <a:pt x="29" y="26"/>
                      <a:pt x="22" y="22"/>
                    </a:cubicBezTo>
                    <a:cubicBezTo>
                      <a:pt x="23" y="19"/>
                      <a:pt x="25" y="19"/>
                      <a:pt x="27" y="17"/>
                    </a:cubicBezTo>
                    <a:cubicBezTo>
                      <a:pt x="18" y="17"/>
                      <a:pt x="6" y="13"/>
                      <a:pt x="4" y="8"/>
                    </a:cubicBezTo>
                    <a:cubicBezTo>
                      <a:pt x="6" y="7"/>
                      <a:pt x="8" y="5"/>
                      <a:pt x="8" y="4"/>
                    </a:cubicBezTo>
                    <a:cubicBezTo>
                      <a:pt x="6" y="3"/>
                      <a:pt x="2" y="2"/>
                      <a:pt x="2" y="2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71" name="Полилиния 95">
                <a:extLst>
                  <a:ext uri="{FF2B5EF4-FFF2-40B4-BE49-F238E27FC236}">
                    <a16:creationId xmlns:a16="http://schemas.microsoft.com/office/drawing/2014/main" xmlns="" id="{9D7DCBE1-F8B2-CE38-2BB2-99DA926786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2175" y="1876425"/>
                <a:ext cx="28575" cy="39688"/>
              </a:xfrm>
              <a:custGeom>
                <a:avLst/>
                <a:gdLst/>
                <a:ahLst/>
                <a:cxnLst>
                  <a:cxn ang="0">
                    <a:pos x="5" y="12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10" y="3"/>
                  </a:cxn>
                  <a:cxn ang="0">
                    <a:pos x="7" y="8"/>
                  </a:cxn>
                  <a:cxn ang="0">
                    <a:pos x="13" y="3"/>
                  </a:cxn>
                  <a:cxn ang="0">
                    <a:pos x="13" y="12"/>
                  </a:cxn>
                  <a:cxn ang="0">
                    <a:pos x="15" y="18"/>
                  </a:cxn>
                  <a:cxn ang="0">
                    <a:pos x="13" y="22"/>
                  </a:cxn>
                  <a:cxn ang="0">
                    <a:pos x="17" y="30"/>
                  </a:cxn>
                  <a:cxn ang="0">
                    <a:pos x="10" y="22"/>
                  </a:cxn>
                  <a:cxn ang="0">
                    <a:pos x="12" y="17"/>
                  </a:cxn>
                  <a:cxn ang="0">
                    <a:pos x="5" y="12"/>
                  </a:cxn>
                </a:cxnLst>
                <a:rect l="0" t="0" r="r" b="b"/>
                <a:pathLst>
                  <a:path w="21" h="30">
                    <a:moveTo>
                      <a:pt x="5" y="12"/>
                    </a:moveTo>
                    <a:cubicBezTo>
                      <a:pt x="3" y="12"/>
                      <a:pt x="2" y="6"/>
                      <a:pt x="0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" y="0"/>
                      <a:pt x="6" y="3"/>
                      <a:pt x="10" y="3"/>
                    </a:cubicBezTo>
                    <a:cubicBezTo>
                      <a:pt x="10" y="4"/>
                      <a:pt x="5" y="8"/>
                      <a:pt x="7" y="8"/>
                    </a:cubicBezTo>
                    <a:cubicBezTo>
                      <a:pt x="10" y="8"/>
                      <a:pt x="12" y="5"/>
                      <a:pt x="13" y="3"/>
                    </a:cubicBezTo>
                    <a:cubicBezTo>
                      <a:pt x="14" y="5"/>
                      <a:pt x="13" y="8"/>
                      <a:pt x="13" y="12"/>
                    </a:cubicBezTo>
                    <a:cubicBezTo>
                      <a:pt x="13" y="15"/>
                      <a:pt x="15" y="15"/>
                      <a:pt x="15" y="18"/>
                    </a:cubicBezTo>
                    <a:cubicBezTo>
                      <a:pt x="15" y="19"/>
                      <a:pt x="13" y="20"/>
                      <a:pt x="13" y="22"/>
                    </a:cubicBezTo>
                    <a:cubicBezTo>
                      <a:pt x="13" y="24"/>
                      <a:pt x="21" y="30"/>
                      <a:pt x="17" y="30"/>
                    </a:cubicBezTo>
                    <a:cubicBezTo>
                      <a:pt x="13" y="30"/>
                      <a:pt x="10" y="26"/>
                      <a:pt x="10" y="22"/>
                    </a:cubicBezTo>
                    <a:cubicBezTo>
                      <a:pt x="10" y="19"/>
                      <a:pt x="12" y="18"/>
                      <a:pt x="12" y="17"/>
                    </a:cubicBezTo>
                    <a:cubicBezTo>
                      <a:pt x="9" y="16"/>
                      <a:pt x="8" y="12"/>
                      <a:pt x="5" y="12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72" name="Полилиния 96">
                <a:extLst>
                  <a:ext uri="{FF2B5EF4-FFF2-40B4-BE49-F238E27FC236}">
                    <a16:creationId xmlns:a16="http://schemas.microsoft.com/office/drawing/2014/main" xmlns="" id="{B4C0BB4F-1418-1CDE-604E-AFD3399D5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3400" y="1787525"/>
                <a:ext cx="34925" cy="23813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7" y="0"/>
                  </a:cxn>
                  <a:cxn ang="0">
                    <a:pos x="27" y="6"/>
                  </a:cxn>
                  <a:cxn ang="0">
                    <a:pos x="10" y="18"/>
                  </a:cxn>
                  <a:cxn ang="0">
                    <a:pos x="0" y="12"/>
                  </a:cxn>
                  <a:cxn ang="0">
                    <a:pos x="0" y="7"/>
                  </a:cxn>
                  <a:cxn ang="0">
                    <a:pos x="21" y="0"/>
                  </a:cxn>
                </a:cxnLst>
                <a:rect l="0" t="0" r="r" b="b"/>
                <a:pathLst>
                  <a:path w="27" h="18">
                    <a:moveTo>
                      <a:pt x="21" y="0"/>
                    </a:moveTo>
                    <a:cubicBezTo>
                      <a:pt x="25" y="0"/>
                      <a:pt x="25" y="0"/>
                      <a:pt x="27" y="0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19" y="10"/>
                      <a:pt x="16" y="13"/>
                      <a:pt x="10" y="18"/>
                    </a:cubicBezTo>
                    <a:cubicBezTo>
                      <a:pt x="6" y="15"/>
                      <a:pt x="3" y="15"/>
                      <a:pt x="0" y="12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8" y="5"/>
                      <a:pt x="14" y="0"/>
                      <a:pt x="21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73" name="Полилиния 97">
                <a:extLst>
                  <a:ext uri="{FF2B5EF4-FFF2-40B4-BE49-F238E27FC236}">
                    <a16:creationId xmlns:a16="http://schemas.microsoft.com/office/drawing/2014/main" xmlns="" id="{7F964F02-3748-928C-7E79-C8D632AF75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1525" y="1963738"/>
                <a:ext cx="42863" cy="22225"/>
              </a:xfrm>
              <a:custGeom>
                <a:avLst/>
                <a:gdLst/>
                <a:ahLst/>
                <a:cxnLst>
                  <a:cxn ang="0">
                    <a:pos x="26" y="17"/>
                  </a:cxn>
                  <a:cxn ang="0">
                    <a:pos x="32" y="14"/>
                  </a:cxn>
                  <a:cxn ang="0">
                    <a:pos x="0" y="3"/>
                  </a:cxn>
                  <a:cxn ang="0">
                    <a:pos x="26" y="17"/>
                  </a:cxn>
                </a:cxnLst>
                <a:rect l="0" t="0" r="r" b="b"/>
                <a:pathLst>
                  <a:path w="32" h="17">
                    <a:moveTo>
                      <a:pt x="26" y="17"/>
                    </a:moveTo>
                    <a:cubicBezTo>
                      <a:pt x="29" y="17"/>
                      <a:pt x="30" y="16"/>
                      <a:pt x="32" y="14"/>
                    </a:cubicBezTo>
                    <a:cubicBezTo>
                      <a:pt x="22" y="9"/>
                      <a:pt x="14" y="0"/>
                      <a:pt x="0" y="3"/>
                    </a:cubicBezTo>
                    <a:cubicBezTo>
                      <a:pt x="6" y="7"/>
                      <a:pt x="18" y="17"/>
                      <a:pt x="26" y="17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74" name="Полилиния 98">
                <a:extLst>
                  <a:ext uri="{FF2B5EF4-FFF2-40B4-BE49-F238E27FC236}">
                    <a16:creationId xmlns:a16="http://schemas.microsoft.com/office/drawing/2014/main" xmlns="" id="{4A067789-BD70-E777-7796-B8A1B8F92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4700" y="2030413"/>
                <a:ext cx="31750" cy="2063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1" y="7"/>
                  </a:cxn>
                  <a:cxn ang="0">
                    <a:pos x="24" y="7"/>
                  </a:cxn>
                  <a:cxn ang="0">
                    <a:pos x="24" y="10"/>
                  </a:cxn>
                  <a:cxn ang="0">
                    <a:pos x="19" y="15"/>
                  </a:cxn>
                  <a:cxn ang="0">
                    <a:pos x="0" y="3"/>
                  </a:cxn>
                  <a:cxn ang="0">
                    <a:pos x="1" y="0"/>
                  </a:cxn>
                </a:cxnLst>
                <a:rect l="0" t="0" r="r" b="b"/>
                <a:pathLst>
                  <a:path w="24" h="15">
                    <a:moveTo>
                      <a:pt x="1" y="0"/>
                    </a:moveTo>
                    <a:cubicBezTo>
                      <a:pt x="4" y="4"/>
                      <a:pt x="7" y="6"/>
                      <a:pt x="11" y="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8"/>
                      <a:pt x="24" y="9"/>
                      <a:pt x="24" y="10"/>
                    </a:cubicBezTo>
                    <a:cubicBezTo>
                      <a:pt x="24" y="12"/>
                      <a:pt x="20" y="15"/>
                      <a:pt x="19" y="15"/>
                    </a:cubicBezTo>
                    <a:cubicBezTo>
                      <a:pt x="16" y="15"/>
                      <a:pt x="0" y="6"/>
                      <a:pt x="0" y="3"/>
                    </a:cubicBezTo>
                    <a:cubicBezTo>
                      <a:pt x="0" y="2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75" name="Полилиния 99">
                <a:extLst>
                  <a:ext uri="{FF2B5EF4-FFF2-40B4-BE49-F238E27FC236}">
                    <a16:creationId xmlns:a16="http://schemas.microsoft.com/office/drawing/2014/main" xmlns="" id="{2B6FBFFE-0878-F452-A53E-B58D78984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2325" y="2030413"/>
                <a:ext cx="22225" cy="26988"/>
              </a:xfrm>
              <a:custGeom>
                <a:avLst/>
                <a:gdLst/>
                <a:ahLst/>
                <a:cxnLst>
                  <a:cxn ang="0">
                    <a:pos x="17" y="12"/>
                  </a:cxn>
                  <a:cxn ang="0">
                    <a:pos x="17" y="15"/>
                  </a:cxn>
                  <a:cxn ang="0">
                    <a:pos x="7" y="20"/>
                  </a:cxn>
                  <a:cxn ang="0">
                    <a:pos x="0" y="15"/>
                  </a:cxn>
                  <a:cxn ang="0">
                    <a:pos x="10" y="0"/>
                  </a:cxn>
                  <a:cxn ang="0">
                    <a:pos x="14" y="5"/>
                  </a:cxn>
                  <a:cxn ang="0">
                    <a:pos x="17" y="12"/>
                  </a:cxn>
                </a:cxnLst>
                <a:rect l="0" t="0" r="r" b="b"/>
                <a:pathLst>
                  <a:path w="17" h="20">
                    <a:moveTo>
                      <a:pt x="17" y="12"/>
                    </a:moveTo>
                    <a:cubicBezTo>
                      <a:pt x="17" y="12"/>
                      <a:pt x="17" y="14"/>
                      <a:pt x="17" y="15"/>
                    </a:cubicBezTo>
                    <a:cubicBezTo>
                      <a:pt x="17" y="18"/>
                      <a:pt x="12" y="20"/>
                      <a:pt x="7" y="20"/>
                    </a:cubicBezTo>
                    <a:cubicBezTo>
                      <a:pt x="3" y="20"/>
                      <a:pt x="0" y="18"/>
                      <a:pt x="0" y="15"/>
                    </a:cubicBezTo>
                    <a:cubicBezTo>
                      <a:pt x="0" y="13"/>
                      <a:pt x="6" y="2"/>
                      <a:pt x="10" y="0"/>
                    </a:cubicBezTo>
                    <a:cubicBezTo>
                      <a:pt x="11" y="2"/>
                      <a:pt x="14" y="3"/>
                      <a:pt x="14" y="5"/>
                    </a:cubicBezTo>
                    <a:cubicBezTo>
                      <a:pt x="14" y="9"/>
                      <a:pt x="7" y="12"/>
                      <a:pt x="17" y="12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276" name="Полилиния 100">
                <a:extLst>
                  <a:ext uri="{FF2B5EF4-FFF2-40B4-BE49-F238E27FC236}">
                    <a16:creationId xmlns:a16="http://schemas.microsoft.com/office/drawing/2014/main" xmlns="" id="{EC10A214-86B0-E0DE-F147-A65FA3FCDA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3850" y="1724025"/>
                <a:ext cx="26988" cy="12700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13" y="1"/>
                  </a:cxn>
                  <a:cxn ang="0">
                    <a:pos x="20" y="9"/>
                  </a:cxn>
                  <a:cxn ang="0">
                    <a:pos x="5" y="9"/>
                  </a:cxn>
                  <a:cxn ang="0">
                    <a:pos x="0" y="4"/>
                  </a:cxn>
                  <a:cxn ang="0">
                    <a:pos x="6" y="4"/>
                  </a:cxn>
                </a:cxnLst>
                <a:rect l="0" t="0" r="r" b="b"/>
                <a:pathLst>
                  <a:path w="20" h="9">
                    <a:moveTo>
                      <a:pt x="6" y="4"/>
                    </a:moveTo>
                    <a:cubicBezTo>
                      <a:pt x="8" y="0"/>
                      <a:pt x="10" y="1"/>
                      <a:pt x="13" y="1"/>
                    </a:cubicBezTo>
                    <a:cubicBezTo>
                      <a:pt x="18" y="1"/>
                      <a:pt x="19" y="4"/>
                      <a:pt x="20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7"/>
                      <a:pt x="1" y="6"/>
                      <a:pt x="0" y="4"/>
                    </a:cubicBezTo>
                    <a:lnTo>
                      <a:pt x="6" y="4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</p:grpSp>
        <p:grpSp>
          <p:nvGrpSpPr>
            <p:cNvPr id="111" name="Группа 345">
              <a:extLst>
                <a:ext uri="{FF2B5EF4-FFF2-40B4-BE49-F238E27FC236}">
                  <a16:creationId xmlns:a16="http://schemas.microsoft.com/office/drawing/2014/main" xmlns="" id="{6A1F697C-9647-80B8-D7A1-DDE9B29B9FB3}"/>
                </a:ext>
              </a:extLst>
            </p:cNvPr>
            <p:cNvGrpSpPr/>
            <p:nvPr/>
          </p:nvGrpSpPr>
          <p:grpSpPr>
            <a:xfrm>
              <a:off x="3103551" y="1256797"/>
              <a:ext cx="669405" cy="1125467"/>
              <a:chOff x="4219575" y="1089025"/>
              <a:chExt cx="687388" cy="1155701"/>
            </a:xfrm>
            <a:grpFill/>
          </p:grpSpPr>
          <p:sp>
            <p:nvSpPr>
              <p:cNvPr id="199" name="Полилиния 36">
                <a:extLst>
                  <a:ext uri="{FF2B5EF4-FFF2-40B4-BE49-F238E27FC236}">
                    <a16:creationId xmlns:a16="http://schemas.microsoft.com/office/drawing/2014/main" xmlns="" id="{CF425F35-C902-DA33-B418-6DC20480A2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8825" y="1816100"/>
                <a:ext cx="26988" cy="39688"/>
              </a:xfrm>
              <a:custGeom>
                <a:avLst/>
                <a:gdLst/>
                <a:ahLst/>
                <a:cxnLst>
                  <a:cxn ang="0">
                    <a:pos x="3" y="27"/>
                  </a:cxn>
                  <a:cxn ang="0">
                    <a:pos x="9" y="21"/>
                  </a:cxn>
                  <a:cxn ang="0">
                    <a:pos x="0" y="14"/>
                  </a:cxn>
                  <a:cxn ang="0">
                    <a:pos x="9" y="0"/>
                  </a:cxn>
                  <a:cxn ang="0">
                    <a:pos x="20" y="12"/>
                  </a:cxn>
                  <a:cxn ang="0">
                    <a:pos x="6" y="30"/>
                  </a:cxn>
                  <a:cxn ang="0">
                    <a:pos x="0" y="27"/>
                  </a:cxn>
                  <a:cxn ang="0">
                    <a:pos x="2" y="25"/>
                  </a:cxn>
                  <a:cxn ang="0">
                    <a:pos x="3" y="27"/>
                  </a:cxn>
                </a:cxnLst>
                <a:rect l="0" t="0" r="r" b="b"/>
                <a:pathLst>
                  <a:path w="20" h="30">
                    <a:moveTo>
                      <a:pt x="3" y="27"/>
                    </a:moveTo>
                    <a:cubicBezTo>
                      <a:pt x="6" y="26"/>
                      <a:pt x="9" y="23"/>
                      <a:pt x="9" y="21"/>
                    </a:cubicBezTo>
                    <a:cubicBezTo>
                      <a:pt x="5" y="20"/>
                      <a:pt x="0" y="16"/>
                      <a:pt x="0" y="14"/>
                    </a:cubicBezTo>
                    <a:cubicBezTo>
                      <a:pt x="0" y="12"/>
                      <a:pt x="5" y="0"/>
                      <a:pt x="9" y="0"/>
                    </a:cubicBezTo>
                    <a:cubicBezTo>
                      <a:pt x="17" y="0"/>
                      <a:pt x="18" y="4"/>
                      <a:pt x="20" y="12"/>
                    </a:cubicBezTo>
                    <a:cubicBezTo>
                      <a:pt x="12" y="14"/>
                      <a:pt x="16" y="30"/>
                      <a:pt x="6" y="30"/>
                    </a:cubicBezTo>
                    <a:cubicBezTo>
                      <a:pt x="3" y="30"/>
                      <a:pt x="1" y="27"/>
                      <a:pt x="0" y="27"/>
                    </a:cubicBezTo>
                    <a:cubicBezTo>
                      <a:pt x="1" y="26"/>
                      <a:pt x="2" y="25"/>
                      <a:pt x="2" y="25"/>
                    </a:cubicBezTo>
                    <a:lnTo>
                      <a:pt x="3" y="27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grpSp>
            <p:nvGrpSpPr>
              <p:cNvPr id="200" name="Группа 343">
                <a:extLst>
                  <a:ext uri="{FF2B5EF4-FFF2-40B4-BE49-F238E27FC236}">
                    <a16:creationId xmlns:a16="http://schemas.microsoft.com/office/drawing/2014/main" xmlns="" id="{B0754847-C84B-5F56-7962-FBDB1D6E6E05}"/>
                  </a:ext>
                </a:extLst>
              </p:cNvPr>
              <p:cNvGrpSpPr/>
              <p:nvPr/>
            </p:nvGrpSpPr>
            <p:grpSpPr>
              <a:xfrm>
                <a:off x="4219575" y="1089025"/>
                <a:ext cx="687388" cy="1155701"/>
                <a:chOff x="4219575" y="1089025"/>
                <a:chExt cx="687388" cy="1155701"/>
              </a:xfrm>
              <a:grpFill/>
            </p:grpSpPr>
            <p:sp>
              <p:nvSpPr>
                <p:cNvPr id="201" name="Полилиния 24">
                  <a:extLst>
                    <a:ext uri="{FF2B5EF4-FFF2-40B4-BE49-F238E27FC236}">
                      <a16:creationId xmlns:a16="http://schemas.microsoft.com/office/drawing/2014/main" xmlns="" id="{F89E9B77-9A90-469E-45F6-CB4893FFE1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30688" y="1782763"/>
                  <a:ext cx="646113" cy="461963"/>
                </a:xfrm>
                <a:custGeom>
                  <a:avLst/>
                  <a:gdLst/>
                  <a:ahLst/>
                  <a:cxnLst>
                    <a:cxn ang="0">
                      <a:pos x="473" y="233"/>
                    </a:cxn>
                    <a:cxn ang="0">
                      <a:pos x="470" y="273"/>
                    </a:cxn>
                    <a:cxn ang="0">
                      <a:pos x="427" y="274"/>
                    </a:cxn>
                    <a:cxn ang="0">
                      <a:pos x="401" y="283"/>
                    </a:cxn>
                    <a:cxn ang="0">
                      <a:pos x="403" y="303"/>
                    </a:cxn>
                    <a:cxn ang="0">
                      <a:pos x="413" y="322"/>
                    </a:cxn>
                    <a:cxn ang="0">
                      <a:pos x="401" y="319"/>
                    </a:cxn>
                    <a:cxn ang="0">
                      <a:pos x="397" y="336"/>
                    </a:cxn>
                    <a:cxn ang="0">
                      <a:pos x="382" y="315"/>
                    </a:cxn>
                    <a:cxn ang="0">
                      <a:pos x="358" y="278"/>
                    </a:cxn>
                    <a:cxn ang="0">
                      <a:pos x="329" y="238"/>
                    </a:cxn>
                    <a:cxn ang="0">
                      <a:pos x="289" y="213"/>
                    </a:cxn>
                    <a:cxn ang="0">
                      <a:pos x="270" y="212"/>
                    </a:cxn>
                    <a:cxn ang="0">
                      <a:pos x="289" y="244"/>
                    </a:cxn>
                    <a:cxn ang="0">
                      <a:pos x="315" y="264"/>
                    </a:cxn>
                    <a:cxn ang="0">
                      <a:pos x="330" y="283"/>
                    </a:cxn>
                    <a:cxn ang="0">
                      <a:pos x="323" y="305"/>
                    </a:cxn>
                    <a:cxn ang="0">
                      <a:pos x="316" y="303"/>
                    </a:cxn>
                    <a:cxn ang="0">
                      <a:pos x="291" y="273"/>
                    </a:cxn>
                    <a:cxn ang="0">
                      <a:pos x="229" y="223"/>
                    </a:cxn>
                    <a:cxn ang="0">
                      <a:pos x="168" y="237"/>
                    </a:cxn>
                    <a:cxn ang="0">
                      <a:pos x="135" y="272"/>
                    </a:cxn>
                    <a:cxn ang="0">
                      <a:pos x="101" y="326"/>
                    </a:cxn>
                    <a:cxn ang="0">
                      <a:pos x="72" y="338"/>
                    </a:cxn>
                    <a:cxn ang="0">
                      <a:pos x="10" y="334"/>
                    </a:cxn>
                    <a:cxn ang="0">
                      <a:pos x="0" y="306"/>
                    </a:cxn>
                    <a:cxn ang="0">
                      <a:pos x="4" y="246"/>
                    </a:cxn>
                    <a:cxn ang="0">
                      <a:pos x="48" y="235"/>
                    </a:cxn>
                    <a:cxn ang="0">
                      <a:pos x="89" y="240"/>
                    </a:cxn>
                    <a:cxn ang="0">
                      <a:pos x="105" y="206"/>
                    </a:cxn>
                    <a:cxn ang="0">
                      <a:pos x="103" y="193"/>
                    </a:cxn>
                    <a:cxn ang="0">
                      <a:pos x="60" y="163"/>
                    </a:cxn>
                    <a:cxn ang="0">
                      <a:pos x="88" y="157"/>
                    </a:cxn>
                    <a:cxn ang="0">
                      <a:pos x="96" y="143"/>
                    </a:cxn>
                    <a:cxn ang="0">
                      <a:pos x="114" y="145"/>
                    </a:cxn>
                    <a:cxn ang="0">
                      <a:pos x="147" y="118"/>
                    </a:cxn>
                    <a:cxn ang="0">
                      <a:pos x="176" y="89"/>
                    </a:cxn>
                    <a:cxn ang="0">
                      <a:pos x="208" y="73"/>
                    </a:cxn>
                    <a:cxn ang="0">
                      <a:pos x="225" y="54"/>
                    </a:cxn>
                    <a:cxn ang="0">
                      <a:pos x="245" y="5"/>
                    </a:cxn>
                    <a:cxn ang="0">
                      <a:pos x="251" y="25"/>
                    </a:cxn>
                    <a:cxn ang="0">
                      <a:pos x="240" y="54"/>
                    </a:cxn>
                    <a:cxn ang="0">
                      <a:pos x="254" y="66"/>
                    </a:cxn>
                    <a:cxn ang="0">
                      <a:pos x="289" y="68"/>
                    </a:cxn>
                    <a:cxn ang="0">
                      <a:pos x="333" y="50"/>
                    </a:cxn>
                    <a:cxn ang="0">
                      <a:pos x="378" y="55"/>
                    </a:cxn>
                    <a:cxn ang="0">
                      <a:pos x="408" y="95"/>
                    </a:cxn>
                    <a:cxn ang="0">
                      <a:pos x="399" y="153"/>
                    </a:cxn>
                    <a:cxn ang="0">
                      <a:pos x="470" y="180"/>
                    </a:cxn>
                    <a:cxn ang="0">
                      <a:pos x="474" y="204"/>
                    </a:cxn>
                    <a:cxn ang="0">
                      <a:pos x="476" y="216"/>
                    </a:cxn>
                  </a:cxnLst>
                  <a:rect l="0" t="0" r="r" b="b"/>
                  <a:pathLst>
                    <a:path w="485" h="347">
                      <a:moveTo>
                        <a:pt x="476" y="216"/>
                      </a:moveTo>
                      <a:cubicBezTo>
                        <a:pt x="474" y="223"/>
                        <a:pt x="475" y="219"/>
                        <a:pt x="473" y="222"/>
                      </a:cubicBezTo>
                      <a:cubicBezTo>
                        <a:pt x="473" y="233"/>
                        <a:pt x="473" y="233"/>
                        <a:pt x="473" y="233"/>
                      </a:cubicBezTo>
                      <a:cubicBezTo>
                        <a:pt x="469" y="238"/>
                        <a:pt x="461" y="246"/>
                        <a:pt x="461" y="253"/>
                      </a:cubicBezTo>
                      <a:cubicBezTo>
                        <a:pt x="461" y="261"/>
                        <a:pt x="473" y="268"/>
                        <a:pt x="476" y="272"/>
                      </a:cubicBezTo>
                      <a:cubicBezTo>
                        <a:pt x="474" y="273"/>
                        <a:pt x="472" y="273"/>
                        <a:pt x="470" y="273"/>
                      </a:cubicBezTo>
                      <a:cubicBezTo>
                        <a:pt x="466" y="275"/>
                        <a:pt x="463" y="273"/>
                        <a:pt x="459" y="275"/>
                      </a:cubicBezTo>
                      <a:cubicBezTo>
                        <a:pt x="453" y="277"/>
                        <a:pt x="452" y="283"/>
                        <a:pt x="446" y="283"/>
                      </a:cubicBezTo>
                      <a:cubicBezTo>
                        <a:pt x="439" y="283"/>
                        <a:pt x="435" y="274"/>
                        <a:pt x="427" y="274"/>
                      </a:cubicBezTo>
                      <a:cubicBezTo>
                        <a:pt x="420" y="274"/>
                        <a:pt x="419" y="278"/>
                        <a:pt x="413" y="280"/>
                      </a:cubicBezTo>
                      <a:cubicBezTo>
                        <a:pt x="414" y="284"/>
                        <a:pt x="414" y="286"/>
                        <a:pt x="413" y="290"/>
                      </a:cubicBezTo>
                      <a:cubicBezTo>
                        <a:pt x="406" y="290"/>
                        <a:pt x="405" y="283"/>
                        <a:pt x="401" y="283"/>
                      </a:cubicBezTo>
                      <a:cubicBezTo>
                        <a:pt x="399" y="283"/>
                        <a:pt x="397" y="286"/>
                        <a:pt x="397" y="288"/>
                      </a:cubicBezTo>
                      <a:cubicBezTo>
                        <a:pt x="405" y="298"/>
                        <a:pt x="405" y="298"/>
                        <a:pt x="405" y="298"/>
                      </a:cubicBezTo>
                      <a:cubicBezTo>
                        <a:pt x="405" y="300"/>
                        <a:pt x="403" y="302"/>
                        <a:pt x="403" y="303"/>
                      </a:cubicBezTo>
                      <a:cubicBezTo>
                        <a:pt x="403" y="304"/>
                        <a:pt x="415" y="315"/>
                        <a:pt x="419" y="315"/>
                      </a:cubicBezTo>
                      <a:cubicBezTo>
                        <a:pt x="419" y="317"/>
                        <a:pt x="420" y="318"/>
                        <a:pt x="420" y="319"/>
                      </a:cubicBezTo>
                      <a:cubicBezTo>
                        <a:pt x="418" y="321"/>
                        <a:pt x="414" y="319"/>
                        <a:pt x="413" y="322"/>
                      </a:cubicBezTo>
                      <a:cubicBezTo>
                        <a:pt x="412" y="322"/>
                        <a:pt x="412" y="322"/>
                        <a:pt x="412" y="322"/>
                      </a:cubicBezTo>
                      <a:cubicBezTo>
                        <a:pt x="407" y="321"/>
                        <a:pt x="403" y="317"/>
                        <a:pt x="401" y="315"/>
                      </a:cubicBezTo>
                      <a:cubicBezTo>
                        <a:pt x="401" y="319"/>
                        <a:pt x="401" y="319"/>
                        <a:pt x="401" y="319"/>
                      </a:cubicBezTo>
                      <a:cubicBezTo>
                        <a:pt x="402" y="321"/>
                        <a:pt x="403" y="323"/>
                        <a:pt x="403" y="326"/>
                      </a:cubicBezTo>
                      <a:cubicBezTo>
                        <a:pt x="403" y="329"/>
                        <a:pt x="399" y="334"/>
                        <a:pt x="403" y="336"/>
                      </a:cubicBezTo>
                      <a:cubicBezTo>
                        <a:pt x="401" y="336"/>
                        <a:pt x="397" y="336"/>
                        <a:pt x="397" y="336"/>
                      </a:cubicBezTo>
                      <a:cubicBezTo>
                        <a:pt x="390" y="336"/>
                        <a:pt x="384" y="329"/>
                        <a:pt x="384" y="322"/>
                      </a:cubicBezTo>
                      <a:cubicBezTo>
                        <a:pt x="384" y="319"/>
                        <a:pt x="388" y="317"/>
                        <a:pt x="390" y="315"/>
                      </a:cubicBezTo>
                      <a:cubicBezTo>
                        <a:pt x="387" y="315"/>
                        <a:pt x="385" y="315"/>
                        <a:pt x="382" y="315"/>
                      </a:cubicBezTo>
                      <a:cubicBezTo>
                        <a:pt x="380" y="315"/>
                        <a:pt x="379" y="311"/>
                        <a:pt x="379" y="310"/>
                      </a:cubicBezTo>
                      <a:cubicBezTo>
                        <a:pt x="378" y="304"/>
                        <a:pt x="374" y="300"/>
                        <a:pt x="370" y="296"/>
                      </a:cubicBezTo>
                      <a:cubicBezTo>
                        <a:pt x="365" y="291"/>
                        <a:pt x="358" y="287"/>
                        <a:pt x="358" y="278"/>
                      </a:cubicBezTo>
                      <a:cubicBezTo>
                        <a:pt x="358" y="272"/>
                        <a:pt x="358" y="270"/>
                        <a:pt x="358" y="266"/>
                      </a:cubicBezTo>
                      <a:cubicBezTo>
                        <a:pt x="358" y="260"/>
                        <a:pt x="348" y="251"/>
                        <a:pt x="342" y="248"/>
                      </a:cubicBezTo>
                      <a:cubicBezTo>
                        <a:pt x="336" y="245"/>
                        <a:pt x="329" y="244"/>
                        <a:pt x="329" y="238"/>
                      </a:cubicBezTo>
                      <a:cubicBezTo>
                        <a:pt x="326" y="238"/>
                        <a:pt x="325" y="238"/>
                        <a:pt x="323" y="238"/>
                      </a:cubicBezTo>
                      <a:cubicBezTo>
                        <a:pt x="313" y="238"/>
                        <a:pt x="302" y="223"/>
                        <a:pt x="302" y="213"/>
                      </a:cubicBezTo>
                      <a:cubicBezTo>
                        <a:pt x="297" y="213"/>
                        <a:pt x="293" y="213"/>
                        <a:pt x="289" y="213"/>
                      </a:cubicBezTo>
                      <a:cubicBezTo>
                        <a:pt x="283" y="213"/>
                        <a:pt x="285" y="204"/>
                        <a:pt x="283" y="201"/>
                      </a:cubicBezTo>
                      <a:cubicBezTo>
                        <a:pt x="278" y="204"/>
                        <a:pt x="268" y="204"/>
                        <a:pt x="268" y="209"/>
                      </a:cubicBezTo>
                      <a:cubicBezTo>
                        <a:pt x="268" y="210"/>
                        <a:pt x="270" y="212"/>
                        <a:pt x="270" y="212"/>
                      </a:cubicBezTo>
                      <a:cubicBezTo>
                        <a:pt x="270" y="214"/>
                        <a:pt x="269" y="217"/>
                        <a:pt x="269" y="220"/>
                      </a:cubicBezTo>
                      <a:cubicBezTo>
                        <a:pt x="269" y="226"/>
                        <a:pt x="273" y="229"/>
                        <a:pt x="278" y="231"/>
                      </a:cubicBezTo>
                      <a:cubicBezTo>
                        <a:pt x="285" y="233"/>
                        <a:pt x="288" y="240"/>
                        <a:pt x="289" y="244"/>
                      </a:cubicBezTo>
                      <a:cubicBezTo>
                        <a:pt x="291" y="250"/>
                        <a:pt x="294" y="257"/>
                        <a:pt x="298" y="259"/>
                      </a:cubicBezTo>
                      <a:cubicBezTo>
                        <a:pt x="304" y="262"/>
                        <a:pt x="309" y="260"/>
                        <a:pt x="315" y="260"/>
                      </a:cubicBezTo>
                      <a:cubicBezTo>
                        <a:pt x="315" y="261"/>
                        <a:pt x="315" y="263"/>
                        <a:pt x="315" y="264"/>
                      </a:cubicBezTo>
                      <a:cubicBezTo>
                        <a:pt x="313" y="269"/>
                        <a:pt x="323" y="271"/>
                        <a:pt x="326" y="272"/>
                      </a:cubicBezTo>
                      <a:cubicBezTo>
                        <a:pt x="335" y="277"/>
                        <a:pt x="345" y="280"/>
                        <a:pt x="344" y="290"/>
                      </a:cubicBezTo>
                      <a:cubicBezTo>
                        <a:pt x="340" y="289"/>
                        <a:pt x="337" y="283"/>
                        <a:pt x="330" y="283"/>
                      </a:cubicBezTo>
                      <a:cubicBezTo>
                        <a:pt x="325" y="283"/>
                        <a:pt x="320" y="286"/>
                        <a:pt x="320" y="290"/>
                      </a:cubicBezTo>
                      <a:cubicBezTo>
                        <a:pt x="320" y="296"/>
                        <a:pt x="328" y="297"/>
                        <a:pt x="328" y="303"/>
                      </a:cubicBezTo>
                      <a:cubicBezTo>
                        <a:pt x="328" y="305"/>
                        <a:pt x="323" y="305"/>
                        <a:pt x="323" y="305"/>
                      </a:cubicBezTo>
                      <a:cubicBezTo>
                        <a:pt x="319" y="309"/>
                        <a:pt x="319" y="318"/>
                        <a:pt x="313" y="318"/>
                      </a:cubicBezTo>
                      <a:cubicBezTo>
                        <a:pt x="310" y="318"/>
                        <a:pt x="308" y="317"/>
                        <a:pt x="308" y="315"/>
                      </a:cubicBezTo>
                      <a:cubicBezTo>
                        <a:pt x="314" y="315"/>
                        <a:pt x="316" y="309"/>
                        <a:pt x="316" y="303"/>
                      </a:cubicBezTo>
                      <a:cubicBezTo>
                        <a:pt x="316" y="297"/>
                        <a:pt x="312" y="295"/>
                        <a:pt x="311" y="291"/>
                      </a:cubicBezTo>
                      <a:cubicBezTo>
                        <a:pt x="310" y="291"/>
                        <a:pt x="300" y="281"/>
                        <a:pt x="299" y="278"/>
                      </a:cubicBezTo>
                      <a:cubicBezTo>
                        <a:pt x="297" y="278"/>
                        <a:pt x="291" y="276"/>
                        <a:pt x="291" y="273"/>
                      </a:cubicBezTo>
                      <a:cubicBezTo>
                        <a:pt x="277" y="270"/>
                        <a:pt x="274" y="266"/>
                        <a:pt x="266" y="259"/>
                      </a:cubicBezTo>
                      <a:cubicBezTo>
                        <a:pt x="263" y="256"/>
                        <a:pt x="257" y="254"/>
                        <a:pt x="256" y="251"/>
                      </a:cubicBezTo>
                      <a:cubicBezTo>
                        <a:pt x="248" y="241"/>
                        <a:pt x="245" y="223"/>
                        <a:pt x="229" y="223"/>
                      </a:cubicBezTo>
                      <a:cubicBezTo>
                        <a:pt x="221" y="223"/>
                        <a:pt x="220" y="228"/>
                        <a:pt x="216" y="230"/>
                      </a:cubicBezTo>
                      <a:cubicBezTo>
                        <a:pt x="208" y="234"/>
                        <a:pt x="202" y="242"/>
                        <a:pt x="192" y="242"/>
                      </a:cubicBezTo>
                      <a:cubicBezTo>
                        <a:pt x="183" y="242"/>
                        <a:pt x="177" y="237"/>
                        <a:pt x="168" y="237"/>
                      </a:cubicBezTo>
                      <a:cubicBezTo>
                        <a:pt x="161" y="237"/>
                        <a:pt x="154" y="242"/>
                        <a:pt x="154" y="248"/>
                      </a:cubicBezTo>
                      <a:cubicBezTo>
                        <a:pt x="157" y="258"/>
                        <a:pt x="157" y="258"/>
                        <a:pt x="157" y="258"/>
                      </a:cubicBezTo>
                      <a:cubicBezTo>
                        <a:pt x="154" y="267"/>
                        <a:pt x="144" y="270"/>
                        <a:pt x="135" y="272"/>
                      </a:cubicBezTo>
                      <a:cubicBezTo>
                        <a:pt x="127" y="274"/>
                        <a:pt x="114" y="292"/>
                        <a:pt x="114" y="302"/>
                      </a:cubicBezTo>
                      <a:cubicBezTo>
                        <a:pt x="114" y="305"/>
                        <a:pt x="117" y="306"/>
                        <a:pt x="119" y="307"/>
                      </a:cubicBezTo>
                      <a:cubicBezTo>
                        <a:pt x="113" y="316"/>
                        <a:pt x="110" y="321"/>
                        <a:pt x="101" y="326"/>
                      </a:cubicBezTo>
                      <a:cubicBezTo>
                        <a:pt x="96" y="328"/>
                        <a:pt x="95" y="340"/>
                        <a:pt x="86" y="337"/>
                      </a:cubicBezTo>
                      <a:cubicBezTo>
                        <a:pt x="86" y="337"/>
                        <a:pt x="86" y="337"/>
                        <a:pt x="86" y="337"/>
                      </a:cubicBezTo>
                      <a:cubicBezTo>
                        <a:pt x="82" y="336"/>
                        <a:pt x="75" y="338"/>
                        <a:pt x="72" y="338"/>
                      </a:cubicBezTo>
                      <a:cubicBezTo>
                        <a:pt x="62" y="338"/>
                        <a:pt x="56" y="347"/>
                        <a:pt x="46" y="347"/>
                      </a:cubicBezTo>
                      <a:cubicBezTo>
                        <a:pt x="40" y="347"/>
                        <a:pt x="39" y="331"/>
                        <a:pt x="29" y="331"/>
                      </a:cubicBezTo>
                      <a:cubicBezTo>
                        <a:pt x="22" y="331"/>
                        <a:pt x="17" y="334"/>
                        <a:pt x="10" y="334"/>
                      </a:cubicBezTo>
                      <a:cubicBezTo>
                        <a:pt x="8" y="334"/>
                        <a:pt x="7" y="332"/>
                        <a:pt x="7" y="330"/>
                      </a:cubicBezTo>
                      <a:cubicBezTo>
                        <a:pt x="7" y="321"/>
                        <a:pt x="7" y="318"/>
                        <a:pt x="7" y="313"/>
                      </a:cubicBezTo>
                      <a:cubicBezTo>
                        <a:pt x="3" y="313"/>
                        <a:pt x="0" y="310"/>
                        <a:pt x="0" y="306"/>
                      </a:cubicBezTo>
                      <a:cubicBezTo>
                        <a:pt x="0" y="301"/>
                        <a:pt x="4" y="299"/>
                        <a:pt x="4" y="296"/>
                      </a:cubicBezTo>
                      <a:cubicBezTo>
                        <a:pt x="4" y="285"/>
                        <a:pt x="8" y="274"/>
                        <a:pt x="8" y="262"/>
                      </a:cubicBezTo>
                      <a:cubicBezTo>
                        <a:pt x="8" y="256"/>
                        <a:pt x="4" y="250"/>
                        <a:pt x="4" y="246"/>
                      </a:cubicBezTo>
                      <a:cubicBezTo>
                        <a:pt x="4" y="243"/>
                        <a:pt x="19" y="234"/>
                        <a:pt x="21" y="234"/>
                      </a:cubicBezTo>
                      <a:cubicBezTo>
                        <a:pt x="23" y="234"/>
                        <a:pt x="25" y="236"/>
                        <a:pt x="28" y="235"/>
                      </a:cubicBezTo>
                      <a:cubicBezTo>
                        <a:pt x="48" y="235"/>
                        <a:pt x="48" y="235"/>
                        <a:pt x="48" y="235"/>
                      </a:cubicBezTo>
                      <a:cubicBezTo>
                        <a:pt x="49" y="237"/>
                        <a:pt x="53" y="238"/>
                        <a:pt x="55" y="238"/>
                      </a:cubicBezTo>
                      <a:cubicBezTo>
                        <a:pt x="76" y="238"/>
                        <a:pt x="76" y="238"/>
                        <a:pt x="76" y="238"/>
                      </a:cubicBezTo>
                      <a:cubicBezTo>
                        <a:pt x="82" y="237"/>
                        <a:pt x="84" y="240"/>
                        <a:pt x="89" y="240"/>
                      </a:cubicBezTo>
                      <a:cubicBezTo>
                        <a:pt x="92" y="240"/>
                        <a:pt x="98" y="238"/>
                        <a:pt x="100" y="238"/>
                      </a:cubicBezTo>
                      <a:cubicBezTo>
                        <a:pt x="100" y="229"/>
                        <a:pt x="105" y="226"/>
                        <a:pt x="105" y="218"/>
                      </a:cubicBezTo>
                      <a:cubicBezTo>
                        <a:pt x="105" y="216"/>
                        <a:pt x="105" y="208"/>
                        <a:pt x="105" y="206"/>
                      </a:cubicBezTo>
                      <a:cubicBezTo>
                        <a:pt x="104" y="206"/>
                        <a:pt x="104" y="206"/>
                        <a:pt x="104" y="206"/>
                      </a:cubicBezTo>
                      <a:cubicBezTo>
                        <a:pt x="105" y="205"/>
                        <a:pt x="106" y="201"/>
                        <a:pt x="106" y="200"/>
                      </a:cubicBezTo>
                      <a:cubicBezTo>
                        <a:pt x="106" y="196"/>
                        <a:pt x="103" y="197"/>
                        <a:pt x="103" y="193"/>
                      </a:cubicBezTo>
                      <a:cubicBezTo>
                        <a:pt x="94" y="193"/>
                        <a:pt x="92" y="185"/>
                        <a:pt x="92" y="178"/>
                      </a:cubicBezTo>
                      <a:cubicBezTo>
                        <a:pt x="89" y="178"/>
                        <a:pt x="89" y="175"/>
                        <a:pt x="87" y="175"/>
                      </a:cubicBezTo>
                      <a:cubicBezTo>
                        <a:pt x="79" y="173"/>
                        <a:pt x="60" y="169"/>
                        <a:pt x="60" y="163"/>
                      </a:cubicBezTo>
                      <a:cubicBezTo>
                        <a:pt x="60" y="163"/>
                        <a:pt x="60" y="161"/>
                        <a:pt x="60" y="161"/>
                      </a:cubicBezTo>
                      <a:cubicBezTo>
                        <a:pt x="60" y="157"/>
                        <a:pt x="72" y="154"/>
                        <a:pt x="76" y="153"/>
                      </a:cubicBezTo>
                      <a:cubicBezTo>
                        <a:pt x="78" y="156"/>
                        <a:pt x="85" y="157"/>
                        <a:pt x="88" y="157"/>
                      </a:cubicBezTo>
                      <a:cubicBezTo>
                        <a:pt x="92" y="157"/>
                        <a:pt x="97" y="156"/>
                        <a:pt x="98" y="155"/>
                      </a:cubicBezTo>
                      <a:cubicBezTo>
                        <a:pt x="98" y="152"/>
                        <a:pt x="98" y="152"/>
                        <a:pt x="98" y="152"/>
                      </a:cubicBezTo>
                      <a:cubicBezTo>
                        <a:pt x="95" y="151"/>
                        <a:pt x="97" y="145"/>
                        <a:pt x="96" y="143"/>
                      </a:cubicBezTo>
                      <a:cubicBezTo>
                        <a:pt x="96" y="140"/>
                        <a:pt x="96" y="140"/>
                        <a:pt x="96" y="140"/>
                      </a:cubicBezTo>
                      <a:cubicBezTo>
                        <a:pt x="101" y="140"/>
                        <a:pt x="101" y="140"/>
                        <a:pt x="101" y="140"/>
                      </a:cubicBezTo>
                      <a:cubicBezTo>
                        <a:pt x="104" y="143"/>
                        <a:pt x="109" y="145"/>
                        <a:pt x="114" y="145"/>
                      </a:cubicBezTo>
                      <a:cubicBezTo>
                        <a:pt x="117" y="145"/>
                        <a:pt x="120" y="142"/>
                        <a:pt x="121" y="139"/>
                      </a:cubicBezTo>
                      <a:cubicBezTo>
                        <a:pt x="135" y="139"/>
                        <a:pt x="138" y="129"/>
                        <a:pt x="141" y="119"/>
                      </a:cubicBezTo>
                      <a:cubicBezTo>
                        <a:pt x="143" y="119"/>
                        <a:pt x="145" y="118"/>
                        <a:pt x="147" y="118"/>
                      </a:cubicBezTo>
                      <a:cubicBezTo>
                        <a:pt x="150" y="117"/>
                        <a:pt x="167" y="110"/>
                        <a:pt x="169" y="108"/>
                      </a:cubicBezTo>
                      <a:cubicBezTo>
                        <a:pt x="173" y="104"/>
                        <a:pt x="171" y="99"/>
                        <a:pt x="171" y="94"/>
                      </a:cubicBezTo>
                      <a:cubicBezTo>
                        <a:pt x="171" y="92"/>
                        <a:pt x="175" y="89"/>
                        <a:pt x="176" y="89"/>
                      </a:cubicBezTo>
                      <a:cubicBezTo>
                        <a:pt x="182" y="83"/>
                        <a:pt x="188" y="76"/>
                        <a:pt x="198" y="76"/>
                      </a:cubicBezTo>
                      <a:cubicBezTo>
                        <a:pt x="204" y="76"/>
                        <a:pt x="201" y="77"/>
                        <a:pt x="204" y="76"/>
                      </a:cubicBezTo>
                      <a:cubicBezTo>
                        <a:pt x="206" y="77"/>
                        <a:pt x="207" y="74"/>
                        <a:pt x="208" y="73"/>
                      </a:cubicBezTo>
                      <a:cubicBezTo>
                        <a:pt x="211" y="70"/>
                        <a:pt x="215" y="72"/>
                        <a:pt x="219" y="72"/>
                      </a:cubicBezTo>
                      <a:cubicBezTo>
                        <a:pt x="221" y="72"/>
                        <a:pt x="229" y="68"/>
                        <a:pt x="229" y="65"/>
                      </a:cubicBezTo>
                      <a:cubicBezTo>
                        <a:pt x="229" y="63"/>
                        <a:pt x="225" y="54"/>
                        <a:pt x="225" y="54"/>
                      </a:cubicBezTo>
                      <a:cubicBezTo>
                        <a:pt x="224" y="42"/>
                        <a:pt x="217" y="38"/>
                        <a:pt x="217" y="28"/>
                      </a:cubicBezTo>
                      <a:cubicBezTo>
                        <a:pt x="217" y="9"/>
                        <a:pt x="234" y="8"/>
                        <a:pt x="245" y="0"/>
                      </a:cubicBezTo>
                      <a:cubicBezTo>
                        <a:pt x="245" y="5"/>
                        <a:pt x="245" y="5"/>
                        <a:pt x="245" y="5"/>
                      </a:cubicBezTo>
                      <a:cubicBezTo>
                        <a:pt x="243" y="10"/>
                        <a:pt x="242" y="12"/>
                        <a:pt x="242" y="17"/>
                      </a:cubicBezTo>
                      <a:cubicBezTo>
                        <a:pt x="242" y="21"/>
                        <a:pt x="247" y="22"/>
                        <a:pt x="251" y="22"/>
                      </a:cubicBezTo>
                      <a:cubicBezTo>
                        <a:pt x="251" y="23"/>
                        <a:pt x="251" y="24"/>
                        <a:pt x="251" y="25"/>
                      </a:cubicBezTo>
                      <a:cubicBezTo>
                        <a:pt x="251" y="27"/>
                        <a:pt x="247" y="28"/>
                        <a:pt x="245" y="29"/>
                      </a:cubicBezTo>
                      <a:cubicBezTo>
                        <a:pt x="241" y="34"/>
                        <a:pt x="236" y="38"/>
                        <a:pt x="236" y="46"/>
                      </a:cubicBezTo>
                      <a:cubicBezTo>
                        <a:pt x="236" y="50"/>
                        <a:pt x="238" y="53"/>
                        <a:pt x="240" y="54"/>
                      </a:cubicBezTo>
                      <a:cubicBezTo>
                        <a:pt x="240" y="56"/>
                        <a:pt x="241" y="57"/>
                        <a:pt x="240" y="59"/>
                      </a:cubicBezTo>
                      <a:cubicBezTo>
                        <a:pt x="245" y="59"/>
                        <a:pt x="247" y="60"/>
                        <a:pt x="251" y="60"/>
                      </a:cubicBezTo>
                      <a:cubicBezTo>
                        <a:pt x="252" y="63"/>
                        <a:pt x="253" y="66"/>
                        <a:pt x="254" y="66"/>
                      </a:cubicBezTo>
                      <a:cubicBezTo>
                        <a:pt x="266" y="66"/>
                        <a:pt x="274" y="56"/>
                        <a:pt x="285" y="57"/>
                      </a:cubicBezTo>
                      <a:cubicBezTo>
                        <a:pt x="284" y="59"/>
                        <a:pt x="282" y="60"/>
                        <a:pt x="282" y="62"/>
                      </a:cubicBezTo>
                      <a:cubicBezTo>
                        <a:pt x="282" y="63"/>
                        <a:pt x="289" y="68"/>
                        <a:pt x="289" y="68"/>
                      </a:cubicBezTo>
                      <a:cubicBezTo>
                        <a:pt x="294" y="68"/>
                        <a:pt x="295" y="65"/>
                        <a:pt x="297" y="64"/>
                      </a:cubicBezTo>
                      <a:cubicBezTo>
                        <a:pt x="304" y="60"/>
                        <a:pt x="310" y="62"/>
                        <a:pt x="317" y="59"/>
                      </a:cubicBezTo>
                      <a:cubicBezTo>
                        <a:pt x="321" y="57"/>
                        <a:pt x="328" y="50"/>
                        <a:pt x="333" y="50"/>
                      </a:cubicBezTo>
                      <a:cubicBezTo>
                        <a:pt x="339" y="50"/>
                        <a:pt x="345" y="51"/>
                        <a:pt x="348" y="52"/>
                      </a:cubicBezTo>
                      <a:cubicBezTo>
                        <a:pt x="347" y="54"/>
                        <a:pt x="346" y="56"/>
                        <a:pt x="346" y="57"/>
                      </a:cubicBezTo>
                      <a:cubicBezTo>
                        <a:pt x="358" y="57"/>
                        <a:pt x="370" y="55"/>
                        <a:pt x="378" y="55"/>
                      </a:cubicBezTo>
                      <a:cubicBezTo>
                        <a:pt x="386" y="55"/>
                        <a:pt x="392" y="54"/>
                        <a:pt x="401" y="54"/>
                      </a:cubicBezTo>
                      <a:cubicBezTo>
                        <a:pt x="410" y="54"/>
                        <a:pt x="414" y="70"/>
                        <a:pt x="414" y="80"/>
                      </a:cubicBezTo>
                      <a:cubicBezTo>
                        <a:pt x="414" y="86"/>
                        <a:pt x="408" y="89"/>
                        <a:pt x="408" y="95"/>
                      </a:cubicBezTo>
                      <a:cubicBezTo>
                        <a:pt x="408" y="104"/>
                        <a:pt x="416" y="110"/>
                        <a:pt x="416" y="118"/>
                      </a:cubicBezTo>
                      <a:cubicBezTo>
                        <a:pt x="416" y="123"/>
                        <a:pt x="408" y="125"/>
                        <a:pt x="406" y="128"/>
                      </a:cubicBezTo>
                      <a:cubicBezTo>
                        <a:pt x="401" y="136"/>
                        <a:pt x="399" y="143"/>
                        <a:pt x="399" y="153"/>
                      </a:cubicBezTo>
                      <a:cubicBezTo>
                        <a:pt x="399" y="166"/>
                        <a:pt x="408" y="163"/>
                        <a:pt x="418" y="163"/>
                      </a:cubicBezTo>
                      <a:cubicBezTo>
                        <a:pt x="432" y="163"/>
                        <a:pt x="439" y="157"/>
                        <a:pt x="450" y="157"/>
                      </a:cubicBezTo>
                      <a:cubicBezTo>
                        <a:pt x="461" y="157"/>
                        <a:pt x="459" y="180"/>
                        <a:pt x="470" y="180"/>
                      </a:cubicBezTo>
                      <a:cubicBezTo>
                        <a:pt x="470" y="198"/>
                        <a:pt x="470" y="198"/>
                        <a:pt x="470" y="198"/>
                      </a:cubicBezTo>
                      <a:cubicBezTo>
                        <a:pt x="470" y="200"/>
                        <a:pt x="471" y="201"/>
                        <a:pt x="472" y="201"/>
                      </a:cubicBezTo>
                      <a:cubicBezTo>
                        <a:pt x="474" y="204"/>
                        <a:pt x="474" y="204"/>
                        <a:pt x="474" y="204"/>
                      </a:cubicBezTo>
                      <a:cubicBezTo>
                        <a:pt x="476" y="204"/>
                        <a:pt x="482" y="202"/>
                        <a:pt x="485" y="201"/>
                      </a:cubicBezTo>
                      <a:cubicBezTo>
                        <a:pt x="485" y="204"/>
                        <a:pt x="485" y="206"/>
                        <a:pt x="485" y="208"/>
                      </a:cubicBezTo>
                      <a:cubicBezTo>
                        <a:pt x="481" y="209"/>
                        <a:pt x="476" y="211"/>
                        <a:pt x="476" y="216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202" name="Полилиния 25">
                  <a:extLst>
                    <a:ext uri="{FF2B5EF4-FFF2-40B4-BE49-F238E27FC236}">
                      <a16:creationId xmlns:a16="http://schemas.microsoft.com/office/drawing/2014/main" xmlns="" id="{BB45E62F-3496-4360-8075-AFBA57AB96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0400" y="1416050"/>
                  <a:ext cx="436563" cy="423863"/>
                </a:xfrm>
                <a:custGeom>
                  <a:avLst/>
                  <a:gdLst/>
                  <a:ahLst/>
                  <a:cxnLst>
                    <a:cxn ang="0">
                      <a:pos x="66" y="236"/>
                    </a:cxn>
                    <a:cxn ang="0">
                      <a:pos x="4" y="254"/>
                    </a:cxn>
                    <a:cxn ang="0">
                      <a:pos x="12" y="241"/>
                    </a:cxn>
                    <a:cxn ang="0">
                      <a:pos x="8" y="231"/>
                    </a:cxn>
                    <a:cxn ang="0">
                      <a:pos x="10" y="190"/>
                    </a:cxn>
                    <a:cxn ang="0">
                      <a:pos x="55" y="163"/>
                    </a:cxn>
                    <a:cxn ang="0">
                      <a:pos x="85" y="129"/>
                    </a:cxn>
                    <a:cxn ang="0">
                      <a:pos x="97" y="102"/>
                    </a:cxn>
                    <a:cxn ang="0">
                      <a:pos x="142" y="55"/>
                    </a:cxn>
                    <a:cxn ang="0">
                      <a:pos x="124" y="57"/>
                    </a:cxn>
                    <a:cxn ang="0">
                      <a:pos x="124" y="49"/>
                    </a:cxn>
                    <a:cxn ang="0">
                      <a:pos x="132" y="44"/>
                    </a:cxn>
                    <a:cxn ang="0">
                      <a:pos x="148" y="57"/>
                    </a:cxn>
                    <a:cxn ang="0">
                      <a:pos x="149" y="45"/>
                    </a:cxn>
                    <a:cxn ang="0">
                      <a:pos x="168" y="37"/>
                    </a:cxn>
                    <a:cxn ang="0">
                      <a:pos x="183" y="28"/>
                    </a:cxn>
                    <a:cxn ang="0">
                      <a:pos x="199" y="21"/>
                    </a:cxn>
                    <a:cxn ang="0">
                      <a:pos x="221" y="17"/>
                    </a:cxn>
                    <a:cxn ang="0">
                      <a:pos x="223" y="5"/>
                    </a:cxn>
                    <a:cxn ang="0">
                      <a:pos x="256" y="6"/>
                    </a:cxn>
                    <a:cxn ang="0">
                      <a:pos x="266" y="7"/>
                    </a:cxn>
                    <a:cxn ang="0">
                      <a:pos x="285" y="2"/>
                    </a:cxn>
                    <a:cxn ang="0">
                      <a:pos x="296" y="6"/>
                    </a:cxn>
                    <a:cxn ang="0">
                      <a:pos x="293" y="24"/>
                    </a:cxn>
                    <a:cxn ang="0">
                      <a:pos x="315" y="32"/>
                    </a:cxn>
                    <a:cxn ang="0">
                      <a:pos x="309" y="72"/>
                    </a:cxn>
                    <a:cxn ang="0">
                      <a:pos x="310" y="113"/>
                    </a:cxn>
                    <a:cxn ang="0">
                      <a:pos x="318" y="148"/>
                    </a:cxn>
                    <a:cxn ang="0">
                      <a:pos x="327" y="172"/>
                    </a:cxn>
                    <a:cxn ang="0">
                      <a:pos x="255" y="224"/>
                    </a:cxn>
                    <a:cxn ang="0">
                      <a:pos x="218" y="225"/>
                    </a:cxn>
                    <a:cxn ang="0">
                      <a:pos x="206" y="200"/>
                    </a:cxn>
                    <a:cxn ang="0">
                      <a:pos x="197" y="174"/>
                    </a:cxn>
                    <a:cxn ang="0">
                      <a:pos x="254" y="130"/>
                    </a:cxn>
                    <a:cxn ang="0">
                      <a:pos x="202" y="135"/>
                    </a:cxn>
                    <a:cxn ang="0">
                      <a:pos x="172" y="169"/>
                    </a:cxn>
                    <a:cxn ang="0">
                      <a:pos x="146" y="201"/>
                    </a:cxn>
                    <a:cxn ang="0">
                      <a:pos x="150" y="218"/>
                    </a:cxn>
                    <a:cxn ang="0">
                      <a:pos x="152" y="253"/>
                    </a:cxn>
                    <a:cxn ang="0">
                      <a:pos x="146" y="283"/>
                    </a:cxn>
                    <a:cxn ang="0">
                      <a:pos x="121" y="304"/>
                    </a:cxn>
                    <a:cxn ang="0">
                      <a:pos x="90" y="297"/>
                    </a:cxn>
                    <a:cxn ang="0">
                      <a:pos x="82" y="269"/>
                    </a:cxn>
                    <a:cxn ang="0">
                      <a:pos x="76" y="245"/>
                    </a:cxn>
                  </a:cxnLst>
                  <a:rect l="0" t="0" r="r" b="b"/>
                  <a:pathLst>
                    <a:path w="327" h="318">
                      <a:moveTo>
                        <a:pt x="76" y="247"/>
                      </a:moveTo>
                      <a:cubicBezTo>
                        <a:pt x="70" y="245"/>
                        <a:pt x="69" y="241"/>
                        <a:pt x="66" y="236"/>
                      </a:cubicBezTo>
                      <a:cubicBezTo>
                        <a:pt x="57" y="249"/>
                        <a:pt x="43" y="266"/>
                        <a:pt x="24" y="266"/>
                      </a:cubicBezTo>
                      <a:cubicBezTo>
                        <a:pt x="22" y="266"/>
                        <a:pt x="4" y="256"/>
                        <a:pt x="4" y="254"/>
                      </a:cubicBezTo>
                      <a:cubicBezTo>
                        <a:pt x="4" y="250"/>
                        <a:pt x="10" y="248"/>
                        <a:pt x="12" y="247"/>
                      </a:cubicBezTo>
                      <a:cubicBezTo>
                        <a:pt x="12" y="241"/>
                        <a:pt x="12" y="241"/>
                        <a:pt x="12" y="241"/>
                      </a:cubicBezTo>
                      <a:cubicBezTo>
                        <a:pt x="6" y="241"/>
                        <a:pt x="6" y="241"/>
                        <a:pt x="0" y="243"/>
                      </a:cubicBezTo>
                      <a:cubicBezTo>
                        <a:pt x="0" y="240"/>
                        <a:pt x="5" y="234"/>
                        <a:pt x="8" y="231"/>
                      </a:cubicBezTo>
                      <a:cubicBezTo>
                        <a:pt x="1" y="223"/>
                        <a:pt x="0" y="212"/>
                        <a:pt x="0" y="200"/>
                      </a:cubicBezTo>
                      <a:cubicBezTo>
                        <a:pt x="0" y="193"/>
                        <a:pt x="7" y="194"/>
                        <a:pt x="10" y="190"/>
                      </a:cubicBezTo>
                      <a:cubicBezTo>
                        <a:pt x="15" y="182"/>
                        <a:pt x="20" y="177"/>
                        <a:pt x="30" y="174"/>
                      </a:cubicBezTo>
                      <a:cubicBezTo>
                        <a:pt x="38" y="172"/>
                        <a:pt x="39" y="162"/>
                        <a:pt x="55" y="163"/>
                      </a:cubicBezTo>
                      <a:cubicBezTo>
                        <a:pt x="50" y="162"/>
                        <a:pt x="49" y="161"/>
                        <a:pt x="45" y="160"/>
                      </a:cubicBezTo>
                      <a:cubicBezTo>
                        <a:pt x="64" y="155"/>
                        <a:pt x="71" y="140"/>
                        <a:pt x="85" y="129"/>
                      </a:cubicBezTo>
                      <a:cubicBezTo>
                        <a:pt x="90" y="126"/>
                        <a:pt x="89" y="112"/>
                        <a:pt x="93" y="112"/>
                      </a:cubicBezTo>
                      <a:cubicBezTo>
                        <a:pt x="93" y="112"/>
                        <a:pt x="97" y="102"/>
                        <a:pt x="97" y="102"/>
                      </a:cubicBezTo>
                      <a:cubicBezTo>
                        <a:pt x="102" y="93"/>
                        <a:pt x="109" y="87"/>
                        <a:pt x="118" y="83"/>
                      </a:cubicBezTo>
                      <a:cubicBezTo>
                        <a:pt x="127" y="80"/>
                        <a:pt x="139" y="65"/>
                        <a:pt x="142" y="55"/>
                      </a:cubicBezTo>
                      <a:cubicBezTo>
                        <a:pt x="131" y="58"/>
                        <a:pt x="126" y="63"/>
                        <a:pt x="116" y="63"/>
                      </a:cubicBezTo>
                      <a:cubicBezTo>
                        <a:pt x="118" y="60"/>
                        <a:pt x="123" y="58"/>
                        <a:pt x="124" y="57"/>
                      </a:cubicBezTo>
                      <a:cubicBezTo>
                        <a:pt x="122" y="57"/>
                        <a:pt x="118" y="56"/>
                        <a:pt x="118" y="56"/>
                      </a:cubicBezTo>
                      <a:cubicBezTo>
                        <a:pt x="119" y="51"/>
                        <a:pt x="121" y="49"/>
                        <a:pt x="124" y="49"/>
                      </a:cubicBezTo>
                      <a:cubicBezTo>
                        <a:pt x="126" y="49"/>
                        <a:pt x="127" y="50"/>
                        <a:pt x="128" y="50"/>
                      </a:cubicBezTo>
                      <a:cubicBezTo>
                        <a:pt x="129" y="47"/>
                        <a:pt x="131" y="46"/>
                        <a:pt x="132" y="44"/>
                      </a:cubicBezTo>
                      <a:cubicBezTo>
                        <a:pt x="134" y="47"/>
                        <a:pt x="135" y="49"/>
                        <a:pt x="133" y="52"/>
                      </a:cubicBezTo>
                      <a:cubicBezTo>
                        <a:pt x="140" y="52"/>
                        <a:pt x="142" y="57"/>
                        <a:pt x="148" y="57"/>
                      </a:cubicBezTo>
                      <a:cubicBezTo>
                        <a:pt x="150" y="57"/>
                        <a:pt x="155" y="46"/>
                        <a:pt x="156" y="46"/>
                      </a:cubicBezTo>
                      <a:cubicBezTo>
                        <a:pt x="153" y="45"/>
                        <a:pt x="153" y="44"/>
                        <a:pt x="149" y="45"/>
                      </a:cubicBezTo>
                      <a:cubicBezTo>
                        <a:pt x="151" y="41"/>
                        <a:pt x="154" y="38"/>
                        <a:pt x="159" y="38"/>
                      </a:cubicBezTo>
                      <a:cubicBezTo>
                        <a:pt x="162" y="38"/>
                        <a:pt x="165" y="39"/>
                        <a:pt x="168" y="37"/>
                      </a:cubicBezTo>
                      <a:cubicBezTo>
                        <a:pt x="165" y="35"/>
                        <a:pt x="166" y="35"/>
                        <a:pt x="164" y="33"/>
                      </a:cubicBezTo>
                      <a:cubicBezTo>
                        <a:pt x="169" y="29"/>
                        <a:pt x="176" y="29"/>
                        <a:pt x="183" y="28"/>
                      </a:cubicBezTo>
                      <a:cubicBezTo>
                        <a:pt x="183" y="33"/>
                        <a:pt x="183" y="33"/>
                        <a:pt x="183" y="33"/>
                      </a:cubicBezTo>
                      <a:cubicBezTo>
                        <a:pt x="189" y="32"/>
                        <a:pt x="190" y="22"/>
                        <a:pt x="199" y="21"/>
                      </a:cubicBezTo>
                      <a:cubicBezTo>
                        <a:pt x="199" y="29"/>
                        <a:pt x="199" y="29"/>
                        <a:pt x="199" y="29"/>
                      </a:cubicBezTo>
                      <a:cubicBezTo>
                        <a:pt x="205" y="18"/>
                        <a:pt x="213" y="21"/>
                        <a:pt x="221" y="17"/>
                      </a:cubicBezTo>
                      <a:cubicBezTo>
                        <a:pt x="217" y="15"/>
                        <a:pt x="214" y="14"/>
                        <a:pt x="214" y="11"/>
                      </a:cubicBezTo>
                      <a:cubicBezTo>
                        <a:pt x="214" y="9"/>
                        <a:pt x="222" y="7"/>
                        <a:pt x="223" y="5"/>
                      </a:cubicBezTo>
                      <a:cubicBezTo>
                        <a:pt x="226" y="8"/>
                        <a:pt x="228" y="11"/>
                        <a:pt x="232" y="11"/>
                      </a:cubicBezTo>
                      <a:cubicBezTo>
                        <a:pt x="239" y="11"/>
                        <a:pt x="256" y="0"/>
                        <a:pt x="256" y="6"/>
                      </a:cubicBezTo>
                      <a:cubicBezTo>
                        <a:pt x="256" y="12"/>
                        <a:pt x="248" y="14"/>
                        <a:pt x="247" y="20"/>
                      </a:cubicBezTo>
                      <a:cubicBezTo>
                        <a:pt x="255" y="21"/>
                        <a:pt x="258" y="11"/>
                        <a:pt x="266" y="7"/>
                      </a:cubicBezTo>
                      <a:cubicBezTo>
                        <a:pt x="267" y="10"/>
                        <a:pt x="267" y="12"/>
                        <a:pt x="268" y="15"/>
                      </a:cubicBezTo>
                      <a:cubicBezTo>
                        <a:pt x="274" y="9"/>
                        <a:pt x="277" y="7"/>
                        <a:pt x="285" y="2"/>
                      </a:cubicBezTo>
                      <a:cubicBezTo>
                        <a:pt x="285" y="8"/>
                        <a:pt x="284" y="12"/>
                        <a:pt x="289" y="13"/>
                      </a:cubicBezTo>
                      <a:cubicBezTo>
                        <a:pt x="290" y="9"/>
                        <a:pt x="292" y="6"/>
                        <a:pt x="296" y="6"/>
                      </a:cubicBezTo>
                      <a:cubicBezTo>
                        <a:pt x="298" y="6"/>
                        <a:pt x="307" y="11"/>
                        <a:pt x="311" y="13"/>
                      </a:cubicBezTo>
                      <a:cubicBezTo>
                        <a:pt x="307" y="24"/>
                        <a:pt x="303" y="20"/>
                        <a:pt x="293" y="24"/>
                      </a:cubicBezTo>
                      <a:cubicBezTo>
                        <a:pt x="298" y="27"/>
                        <a:pt x="301" y="28"/>
                        <a:pt x="301" y="30"/>
                      </a:cubicBezTo>
                      <a:cubicBezTo>
                        <a:pt x="305" y="31"/>
                        <a:pt x="314" y="32"/>
                        <a:pt x="315" y="32"/>
                      </a:cubicBezTo>
                      <a:cubicBezTo>
                        <a:pt x="309" y="36"/>
                        <a:pt x="293" y="44"/>
                        <a:pt x="293" y="55"/>
                      </a:cubicBezTo>
                      <a:cubicBezTo>
                        <a:pt x="293" y="63"/>
                        <a:pt x="309" y="62"/>
                        <a:pt x="309" y="72"/>
                      </a:cubicBezTo>
                      <a:cubicBezTo>
                        <a:pt x="309" y="80"/>
                        <a:pt x="301" y="83"/>
                        <a:pt x="301" y="91"/>
                      </a:cubicBezTo>
                      <a:cubicBezTo>
                        <a:pt x="301" y="99"/>
                        <a:pt x="310" y="104"/>
                        <a:pt x="310" y="113"/>
                      </a:cubicBezTo>
                      <a:cubicBezTo>
                        <a:pt x="310" y="118"/>
                        <a:pt x="305" y="121"/>
                        <a:pt x="305" y="126"/>
                      </a:cubicBezTo>
                      <a:cubicBezTo>
                        <a:pt x="305" y="136"/>
                        <a:pt x="318" y="138"/>
                        <a:pt x="318" y="148"/>
                      </a:cubicBezTo>
                      <a:cubicBezTo>
                        <a:pt x="318" y="151"/>
                        <a:pt x="314" y="153"/>
                        <a:pt x="313" y="154"/>
                      </a:cubicBezTo>
                      <a:cubicBezTo>
                        <a:pt x="317" y="161"/>
                        <a:pt x="327" y="163"/>
                        <a:pt x="327" y="172"/>
                      </a:cubicBezTo>
                      <a:cubicBezTo>
                        <a:pt x="327" y="187"/>
                        <a:pt x="297" y="203"/>
                        <a:pt x="288" y="215"/>
                      </a:cubicBezTo>
                      <a:cubicBezTo>
                        <a:pt x="283" y="224"/>
                        <a:pt x="263" y="226"/>
                        <a:pt x="255" y="224"/>
                      </a:cubicBezTo>
                      <a:cubicBezTo>
                        <a:pt x="246" y="227"/>
                        <a:pt x="236" y="231"/>
                        <a:pt x="228" y="231"/>
                      </a:cubicBezTo>
                      <a:cubicBezTo>
                        <a:pt x="222" y="231"/>
                        <a:pt x="218" y="230"/>
                        <a:pt x="218" y="225"/>
                      </a:cubicBezTo>
                      <a:cubicBezTo>
                        <a:pt x="209" y="225"/>
                        <a:pt x="199" y="219"/>
                        <a:pt x="199" y="210"/>
                      </a:cubicBezTo>
                      <a:cubicBezTo>
                        <a:pt x="199" y="205"/>
                        <a:pt x="204" y="202"/>
                        <a:pt x="206" y="200"/>
                      </a:cubicBezTo>
                      <a:cubicBezTo>
                        <a:pt x="201" y="198"/>
                        <a:pt x="197" y="188"/>
                        <a:pt x="197" y="183"/>
                      </a:cubicBezTo>
                      <a:cubicBezTo>
                        <a:pt x="197" y="180"/>
                        <a:pt x="198" y="178"/>
                        <a:pt x="197" y="174"/>
                      </a:cubicBezTo>
                      <a:cubicBezTo>
                        <a:pt x="216" y="174"/>
                        <a:pt x="225" y="150"/>
                        <a:pt x="237" y="144"/>
                      </a:cubicBezTo>
                      <a:cubicBezTo>
                        <a:pt x="243" y="140"/>
                        <a:pt x="254" y="138"/>
                        <a:pt x="254" y="130"/>
                      </a:cubicBezTo>
                      <a:cubicBezTo>
                        <a:pt x="254" y="119"/>
                        <a:pt x="239" y="117"/>
                        <a:pt x="228" y="117"/>
                      </a:cubicBezTo>
                      <a:cubicBezTo>
                        <a:pt x="213" y="117"/>
                        <a:pt x="202" y="122"/>
                        <a:pt x="202" y="135"/>
                      </a:cubicBezTo>
                      <a:cubicBezTo>
                        <a:pt x="202" y="140"/>
                        <a:pt x="203" y="142"/>
                        <a:pt x="202" y="145"/>
                      </a:cubicBezTo>
                      <a:cubicBezTo>
                        <a:pt x="202" y="155"/>
                        <a:pt x="181" y="164"/>
                        <a:pt x="172" y="169"/>
                      </a:cubicBezTo>
                      <a:cubicBezTo>
                        <a:pt x="165" y="174"/>
                        <a:pt x="157" y="175"/>
                        <a:pt x="152" y="183"/>
                      </a:cubicBezTo>
                      <a:cubicBezTo>
                        <a:pt x="149" y="189"/>
                        <a:pt x="153" y="198"/>
                        <a:pt x="146" y="201"/>
                      </a:cubicBezTo>
                      <a:cubicBezTo>
                        <a:pt x="146" y="210"/>
                        <a:pt x="146" y="210"/>
                        <a:pt x="146" y="210"/>
                      </a:cubicBezTo>
                      <a:cubicBezTo>
                        <a:pt x="149" y="212"/>
                        <a:pt x="150" y="215"/>
                        <a:pt x="150" y="218"/>
                      </a:cubicBezTo>
                      <a:cubicBezTo>
                        <a:pt x="158" y="219"/>
                        <a:pt x="170" y="227"/>
                        <a:pt x="170" y="235"/>
                      </a:cubicBezTo>
                      <a:cubicBezTo>
                        <a:pt x="170" y="242"/>
                        <a:pt x="157" y="253"/>
                        <a:pt x="152" y="253"/>
                      </a:cubicBezTo>
                      <a:cubicBezTo>
                        <a:pt x="143" y="253"/>
                        <a:pt x="140" y="266"/>
                        <a:pt x="140" y="275"/>
                      </a:cubicBezTo>
                      <a:cubicBezTo>
                        <a:pt x="140" y="280"/>
                        <a:pt x="144" y="282"/>
                        <a:pt x="146" y="283"/>
                      </a:cubicBezTo>
                      <a:cubicBezTo>
                        <a:pt x="145" y="294"/>
                        <a:pt x="135" y="295"/>
                        <a:pt x="133" y="304"/>
                      </a:cubicBezTo>
                      <a:cubicBezTo>
                        <a:pt x="127" y="304"/>
                        <a:pt x="125" y="304"/>
                        <a:pt x="121" y="304"/>
                      </a:cubicBezTo>
                      <a:cubicBezTo>
                        <a:pt x="114" y="304"/>
                        <a:pt x="111" y="318"/>
                        <a:pt x="100" y="318"/>
                      </a:cubicBezTo>
                      <a:cubicBezTo>
                        <a:pt x="97" y="318"/>
                        <a:pt x="90" y="299"/>
                        <a:pt x="90" y="297"/>
                      </a:cubicBezTo>
                      <a:cubicBezTo>
                        <a:pt x="90" y="296"/>
                        <a:pt x="91" y="294"/>
                        <a:pt x="91" y="293"/>
                      </a:cubicBezTo>
                      <a:cubicBezTo>
                        <a:pt x="84" y="285"/>
                        <a:pt x="85" y="279"/>
                        <a:pt x="82" y="269"/>
                      </a:cubicBezTo>
                      <a:cubicBezTo>
                        <a:pt x="79" y="263"/>
                        <a:pt x="73" y="261"/>
                        <a:pt x="73" y="253"/>
                      </a:cubicBezTo>
                      <a:cubicBezTo>
                        <a:pt x="73" y="250"/>
                        <a:pt x="75" y="246"/>
                        <a:pt x="76" y="245"/>
                      </a:cubicBezTo>
                      <a:lnTo>
                        <a:pt x="76" y="247"/>
                      </a:ln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203" name="Полилиния 26">
                  <a:extLst>
                    <a:ext uri="{FF2B5EF4-FFF2-40B4-BE49-F238E27FC236}">
                      <a16:creationId xmlns:a16="http://schemas.microsoft.com/office/drawing/2014/main" xmlns="" id="{4091C0C1-F87D-E73D-4E46-CCDF5F7553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9300" y="1109663"/>
                  <a:ext cx="234950" cy="128588"/>
                </a:xfrm>
                <a:custGeom>
                  <a:avLst/>
                  <a:gdLst/>
                  <a:ahLst/>
                  <a:cxnLst>
                    <a:cxn ang="0">
                      <a:pos x="148" y="79"/>
                    </a:cxn>
                    <a:cxn ang="0">
                      <a:pos x="148" y="71"/>
                    </a:cxn>
                    <a:cxn ang="0">
                      <a:pos x="128" y="71"/>
                    </a:cxn>
                    <a:cxn ang="0">
                      <a:pos x="135" y="58"/>
                    </a:cxn>
                    <a:cxn ang="0">
                      <a:pos x="126" y="46"/>
                    </a:cxn>
                    <a:cxn ang="0">
                      <a:pos x="132" y="45"/>
                    </a:cxn>
                    <a:cxn ang="0">
                      <a:pos x="121" y="38"/>
                    </a:cxn>
                    <a:cxn ang="0">
                      <a:pos x="97" y="69"/>
                    </a:cxn>
                    <a:cxn ang="0">
                      <a:pos x="90" y="73"/>
                    </a:cxn>
                    <a:cxn ang="0">
                      <a:pos x="78" y="97"/>
                    </a:cxn>
                    <a:cxn ang="0">
                      <a:pos x="43" y="69"/>
                    </a:cxn>
                    <a:cxn ang="0">
                      <a:pos x="60" y="70"/>
                    </a:cxn>
                    <a:cxn ang="0">
                      <a:pos x="74" y="66"/>
                    </a:cxn>
                    <a:cxn ang="0">
                      <a:pos x="54" y="64"/>
                    </a:cxn>
                    <a:cxn ang="0">
                      <a:pos x="38" y="58"/>
                    </a:cxn>
                    <a:cxn ang="0">
                      <a:pos x="50" y="54"/>
                    </a:cxn>
                    <a:cxn ang="0">
                      <a:pos x="72" y="43"/>
                    </a:cxn>
                    <a:cxn ang="0">
                      <a:pos x="61" y="43"/>
                    </a:cxn>
                    <a:cxn ang="0">
                      <a:pos x="54" y="39"/>
                    </a:cxn>
                    <a:cxn ang="0">
                      <a:pos x="51" y="39"/>
                    </a:cxn>
                    <a:cxn ang="0">
                      <a:pos x="38" y="51"/>
                    </a:cxn>
                    <a:cxn ang="0">
                      <a:pos x="23" y="44"/>
                    </a:cxn>
                    <a:cxn ang="0">
                      <a:pos x="27" y="43"/>
                    </a:cxn>
                    <a:cxn ang="0">
                      <a:pos x="15" y="28"/>
                    </a:cxn>
                    <a:cxn ang="0">
                      <a:pos x="11" y="26"/>
                    </a:cxn>
                    <a:cxn ang="0">
                      <a:pos x="0" y="16"/>
                    </a:cxn>
                    <a:cxn ang="0">
                      <a:pos x="16" y="5"/>
                    </a:cxn>
                    <a:cxn ang="0">
                      <a:pos x="38" y="7"/>
                    </a:cxn>
                    <a:cxn ang="0">
                      <a:pos x="32" y="13"/>
                    </a:cxn>
                    <a:cxn ang="0">
                      <a:pos x="44" y="20"/>
                    </a:cxn>
                    <a:cxn ang="0">
                      <a:pos x="41" y="14"/>
                    </a:cxn>
                    <a:cxn ang="0">
                      <a:pos x="49" y="7"/>
                    </a:cxn>
                    <a:cxn ang="0">
                      <a:pos x="68" y="26"/>
                    </a:cxn>
                    <a:cxn ang="0">
                      <a:pos x="63" y="7"/>
                    </a:cxn>
                    <a:cxn ang="0">
                      <a:pos x="72" y="0"/>
                    </a:cxn>
                    <a:cxn ang="0">
                      <a:pos x="90" y="9"/>
                    </a:cxn>
                    <a:cxn ang="0">
                      <a:pos x="88" y="18"/>
                    </a:cxn>
                    <a:cxn ang="0">
                      <a:pos x="96" y="12"/>
                    </a:cxn>
                    <a:cxn ang="0">
                      <a:pos x="102" y="23"/>
                    </a:cxn>
                    <a:cxn ang="0">
                      <a:pos x="106" y="23"/>
                    </a:cxn>
                    <a:cxn ang="0">
                      <a:pos x="141" y="41"/>
                    </a:cxn>
                    <a:cxn ang="0">
                      <a:pos x="137" y="42"/>
                    </a:cxn>
                    <a:cxn ang="0">
                      <a:pos x="145" y="42"/>
                    </a:cxn>
                    <a:cxn ang="0">
                      <a:pos x="145" y="49"/>
                    </a:cxn>
                    <a:cxn ang="0">
                      <a:pos x="159" y="49"/>
                    </a:cxn>
                    <a:cxn ang="0">
                      <a:pos x="176" y="64"/>
                    </a:cxn>
                    <a:cxn ang="0">
                      <a:pos x="148" y="79"/>
                    </a:cxn>
                  </a:cxnLst>
                  <a:rect l="0" t="0" r="r" b="b"/>
                  <a:pathLst>
                    <a:path w="176" h="97">
                      <a:moveTo>
                        <a:pt x="148" y="79"/>
                      </a:moveTo>
                      <a:cubicBezTo>
                        <a:pt x="147" y="76"/>
                        <a:pt x="147" y="74"/>
                        <a:pt x="148" y="71"/>
                      </a:cubicBezTo>
                      <a:cubicBezTo>
                        <a:pt x="143" y="71"/>
                        <a:pt x="134" y="71"/>
                        <a:pt x="128" y="71"/>
                      </a:cubicBezTo>
                      <a:cubicBezTo>
                        <a:pt x="129" y="63"/>
                        <a:pt x="134" y="65"/>
                        <a:pt x="135" y="58"/>
                      </a:cubicBezTo>
                      <a:cubicBezTo>
                        <a:pt x="132" y="57"/>
                        <a:pt x="128" y="49"/>
                        <a:pt x="126" y="46"/>
                      </a:cubicBezTo>
                      <a:cubicBezTo>
                        <a:pt x="128" y="45"/>
                        <a:pt x="130" y="45"/>
                        <a:pt x="132" y="45"/>
                      </a:cubicBezTo>
                      <a:cubicBezTo>
                        <a:pt x="125" y="44"/>
                        <a:pt x="121" y="38"/>
                        <a:pt x="121" y="38"/>
                      </a:cubicBezTo>
                      <a:cubicBezTo>
                        <a:pt x="106" y="38"/>
                        <a:pt x="102" y="58"/>
                        <a:pt x="97" y="69"/>
                      </a:cubicBezTo>
                      <a:cubicBezTo>
                        <a:pt x="96" y="72"/>
                        <a:pt x="93" y="71"/>
                        <a:pt x="90" y="73"/>
                      </a:cubicBezTo>
                      <a:cubicBezTo>
                        <a:pt x="83" y="79"/>
                        <a:pt x="84" y="91"/>
                        <a:pt x="78" y="97"/>
                      </a:cubicBezTo>
                      <a:cubicBezTo>
                        <a:pt x="67" y="90"/>
                        <a:pt x="43" y="84"/>
                        <a:pt x="43" y="69"/>
                      </a:cubicBezTo>
                      <a:cubicBezTo>
                        <a:pt x="49" y="68"/>
                        <a:pt x="60" y="70"/>
                        <a:pt x="60" y="70"/>
                      </a:cubicBezTo>
                      <a:cubicBezTo>
                        <a:pt x="64" y="66"/>
                        <a:pt x="69" y="67"/>
                        <a:pt x="74" y="66"/>
                      </a:cubicBezTo>
                      <a:cubicBezTo>
                        <a:pt x="72" y="64"/>
                        <a:pt x="57" y="64"/>
                        <a:pt x="54" y="64"/>
                      </a:cubicBezTo>
                      <a:cubicBezTo>
                        <a:pt x="49" y="64"/>
                        <a:pt x="38" y="69"/>
                        <a:pt x="38" y="58"/>
                      </a:cubicBezTo>
                      <a:cubicBezTo>
                        <a:pt x="38" y="54"/>
                        <a:pt x="48" y="54"/>
                        <a:pt x="50" y="54"/>
                      </a:cubicBezTo>
                      <a:cubicBezTo>
                        <a:pt x="56" y="52"/>
                        <a:pt x="68" y="47"/>
                        <a:pt x="72" y="43"/>
                      </a:cubicBezTo>
                      <a:cubicBezTo>
                        <a:pt x="66" y="43"/>
                        <a:pt x="63" y="43"/>
                        <a:pt x="61" y="43"/>
                      </a:cubicBezTo>
                      <a:cubicBezTo>
                        <a:pt x="60" y="43"/>
                        <a:pt x="56" y="40"/>
                        <a:pt x="54" y="39"/>
                      </a:cubicBezTo>
                      <a:cubicBezTo>
                        <a:pt x="53" y="39"/>
                        <a:pt x="52" y="39"/>
                        <a:pt x="51" y="39"/>
                      </a:cubicBezTo>
                      <a:cubicBezTo>
                        <a:pt x="47" y="41"/>
                        <a:pt x="47" y="51"/>
                        <a:pt x="38" y="51"/>
                      </a:cubicBezTo>
                      <a:cubicBezTo>
                        <a:pt x="31" y="51"/>
                        <a:pt x="26" y="48"/>
                        <a:pt x="23" y="44"/>
                      </a:cubicBezTo>
                      <a:cubicBezTo>
                        <a:pt x="25" y="43"/>
                        <a:pt x="26" y="43"/>
                        <a:pt x="27" y="43"/>
                      </a:cubicBezTo>
                      <a:cubicBezTo>
                        <a:pt x="19" y="39"/>
                        <a:pt x="13" y="35"/>
                        <a:pt x="15" y="28"/>
                      </a:cubicBezTo>
                      <a:cubicBezTo>
                        <a:pt x="13" y="28"/>
                        <a:pt x="12" y="26"/>
                        <a:pt x="11" y="26"/>
                      </a:cubicBezTo>
                      <a:cubicBezTo>
                        <a:pt x="8" y="26"/>
                        <a:pt x="3" y="19"/>
                        <a:pt x="0" y="16"/>
                      </a:cubicBezTo>
                      <a:cubicBezTo>
                        <a:pt x="2" y="14"/>
                        <a:pt x="11" y="5"/>
                        <a:pt x="16" y="5"/>
                      </a:cubicBezTo>
                      <a:cubicBezTo>
                        <a:pt x="23" y="5"/>
                        <a:pt x="27" y="5"/>
                        <a:pt x="38" y="7"/>
                      </a:cubicBezTo>
                      <a:cubicBezTo>
                        <a:pt x="35" y="10"/>
                        <a:pt x="34" y="11"/>
                        <a:pt x="32" y="13"/>
                      </a:cubicBezTo>
                      <a:cubicBezTo>
                        <a:pt x="37" y="17"/>
                        <a:pt x="41" y="17"/>
                        <a:pt x="44" y="20"/>
                      </a:cubicBezTo>
                      <a:cubicBezTo>
                        <a:pt x="42" y="19"/>
                        <a:pt x="41" y="17"/>
                        <a:pt x="41" y="14"/>
                      </a:cubicBezTo>
                      <a:cubicBezTo>
                        <a:pt x="41" y="10"/>
                        <a:pt x="45" y="7"/>
                        <a:pt x="49" y="7"/>
                      </a:cubicBezTo>
                      <a:cubicBezTo>
                        <a:pt x="60" y="7"/>
                        <a:pt x="57" y="22"/>
                        <a:pt x="68" y="26"/>
                      </a:cubicBezTo>
                      <a:cubicBezTo>
                        <a:pt x="66" y="19"/>
                        <a:pt x="63" y="15"/>
                        <a:pt x="63" y="7"/>
                      </a:cubicBezTo>
                      <a:cubicBezTo>
                        <a:pt x="63" y="0"/>
                        <a:pt x="66" y="0"/>
                        <a:pt x="72" y="0"/>
                      </a:cubicBezTo>
                      <a:cubicBezTo>
                        <a:pt x="78" y="0"/>
                        <a:pt x="90" y="4"/>
                        <a:pt x="90" y="9"/>
                      </a:cubicBezTo>
                      <a:cubicBezTo>
                        <a:pt x="90" y="12"/>
                        <a:pt x="88" y="15"/>
                        <a:pt x="88" y="18"/>
                      </a:cubicBezTo>
                      <a:cubicBezTo>
                        <a:pt x="92" y="16"/>
                        <a:pt x="93" y="12"/>
                        <a:pt x="96" y="12"/>
                      </a:cubicBezTo>
                      <a:cubicBezTo>
                        <a:pt x="103" y="12"/>
                        <a:pt x="102" y="19"/>
                        <a:pt x="102" y="23"/>
                      </a:cubicBezTo>
                      <a:cubicBezTo>
                        <a:pt x="103" y="23"/>
                        <a:pt x="105" y="23"/>
                        <a:pt x="106" y="23"/>
                      </a:cubicBezTo>
                      <a:cubicBezTo>
                        <a:pt x="113" y="23"/>
                        <a:pt x="137" y="36"/>
                        <a:pt x="141" y="41"/>
                      </a:cubicBezTo>
                      <a:cubicBezTo>
                        <a:pt x="140" y="42"/>
                        <a:pt x="138" y="42"/>
                        <a:pt x="137" y="42"/>
                      </a:cubicBezTo>
                      <a:cubicBezTo>
                        <a:pt x="140" y="43"/>
                        <a:pt x="142" y="42"/>
                        <a:pt x="145" y="42"/>
                      </a:cubicBezTo>
                      <a:cubicBezTo>
                        <a:pt x="146" y="44"/>
                        <a:pt x="146" y="47"/>
                        <a:pt x="145" y="49"/>
                      </a:cubicBezTo>
                      <a:cubicBezTo>
                        <a:pt x="151" y="49"/>
                        <a:pt x="154" y="49"/>
                        <a:pt x="159" y="49"/>
                      </a:cubicBezTo>
                      <a:cubicBezTo>
                        <a:pt x="159" y="62"/>
                        <a:pt x="172" y="59"/>
                        <a:pt x="176" y="64"/>
                      </a:cubicBezTo>
                      <a:cubicBezTo>
                        <a:pt x="164" y="68"/>
                        <a:pt x="159" y="76"/>
                        <a:pt x="148" y="79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204" name="Полилиния 27">
                  <a:extLst>
                    <a:ext uri="{FF2B5EF4-FFF2-40B4-BE49-F238E27FC236}">
                      <a16:creationId xmlns:a16="http://schemas.microsoft.com/office/drawing/2014/main" xmlns="" id="{321F439F-E300-384D-94F4-D10F701A89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3125" y="1089025"/>
                  <a:ext cx="150813" cy="55563"/>
                </a:xfrm>
                <a:custGeom>
                  <a:avLst/>
                  <a:gdLst/>
                  <a:ahLst/>
                  <a:cxnLst>
                    <a:cxn ang="0">
                      <a:pos x="114" y="19"/>
                    </a:cxn>
                    <a:cxn ang="0">
                      <a:pos x="69" y="41"/>
                    </a:cxn>
                    <a:cxn ang="0">
                      <a:pos x="54" y="34"/>
                    </a:cxn>
                    <a:cxn ang="0">
                      <a:pos x="28" y="34"/>
                    </a:cxn>
                    <a:cxn ang="0">
                      <a:pos x="23" y="26"/>
                    </a:cxn>
                    <a:cxn ang="0">
                      <a:pos x="32" y="26"/>
                    </a:cxn>
                    <a:cxn ang="0">
                      <a:pos x="43" y="24"/>
                    </a:cxn>
                    <a:cxn ang="0">
                      <a:pos x="22" y="23"/>
                    </a:cxn>
                    <a:cxn ang="0">
                      <a:pos x="6" y="18"/>
                    </a:cxn>
                    <a:cxn ang="0">
                      <a:pos x="0" y="7"/>
                    </a:cxn>
                    <a:cxn ang="0">
                      <a:pos x="6" y="7"/>
                    </a:cxn>
                    <a:cxn ang="0">
                      <a:pos x="15" y="8"/>
                    </a:cxn>
                    <a:cxn ang="0">
                      <a:pos x="15" y="6"/>
                    </a:cxn>
                    <a:cxn ang="0">
                      <a:pos x="23" y="6"/>
                    </a:cxn>
                    <a:cxn ang="0">
                      <a:pos x="21" y="2"/>
                    </a:cxn>
                    <a:cxn ang="0">
                      <a:pos x="33" y="2"/>
                    </a:cxn>
                    <a:cxn ang="0">
                      <a:pos x="51" y="11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67" y="12"/>
                    </a:cxn>
                    <a:cxn ang="0">
                      <a:pos x="80" y="7"/>
                    </a:cxn>
                    <a:cxn ang="0">
                      <a:pos x="95" y="7"/>
                    </a:cxn>
                    <a:cxn ang="0">
                      <a:pos x="114" y="19"/>
                    </a:cxn>
                  </a:cxnLst>
                  <a:rect l="0" t="0" r="r" b="b"/>
                  <a:pathLst>
                    <a:path w="114" h="41">
                      <a:moveTo>
                        <a:pt x="114" y="19"/>
                      </a:moveTo>
                      <a:cubicBezTo>
                        <a:pt x="104" y="26"/>
                        <a:pt x="82" y="41"/>
                        <a:pt x="69" y="41"/>
                      </a:cubicBezTo>
                      <a:cubicBezTo>
                        <a:pt x="61" y="41"/>
                        <a:pt x="57" y="39"/>
                        <a:pt x="54" y="34"/>
                      </a:cubicBezTo>
                      <a:cubicBezTo>
                        <a:pt x="28" y="34"/>
                        <a:pt x="28" y="34"/>
                        <a:pt x="28" y="34"/>
                      </a:cubicBezTo>
                      <a:cubicBezTo>
                        <a:pt x="25" y="32"/>
                        <a:pt x="23" y="30"/>
                        <a:pt x="23" y="26"/>
                      </a:cubicBezTo>
                      <a:cubicBezTo>
                        <a:pt x="26" y="26"/>
                        <a:pt x="31" y="26"/>
                        <a:pt x="32" y="26"/>
                      </a:cubicBezTo>
                      <a:cubicBezTo>
                        <a:pt x="36" y="25"/>
                        <a:pt x="40" y="25"/>
                        <a:pt x="43" y="24"/>
                      </a:cubicBezTo>
                      <a:cubicBezTo>
                        <a:pt x="41" y="24"/>
                        <a:pt x="23" y="23"/>
                        <a:pt x="22" y="23"/>
                      </a:cubicBezTo>
                      <a:cubicBezTo>
                        <a:pt x="14" y="23"/>
                        <a:pt x="6" y="28"/>
                        <a:pt x="6" y="18"/>
                      </a:cubicBezTo>
                      <a:cubicBezTo>
                        <a:pt x="3" y="15"/>
                        <a:pt x="0" y="12"/>
                        <a:pt x="0" y="7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9" y="9"/>
                        <a:pt x="13" y="10"/>
                        <a:pt x="15" y="8"/>
                      </a:cubicBezTo>
                      <a:cubicBezTo>
                        <a:pt x="15" y="6"/>
                        <a:pt x="15" y="6"/>
                        <a:pt x="15" y="6"/>
                      </a:cubicBezTo>
                      <a:cubicBezTo>
                        <a:pt x="23" y="6"/>
                        <a:pt x="23" y="6"/>
                        <a:pt x="23" y="6"/>
                      </a:cubicBezTo>
                      <a:cubicBezTo>
                        <a:pt x="21" y="2"/>
                        <a:pt x="21" y="2"/>
                        <a:pt x="21" y="2"/>
                      </a:cubicBezTo>
                      <a:cubicBezTo>
                        <a:pt x="33" y="2"/>
                        <a:pt x="33" y="2"/>
                        <a:pt x="33" y="2"/>
                      </a:cubicBezTo>
                      <a:cubicBezTo>
                        <a:pt x="36" y="4"/>
                        <a:pt x="48" y="11"/>
                        <a:pt x="51" y="11"/>
                      </a:cubicBezTo>
                      <a:cubicBezTo>
                        <a:pt x="56" y="11"/>
                        <a:pt x="59" y="2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6"/>
                        <a:pt x="66" y="8"/>
                        <a:pt x="67" y="12"/>
                      </a:cubicBezTo>
                      <a:cubicBezTo>
                        <a:pt x="71" y="12"/>
                        <a:pt x="73" y="7"/>
                        <a:pt x="80" y="7"/>
                      </a:cubicBezTo>
                      <a:cubicBezTo>
                        <a:pt x="91" y="7"/>
                        <a:pt x="88" y="7"/>
                        <a:pt x="95" y="7"/>
                      </a:cubicBezTo>
                      <a:cubicBezTo>
                        <a:pt x="103" y="7"/>
                        <a:pt x="112" y="14"/>
                        <a:pt x="114" y="19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205" name="Полилиния 28">
                  <a:extLst>
                    <a:ext uri="{FF2B5EF4-FFF2-40B4-BE49-F238E27FC236}">
                      <a16:creationId xmlns:a16="http://schemas.microsoft.com/office/drawing/2014/main" xmlns="" id="{2929725B-6A73-FF9B-FCC8-BB153A35E1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19575" y="1841500"/>
                  <a:ext cx="73025" cy="87313"/>
                </a:xfrm>
                <a:custGeom>
                  <a:avLst/>
                  <a:gdLst/>
                  <a:ahLst/>
                  <a:cxnLst>
                    <a:cxn ang="0">
                      <a:pos x="9" y="19"/>
                    </a:cxn>
                    <a:cxn ang="0">
                      <a:pos x="22" y="14"/>
                    </a:cxn>
                    <a:cxn ang="0">
                      <a:pos x="19" y="8"/>
                    </a:cxn>
                    <a:cxn ang="0">
                      <a:pos x="32" y="0"/>
                    </a:cxn>
                    <a:cxn ang="0">
                      <a:pos x="40" y="0"/>
                    </a:cxn>
                    <a:cxn ang="0">
                      <a:pos x="55" y="18"/>
                    </a:cxn>
                    <a:cxn ang="0">
                      <a:pos x="47" y="24"/>
                    </a:cxn>
                    <a:cxn ang="0">
                      <a:pos x="47" y="39"/>
                    </a:cxn>
                    <a:cxn ang="0">
                      <a:pos x="47" y="52"/>
                    </a:cxn>
                    <a:cxn ang="0">
                      <a:pos x="35" y="54"/>
                    </a:cxn>
                    <a:cxn ang="0">
                      <a:pos x="19" y="64"/>
                    </a:cxn>
                    <a:cxn ang="0">
                      <a:pos x="11" y="65"/>
                    </a:cxn>
                    <a:cxn ang="0">
                      <a:pos x="0" y="55"/>
                    </a:cxn>
                    <a:cxn ang="0">
                      <a:pos x="13" y="33"/>
                    </a:cxn>
                    <a:cxn ang="0">
                      <a:pos x="4" y="23"/>
                    </a:cxn>
                    <a:cxn ang="0">
                      <a:pos x="9" y="19"/>
                    </a:cxn>
                  </a:cxnLst>
                  <a:rect l="0" t="0" r="r" b="b"/>
                  <a:pathLst>
                    <a:path w="55" h="65">
                      <a:moveTo>
                        <a:pt x="9" y="19"/>
                      </a:moveTo>
                      <a:cubicBezTo>
                        <a:pt x="12" y="19"/>
                        <a:pt x="19" y="16"/>
                        <a:pt x="22" y="14"/>
                      </a:cubicBezTo>
                      <a:cubicBezTo>
                        <a:pt x="20" y="11"/>
                        <a:pt x="19" y="10"/>
                        <a:pt x="19" y="8"/>
                      </a:cubicBezTo>
                      <a:cubicBezTo>
                        <a:pt x="19" y="5"/>
                        <a:pt x="28" y="0"/>
                        <a:pt x="32" y="0"/>
                      </a:cubicBezTo>
                      <a:cubicBezTo>
                        <a:pt x="35" y="0"/>
                        <a:pt x="37" y="0"/>
                        <a:pt x="40" y="0"/>
                      </a:cubicBezTo>
                      <a:cubicBezTo>
                        <a:pt x="50" y="0"/>
                        <a:pt x="55" y="10"/>
                        <a:pt x="55" y="18"/>
                      </a:cubicBezTo>
                      <a:cubicBezTo>
                        <a:pt x="55" y="21"/>
                        <a:pt x="47" y="21"/>
                        <a:pt x="47" y="24"/>
                      </a:cubicBezTo>
                      <a:cubicBezTo>
                        <a:pt x="47" y="27"/>
                        <a:pt x="47" y="39"/>
                        <a:pt x="47" y="39"/>
                      </a:cubicBezTo>
                      <a:cubicBezTo>
                        <a:pt x="47" y="43"/>
                        <a:pt x="50" y="48"/>
                        <a:pt x="47" y="52"/>
                      </a:cubicBezTo>
                      <a:cubicBezTo>
                        <a:pt x="44" y="54"/>
                        <a:pt x="40" y="54"/>
                        <a:pt x="35" y="54"/>
                      </a:cubicBezTo>
                      <a:cubicBezTo>
                        <a:pt x="28" y="54"/>
                        <a:pt x="23" y="61"/>
                        <a:pt x="19" y="64"/>
                      </a:cubicBezTo>
                      <a:cubicBezTo>
                        <a:pt x="17" y="65"/>
                        <a:pt x="13" y="65"/>
                        <a:pt x="11" y="65"/>
                      </a:cubicBezTo>
                      <a:cubicBezTo>
                        <a:pt x="6" y="65"/>
                        <a:pt x="0" y="60"/>
                        <a:pt x="0" y="55"/>
                      </a:cubicBezTo>
                      <a:cubicBezTo>
                        <a:pt x="0" y="44"/>
                        <a:pt x="11" y="43"/>
                        <a:pt x="13" y="33"/>
                      </a:cubicBezTo>
                      <a:cubicBezTo>
                        <a:pt x="8" y="30"/>
                        <a:pt x="4" y="28"/>
                        <a:pt x="4" y="23"/>
                      </a:cubicBezTo>
                      <a:cubicBezTo>
                        <a:pt x="4" y="18"/>
                        <a:pt x="8" y="19"/>
                        <a:pt x="9" y="19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206" name="Полилиния 29">
                  <a:extLst>
                    <a:ext uri="{FF2B5EF4-FFF2-40B4-BE49-F238E27FC236}">
                      <a16:creationId xmlns:a16="http://schemas.microsoft.com/office/drawing/2014/main" xmlns="" id="{EE26F86B-A682-5CB6-458B-B8A8D11C94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76725" y="1758950"/>
                  <a:ext cx="139700" cy="203200"/>
                </a:xfrm>
                <a:custGeom>
                  <a:avLst/>
                  <a:gdLst/>
                  <a:ahLst/>
                  <a:cxnLst>
                    <a:cxn ang="0">
                      <a:pos x="96" y="102"/>
                    </a:cxn>
                    <a:cxn ang="0">
                      <a:pos x="91" y="128"/>
                    </a:cxn>
                    <a:cxn ang="0">
                      <a:pos x="100" y="133"/>
                    </a:cxn>
                    <a:cxn ang="0">
                      <a:pos x="70" y="139"/>
                    </a:cxn>
                    <a:cxn ang="0">
                      <a:pos x="39" y="141"/>
                    </a:cxn>
                    <a:cxn ang="0">
                      <a:pos x="26" y="148"/>
                    </a:cxn>
                    <a:cxn ang="0">
                      <a:pos x="16" y="152"/>
                    </a:cxn>
                    <a:cxn ang="0">
                      <a:pos x="32" y="133"/>
                    </a:cxn>
                    <a:cxn ang="0">
                      <a:pos x="46" y="124"/>
                    </a:cxn>
                    <a:cxn ang="0">
                      <a:pos x="26" y="123"/>
                    </a:cxn>
                    <a:cxn ang="0">
                      <a:pos x="19" y="123"/>
                    </a:cxn>
                    <a:cxn ang="0">
                      <a:pos x="28" y="96"/>
                    </a:cxn>
                    <a:cxn ang="0">
                      <a:pos x="48" y="81"/>
                    </a:cxn>
                    <a:cxn ang="0">
                      <a:pos x="40" y="70"/>
                    </a:cxn>
                    <a:cxn ang="0">
                      <a:pos x="26" y="72"/>
                    </a:cxn>
                    <a:cxn ang="0">
                      <a:pos x="23" y="59"/>
                    </a:cxn>
                    <a:cxn ang="0">
                      <a:pos x="16" y="49"/>
                    </a:cxn>
                    <a:cxn ang="0">
                      <a:pos x="12" y="55"/>
                    </a:cxn>
                    <a:cxn ang="0">
                      <a:pos x="14" y="45"/>
                    </a:cxn>
                    <a:cxn ang="0">
                      <a:pos x="8" y="38"/>
                    </a:cxn>
                    <a:cxn ang="0">
                      <a:pos x="11" y="29"/>
                    </a:cxn>
                    <a:cxn ang="0">
                      <a:pos x="8" y="20"/>
                    </a:cxn>
                    <a:cxn ang="0">
                      <a:pos x="12" y="21"/>
                    </a:cxn>
                    <a:cxn ang="0">
                      <a:pos x="16" y="14"/>
                    </a:cxn>
                    <a:cxn ang="0">
                      <a:pos x="25" y="0"/>
                    </a:cxn>
                    <a:cxn ang="0">
                      <a:pos x="42" y="4"/>
                    </a:cxn>
                    <a:cxn ang="0">
                      <a:pos x="33" y="19"/>
                    </a:cxn>
                    <a:cxn ang="0">
                      <a:pos x="47" y="46"/>
                    </a:cxn>
                    <a:cxn ang="0">
                      <a:pos x="53" y="50"/>
                    </a:cxn>
                    <a:cxn ang="0">
                      <a:pos x="84" y="89"/>
                    </a:cxn>
                    <a:cxn ang="0">
                      <a:pos x="87" y="102"/>
                    </a:cxn>
                    <a:cxn ang="0">
                      <a:pos x="92" y="102"/>
                    </a:cxn>
                  </a:cxnLst>
                  <a:rect l="0" t="0" r="r" b="b"/>
                  <a:pathLst>
                    <a:path w="105" h="152">
                      <a:moveTo>
                        <a:pt x="90" y="103"/>
                      </a:moveTo>
                      <a:cubicBezTo>
                        <a:pt x="93" y="101"/>
                        <a:pt x="92" y="102"/>
                        <a:pt x="96" y="102"/>
                      </a:cubicBezTo>
                      <a:cubicBezTo>
                        <a:pt x="101" y="102"/>
                        <a:pt x="105" y="106"/>
                        <a:pt x="105" y="110"/>
                      </a:cubicBezTo>
                      <a:cubicBezTo>
                        <a:pt x="105" y="118"/>
                        <a:pt x="94" y="122"/>
                        <a:pt x="91" y="128"/>
                      </a:cubicBezTo>
                      <a:cubicBezTo>
                        <a:pt x="95" y="129"/>
                        <a:pt x="97" y="130"/>
                        <a:pt x="100" y="130"/>
                      </a:cubicBezTo>
                      <a:cubicBezTo>
                        <a:pt x="100" y="133"/>
                        <a:pt x="100" y="133"/>
                        <a:pt x="100" y="133"/>
                      </a:cubicBezTo>
                      <a:cubicBezTo>
                        <a:pt x="96" y="137"/>
                        <a:pt x="93" y="139"/>
                        <a:pt x="87" y="139"/>
                      </a:cubicBezTo>
                      <a:cubicBezTo>
                        <a:pt x="82" y="139"/>
                        <a:pt x="72" y="139"/>
                        <a:pt x="70" y="139"/>
                      </a:cubicBezTo>
                      <a:cubicBezTo>
                        <a:pt x="65" y="139"/>
                        <a:pt x="53" y="143"/>
                        <a:pt x="47" y="143"/>
                      </a:cubicBezTo>
                      <a:cubicBezTo>
                        <a:pt x="44" y="143"/>
                        <a:pt x="42" y="141"/>
                        <a:pt x="39" y="141"/>
                      </a:cubicBezTo>
                      <a:cubicBezTo>
                        <a:pt x="34" y="141"/>
                        <a:pt x="32" y="144"/>
                        <a:pt x="32" y="148"/>
                      </a:cubicBezTo>
                      <a:cubicBezTo>
                        <a:pt x="26" y="148"/>
                        <a:pt x="26" y="148"/>
                        <a:pt x="26" y="148"/>
                      </a:cubicBezTo>
                      <a:cubicBezTo>
                        <a:pt x="23" y="148"/>
                        <a:pt x="21" y="150"/>
                        <a:pt x="19" y="152"/>
                      </a:cubicBezTo>
                      <a:cubicBezTo>
                        <a:pt x="16" y="152"/>
                        <a:pt x="16" y="152"/>
                        <a:pt x="16" y="152"/>
                      </a:cubicBezTo>
                      <a:cubicBezTo>
                        <a:pt x="16" y="149"/>
                        <a:pt x="16" y="149"/>
                        <a:pt x="16" y="149"/>
                      </a:cubicBezTo>
                      <a:cubicBezTo>
                        <a:pt x="17" y="147"/>
                        <a:pt x="30" y="133"/>
                        <a:pt x="32" y="133"/>
                      </a:cubicBezTo>
                      <a:cubicBezTo>
                        <a:pt x="38" y="131"/>
                        <a:pt x="47" y="133"/>
                        <a:pt x="47" y="127"/>
                      </a:cubicBezTo>
                      <a:cubicBezTo>
                        <a:pt x="47" y="126"/>
                        <a:pt x="46" y="125"/>
                        <a:pt x="46" y="124"/>
                      </a:cubicBezTo>
                      <a:cubicBezTo>
                        <a:pt x="44" y="126"/>
                        <a:pt x="41" y="128"/>
                        <a:pt x="38" y="128"/>
                      </a:cubicBezTo>
                      <a:cubicBezTo>
                        <a:pt x="32" y="128"/>
                        <a:pt x="30" y="123"/>
                        <a:pt x="26" y="123"/>
                      </a:cubicBezTo>
                      <a:cubicBezTo>
                        <a:pt x="23" y="123"/>
                        <a:pt x="23" y="125"/>
                        <a:pt x="21" y="125"/>
                      </a:cubicBezTo>
                      <a:cubicBezTo>
                        <a:pt x="20" y="125"/>
                        <a:pt x="19" y="124"/>
                        <a:pt x="19" y="123"/>
                      </a:cubicBezTo>
                      <a:cubicBezTo>
                        <a:pt x="19" y="116"/>
                        <a:pt x="31" y="116"/>
                        <a:pt x="31" y="109"/>
                      </a:cubicBezTo>
                      <a:cubicBezTo>
                        <a:pt x="31" y="103"/>
                        <a:pt x="28" y="101"/>
                        <a:pt x="28" y="96"/>
                      </a:cubicBezTo>
                      <a:cubicBezTo>
                        <a:pt x="36" y="96"/>
                        <a:pt x="45" y="92"/>
                        <a:pt x="48" y="88"/>
                      </a:cubicBezTo>
                      <a:cubicBezTo>
                        <a:pt x="48" y="81"/>
                        <a:pt x="48" y="81"/>
                        <a:pt x="48" y="81"/>
                      </a:cubicBezTo>
                      <a:cubicBezTo>
                        <a:pt x="43" y="82"/>
                        <a:pt x="37" y="81"/>
                        <a:pt x="37" y="77"/>
                      </a:cubicBezTo>
                      <a:cubicBezTo>
                        <a:pt x="37" y="73"/>
                        <a:pt x="39" y="72"/>
                        <a:pt x="40" y="70"/>
                      </a:cubicBezTo>
                      <a:cubicBezTo>
                        <a:pt x="39" y="70"/>
                        <a:pt x="38" y="70"/>
                        <a:pt x="36" y="70"/>
                      </a:cubicBezTo>
                      <a:cubicBezTo>
                        <a:pt x="32" y="70"/>
                        <a:pt x="30" y="72"/>
                        <a:pt x="26" y="72"/>
                      </a:cubicBezTo>
                      <a:cubicBezTo>
                        <a:pt x="22" y="72"/>
                        <a:pt x="19" y="72"/>
                        <a:pt x="19" y="69"/>
                      </a:cubicBezTo>
                      <a:cubicBezTo>
                        <a:pt x="19" y="65"/>
                        <a:pt x="23" y="63"/>
                        <a:pt x="23" y="59"/>
                      </a:cubicBezTo>
                      <a:cubicBezTo>
                        <a:pt x="23" y="55"/>
                        <a:pt x="22" y="55"/>
                        <a:pt x="23" y="51"/>
                      </a:cubicBezTo>
                      <a:cubicBezTo>
                        <a:pt x="20" y="51"/>
                        <a:pt x="17" y="50"/>
                        <a:pt x="16" y="49"/>
                      </a:cubicBezTo>
                      <a:cubicBezTo>
                        <a:pt x="14" y="52"/>
                        <a:pt x="15" y="54"/>
                        <a:pt x="16" y="55"/>
                      </a:cubicBezTo>
                      <a:cubicBezTo>
                        <a:pt x="12" y="55"/>
                        <a:pt x="12" y="55"/>
                        <a:pt x="12" y="55"/>
                      </a:cubicBezTo>
                      <a:cubicBezTo>
                        <a:pt x="12" y="52"/>
                        <a:pt x="12" y="51"/>
                        <a:pt x="12" y="48"/>
                      </a:cubicBezTo>
                      <a:cubicBezTo>
                        <a:pt x="12" y="47"/>
                        <a:pt x="13" y="46"/>
                        <a:pt x="14" y="45"/>
                      </a:cubicBezTo>
                      <a:cubicBezTo>
                        <a:pt x="14" y="41"/>
                        <a:pt x="14" y="41"/>
                        <a:pt x="14" y="41"/>
                      </a:cubicBezTo>
                      <a:cubicBezTo>
                        <a:pt x="12" y="41"/>
                        <a:pt x="8" y="40"/>
                        <a:pt x="8" y="38"/>
                      </a:cubicBezTo>
                      <a:cubicBezTo>
                        <a:pt x="8" y="36"/>
                        <a:pt x="11" y="32"/>
                        <a:pt x="11" y="32"/>
                      </a:cubicBezTo>
                      <a:cubicBezTo>
                        <a:pt x="11" y="29"/>
                        <a:pt x="11" y="29"/>
                        <a:pt x="11" y="29"/>
                      </a:cubicBezTo>
                      <a:cubicBezTo>
                        <a:pt x="4" y="27"/>
                        <a:pt x="0" y="26"/>
                        <a:pt x="0" y="20"/>
                      </a:cubicBezTo>
                      <a:cubicBezTo>
                        <a:pt x="8" y="20"/>
                        <a:pt x="8" y="20"/>
                        <a:pt x="8" y="20"/>
                      </a:cubicBezTo>
                      <a:cubicBezTo>
                        <a:pt x="8" y="23"/>
                        <a:pt x="10" y="24"/>
                        <a:pt x="11" y="24"/>
                      </a:cubicBezTo>
                      <a:cubicBezTo>
                        <a:pt x="12" y="24"/>
                        <a:pt x="12" y="22"/>
                        <a:pt x="12" y="21"/>
                      </a:cubicBezTo>
                      <a:cubicBezTo>
                        <a:pt x="12" y="21"/>
                        <a:pt x="10" y="20"/>
                        <a:pt x="10" y="19"/>
                      </a:cubicBezTo>
                      <a:cubicBezTo>
                        <a:pt x="10" y="15"/>
                        <a:pt x="13" y="14"/>
                        <a:pt x="16" y="14"/>
                      </a:cubicBezTo>
                      <a:cubicBezTo>
                        <a:pt x="16" y="10"/>
                        <a:pt x="18" y="8"/>
                        <a:pt x="18" y="6"/>
                      </a:cubicBezTo>
                      <a:cubicBezTo>
                        <a:pt x="18" y="4"/>
                        <a:pt x="23" y="0"/>
                        <a:pt x="25" y="0"/>
                      </a:cubicBezTo>
                      <a:cubicBezTo>
                        <a:pt x="30" y="0"/>
                        <a:pt x="35" y="0"/>
                        <a:pt x="38" y="0"/>
                      </a:cubicBezTo>
                      <a:cubicBezTo>
                        <a:pt x="40" y="0"/>
                        <a:pt x="42" y="3"/>
                        <a:pt x="42" y="4"/>
                      </a:cubicBezTo>
                      <a:cubicBezTo>
                        <a:pt x="42" y="10"/>
                        <a:pt x="33" y="10"/>
                        <a:pt x="31" y="16"/>
                      </a:cubicBezTo>
                      <a:cubicBezTo>
                        <a:pt x="31" y="17"/>
                        <a:pt x="32" y="18"/>
                        <a:pt x="33" y="19"/>
                      </a:cubicBezTo>
                      <a:cubicBezTo>
                        <a:pt x="59" y="19"/>
                        <a:pt x="59" y="19"/>
                        <a:pt x="59" y="19"/>
                      </a:cubicBezTo>
                      <a:cubicBezTo>
                        <a:pt x="60" y="32"/>
                        <a:pt x="47" y="37"/>
                        <a:pt x="47" y="46"/>
                      </a:cubicBezTo>
                      <a:cubicBezTo>
                        <a:pt x="45" y="47"/>
                        <a:pt x="44" y="48"/>
                        <a:pt x="43" y="50"/>
                      </a:cubicBezTo>
                      <a:cubicBezTo>
                        <a:pt x="48" y="51"/>
                        <a:pt x="50" y="49"/>
                        <a:pt x="53" y="50"/>
                      </a:cubicBezTo>
                      <a:cubicBezTo>
                        <a:pt x="62" y="53"/>
                        <a:pt x="60" y="63"/>
                        <a:pt x="66" y="69"/>
                      </a:cubicBezTo>
                      <a:cubicBezTo>
                        <a:pt x="73" y="76"/>
                        <a:pt x="84" y="79"/>
                        <a:pt x="84" y="89"/>
                      </a:cubicBezTo>
                      <a:cubicBezTo>
                        <a:pt x="84" y="93"/>
                        <a:pt x="89" y="95"/>
                        <a:pt x="89" y="99"/>
                      </a:cubicBezTo>
                      <a:cubicBezTo>
                        <a:pt x="89" y="100"/>
                        <a:pt x="88" y="101"/>
                        <a:pt x="87" y="102"/>
                      </a:cubicBezTo>
                      <a:cubicBezTo>
                        <a:pt x="87" y="105"/>
                        <a:pt x="87" y="105"/>
                        <a:pt x="87" y="105"/>
                      </a:cubicBezTo>
                      <a:cubicBezTo>
                        <a:pt x="90" y="104"/>
                        <a:pt x="90" y="103"/>
                        <a:pt x="92" y="102"/>
                      </a:cubicBezTo>
                      <a:lnTo>
                        <a:pt x="90" y="103"/>
                      </a:ln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207" name="Полилиния 31">
                  <a:extLst>
                    <a:ext uri="{FF2B5EF4-FFF2-40B4-BE49-F238E27FC236}">
                      <a16:creationId xmlns:a16="http://schemas.microsoft.com/office/drawing/2014/main" xmlns="" id="{2EC85F2C-722F-C1A2-BEEA-42EC5C4B07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92638" y="2203450"/>
                  <a:ext cx="46038" cy="30163"/>
                </a:xfrm>
                <a:custGeom>
                  <a:avLst/>
                  <a:gdLst/>
                  <a:ahLst/>
                  <a:cxnLst>
                    <a:cxn ang="0">
                      <a:pos x="0" y="5"/>
                    </a:cxn>
                    <a:cxn ang="0">
                      <a:pos x="0" y="8"/>
                    </a:cxn>
                    <a:cxn ang="0">
                      <a:pos x="7" y="10"/>
                    </a:cxn>
                    <a:cxn ang="0">
                      <a:pos x="27" y="21"/>
                    </a:cxn>
                    <a:cxn ang="0">
                      <a:pos x="30" y="23"/>
                    </a:cxn>
                    <a:cxn ang="0">
                      <a:pos x="33" y="20"/>
                    </a:cxn>
                    <a:cxn ang="0">
                      <a:pos x="31" y="13"/>
                    </a:cxn>
                    <a:cxn ang="0">
                      <a:pos x="33" y="8"/>
                    </a:cxn>
                    <a:cxn ang="0">
                      <a:pos x="35" y="3"/>
                    </a:cxn>
                    <a:cxn ang="0">
                      <a:pos x="20" y="6"/>
                    </a:cxn>
                    <a:cxn ang="0">
                      <a:pos x="0" y="5"/>
                    </a:cxn>
                  </a:cxnLst>
                  <a:rect l="0" t="0" r="r" b="b"/>
                  <a:pathLst>
                    <a:path w="35" h="23">
                      <a:moveTo>
                        <a:pt x="0" y="5"/>
                      </a:move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2" y="10"/>
                        <a:pt x="5" y="10"/>
                        <a:pt x="7" y="10"/>
                      </a:cubicBezTo>
                      <a:cubicBezTo>
                        <a:pt x="14" y="12"/>
                        <a:pt x="19" y="20"/>
                        <a:pt x="27" y="21"/>
                      </a:cubicBezTo>
                      <a:cubicBezTo>
                        <a:pt x="27" y="23"/>
                        <a:pt x="29" y="23"/>
                        <a:pt x="30" y="23"/>
                      </a:cubicBezTo>
                      <a:cubicBezTo>
                        <a:pt x="32" y="23"/>
                        <a:pt x="33" y="21"/>
                        <a:pt x="33" y="20"/>
                      </a:cubicBezTo>
                      <a:cubicBezTo>
                        <a:pt x="33" y="17"/>
                        <a:pt x="31" y="16"/>
                        <a:pt x="31" y="13"/>
                      </a:cubicBezTo>
                      <a:cubicBezTo>
                        <a:pt x="31" y="11"/>
                        <a:pt x="33" y="8"/>
                        <a:pt x="33" y="8"/>
                      </a:cubicBezTo>
                      <a:cubicBezTo>
                        <a:pt x="35" y="3"/>
                        <a:pt x="35" y="3"/>
                        <a:pt x="35" y="3"/>
                      </a:cubicBezTo>
                      <a:cubicBezTo>
                        <a:pt x="28" y="2"/>
                        <a:pt x="25" y="6"/>
                        <a:pt x="20" y="6"/>
                      </a:cubicBezTo>
                      <a:cubicBezTo>
                        <a:pt x="14" y="6"/>
                        <a:pt x="10" y="0"/>
                        <a:pt x="0" y="5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208" name="Полилиния 32">
                  <a:extLst>
                    <a:ext uri="{FF2B5EF4-FFF2-40B4-BE49-F238E27FC236}">
                      <a16:creationId xmlns:a16="http://schemas.microsoft.com/office/drawing/2014/main" xmlns="" id="{3E62490F-A69F-247B-4DC1-910B9B3D1A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7550" y="2111375"/>
                  <a:ext cx="15875" cy="30163"/>
                </a:xfrm>
                <a:custGeom>
                  <a:avLst/>
                  <a:gdLst/>
                  <a:ahLst/>
                  <a:cxnLst>
                    <a:cxn ang="0">
                      <a:pos x="3" y="5"/>
                    </a:cxn>
                    <a:cxn ang="0">
                      <a:pos x="10" y="0"/>
                    </a:cxn>
                    <a:cxn ang="0">
                      <a:pos x="12" y="5"/>
                    </a:cxn>
                    <a:cxn ang="0">
                      <a:pos x="8" y="23"/>
                    </a:cxn>
                    <a:cxn ang="0">
                      <a:pos x="0" y="6"/>
                    </a:cxn>
                    <a:cxn ang="0">
                      <a:pos x="3" y="5"/>
                    </a:cxn>
                  </a:cxnLst>
                  <a:rect l="0" t="0" r="r" b="b"/>
                  <a:pathLst>
                    <a:path w="12" h="23">
                      <a:moveTo>
                        <a:pt x="3" y="5"/>
                      </a:moveTo>
                      <a:cubicBezTo>
                        <a:pt x="6" y="5"/>
                        <a:pt x="8" y="1"/>
                        <a:pt x="10" y="0"/>
                      </a:cubicBezTo>
                      <a:cubicBezTo>
                        <a:pt x="10" y="3"/>
                        <a:pt x="11" y="5"/>
                        <a:pt x="12" y="5"/>
                      </a:cubicBezTo>
                      <a:cubicBezTo>
                        <a:pt x="11" y="11"/>
                        <a:pt x="10" y="20"/>
                        <a:pt x="8" y="23"/>
                      </a:cubicBezTo>
                      <a:cubicBezTo>
                        <a:pt x="4" y="22"/>
                        <a:pt x="2" y="9"/>
                        <a:pt x="0" y="6"/>
                      </a:cubicBezTo>
                      <a:cubicBezTo>
                        <a:pt x="1" y="6"/>
                        <a:pt x="2" y="5"/>
                        <a:pt x="3" y="5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209" name="Полилиния 33">
                  <a:extLst>
                    <a:ext uri="{FF2B5EF4-FFF2-40B4-BE49-F238E27FC236}">
                      <a16:creationId xmlns:a16="http://schemas.microsoft.com/office/drawing/2014/main" xmlns="" id="{228EC552-FFBE-D773-F6F9-B04D62E073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4375" y="2144713"/>
                  <a:ext cx="25400" cy="44450"/>
                </a:xfrm>
                <a:custGeom>
                  <a:avLst/>
                  <a:gdLst/>
                  <a:ahLst/>
                  <a:cxnLst>
                    <a:cxn ang="0">
                      <a:pos x="5" y="15"/>
                    </a:cxn>
                    <a:cxn ang="0">
                      <a:pos x="0" y="6"/>
                    </a:cxn>
                    <a:cxn ang="0">
                      <a:pos x="9" y="0"/>
                    </a:cxn>
                    <a:cxn ang="0">
                      <a:pos x="15" y="3"/>
                    </a:cxn>
                    <a:cxn ang="0">
                      <a:pos x="18" y="21"/>
                    </a:cxn>
                    <a:cxn ang="0">
                      <a:pos x="6" y="33"/>
                    </a:cxn>
                    <a:cxn ang="0">
                      <a:pos x="2" y="24"/>
                    </a:cxn>
                    <a:cxn ang="0">
                      <a:pos x="5" y="15"/>
                    </a:cxn>
                  </a:cxnLst>
                  <a:rect l="0" t="0" r="r" b="b"/>
                  <a:pathLst>
                    <a:path w="19" h="33">
                      <a:moveTo>
                        <a:pt x="5" y="15"/>
                      </a:moveTo>
                      <a:cubicBezTo>
                        <a:pt x="5" y="12"/>
                        <a:pt x="1" y="9"/>
                        <a:pt x="0" y="6"/>
                      </a:cubicBezTo>
                      <a:cubicBezTo>
                        <a:pt x="5" y="4"/>
                        <a:pt x="5" y="0"/>
                        <a:pt x="9" y="0"/>
                      </a:cubicBezTo>
                      <a:cubicBezTo>
                        <a:pt x="13" y="0"/>
                        <a:pt x="14" y="3"/>
                        <a:pt x="15" y="3"/>
                      </a:cubicBezTo>
                      <a:cubicBezTo>
                        <a:pt x="19" y="10"/>
                        <a:pt x="18" y="14"/>
                        <a:pt x="18" y="21"/>
                      </a:cubicBezTo>
                      <a:cubicBezTo>
                        <a:pt x="18" y="27"/>
                        <a:pt x="10" y="33"/>
                        <a:pt x="6" y="33"/>
                      </a:cubicBezTo>
                      <a:cubicBezTo>
                        <a:pt x="2" y="33"/>
                        <a:pt x="2" y="27"/>
                        <a:pt x="2" y="24"/>
                      </a:cubicBezTo>
                      <a:cubicBezTo>
                        <a:pt x="2" y="20"/>
                        <a:pt x="5" y="18"/>
                        <a:pt x="5" y="15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210" name="Полилиния 34">
                  <a:extLst>
                    <a:ext uri="{FF2B5EF4-FFF2-40B4-BE49-F238E27FC236}">
                      <a16:creationId xmlns:a16="http://schemas.microsoft.com/office/drawing/2014/main" xmlns="" id="{4A2B2525-E628-5784-8314-2ECEBAB67E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29125" y="2171700"/>
                  <a:ext cx="12700" cy="9525"/>
                </a:xfrm>
                <a:custGeom>
                  <a:avLst/>
                  <a:gdLst/>
                  <a:ahLst/>
                  <a:cxnLst>
                    <a:cxn ang="0">
                      <a:pos x="9" y="5"/>
                    </a:cxn>
                    <a:cxn ang="0">
                      <a:pos x="6" y="7"/>
                    </a:cxn>
                    <a:cxn ang="0">
                      <a:pos x="0" y="3"/>
                    </a:cxn>
                    <a:cxn ang="0">
                      <a:pos x="7" y="0"/>
                    </a:cxn>
                    <a:cxn ang="0">
                      <a:pos x="9" y="5"/>
                    </a:cxn>
                  </a:cxnLst>
                  <a:rect l="0" t="0" r="r" b="b"/>
                  <a:pathLst>
                    <a:path w="9" h="7">
                      <a:moveTo>
                        <a:pt x="9" y="5"/>
                      </a:moveTo>
                      <a:cubicBezTo>
                        <a:pt x="9" y="6"/>
                        <a:pt x="7" y="7"/>
                        <a:pt x="6" y="7"/>
                      </a:cubicBezTo>
                      <a:cubicBezTo>
                        <a:pt x="4" y="7"/>
                        <a:pt x="1" y="3"/>
                        <a:pt x="0" y="3"/>
                      </a:cubicBezTo>
                      <a:cubicBezTo>
                        <a:pt x="3" y="2"/>
                        <a:pt x="5" y="0"/>
                        <a:pt x="7" y="0"/>
                      </a:cubicBezTo>
                      <a:cubicBezTo>
                        <a:pt x="7" y="1"/>
                        <a:pt x="9" y="3"/>
                        <a:pt x="9" y="5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211" name="Полилиния 35">
                  <a:extLst>
                    <a:ext uri="{FF2B5EF4-FFF2-40B4-BE49-F238E27FC236}">
                      <a16:creationId xmlns:a16="http://schemas.microsoft.com/office/drawing/2014/main" xmlns="" id="{D44F3DD4-95D7-922E-43C6-52A1A14FDB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1363" y="1833563"/>
                  <a:ext cx="15875" cy="19050"/>
                </a:xfrm>
                <a:custGeom>
                  <a:avLst/>
                  <a:gdLst/>
                  <a:ahLst/>
                  <a:cxnLst>
                    <a:cxn ang="0">
                      <a:pos x="11" y="10"/>
                    </a:cxn>
                    <a:cxn ang="0">
                      <a:pos x="0" y="5"/>
                    </a:cxn>
                    <a:cxn ang="0">
                      <a:pos x="0" y="0"/>
                    </a:cxn>
                    <a:cxn ang="0">
                      <a:pos x="9" y="0"/>
                    </a:cxn>
                    <a:cxn ang="0">
                      <a:pos x="12" y="9"/>
                    </a:cxn>
                    <a:cxn ang="0">
                      <a:pos x="11" y="14"/>
                    </a:cxn>
                    <a:cxn ang="0">
                      <a:pos x="11" y="10"/>
                    </a:cxn>
                  </a:cxnLst>
                  <a:rect l="0" t="0" r="r" b="b"/>
                  <a:pathLst>
                    <a:path w="12" h="14">
                      <a:moveTo>
                        <a:pt x="11" y="10"/>
                      </a:moveTo>
                      <a:cubicBezTo>
                        <a:pt x="5" y="10"/>
                        <a:pt x="0" y="9"/>
                        <a:pt x="0" y="5"/>
                      </a:cubicBezTo>
                      <a:cubicBezTo>
                        <a:pt x="0" y="3"/>
                        <a:pt x="0" y="2"/>
                        <a:pt x="0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9" y="6"/>
                        <a:pt x="12" y="5"/>
                        <a:pt x="12" y="9"/>
                      </a:cubicBezTo>
                      <a:cubicBezTo>
                        <a:pt x="12" y="13"/>
                        <a:pt x="11" y="12"/>
                        <a:pt x="11" y="14"/>
                      </a:cubicBezTo>
                      <a:cubicBezTo>
                        <a:pt x="11" y="13"/>
                        <a:pt x="11" y="12"/>
                        <a:pt x="11" y="10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212" name="Полилиния 37">
                  <a:extLst>
                    <a:ext uri="{FF2B5EF4-FFF2-40B4-BE49-F238E27FC236}">
                      <a16:creationId xmlns:a16="http://schemas.microsoft.com/office/drawing/2014/main" xmlns="" id="{808CB43F-667E-1620-BDCD-2B8BA94208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84713" y="1773238"/>
                  <a:ext cx="15875" cy="23813"/>
                </a:xfrm>
                <a:custGeom>
                  <a:avLst/>
                  <a:gdLst/>
                  <a:ahLst/>
                  <a:cxnLst>
                    <a:cxn ang="0">
                      <a:pos x="8" y="6"/>
                    </a:cxn>
                    <a:cxn ang="0">
                      <a:pos x="1" y="17"/>
                    </a:cxn>
                    <a:cxn ang="0">
                      <a:pos x="1" y="11"/>
                    </a:cxn>
                    <a:cxn ang="0">
                      <a:pos x="11" y="0"/>
                    </a:cxn>
                    <a:cxn ang="0">
                      <a:pos x="8" y="6"/>
                    </a:cxn>
                  </a:cxnLst>
                  <a:rect l="0" t="0" r="r" b="b"/>
                  <a:pathLst>
                    <a:path w="11" h="17">
                      <a:moveTo>
                        <a:pt x="8" y="6"/>
                      </a:moveTo>
                      <a:cubicBezTo>
                        <a:pt x="8" y="11"/>
                        <a:pt x="4" y="13"/>
                        <a:pt x="1" y="17"/>
                      </a:cubicBezTo>
                      <a:cubicBezTo>
                        <a:pt x="0" y="15"/>
                        <a:pt x="1" y="14"/>
                        <a:pt x="1" y="11"/>
                      </a:cubicBezTo>
                      <a:cubicBezTo>
                        <a:pt x="1" y="9"/>
                        <a:pt x="3" y="1"/>
                        <a:pt x="11" y="0"/>
                      </a:cubicBezTo>
                      <a:cubicBezTo>
                        <a:pt x="10" y="2"/>
                        <a:pt x="8" y="4"/>
                        <a:pt x="8" y="6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213" name="Полилиния 38">
                  <a:extLst>
                    <a:ext uri="{FF2B5EF4-FFF2-40B4-BE49-F238E27FC236}">
                      <a16:creationId xmlns:a16="http://schemas.microsoft.com/office/drawing/2014/main" xmlns="" id="{52285957-FF31-6336-384A-51DC693F34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46625" y="1744663"/>
                  <a:ext cx="20638" cy="26988"/>
                </a:xfrm>
                <a:custGeom>
                  <a:avLst/>
                  <a:gdLst/>
                  <a:ahLst/>
                  <a:cxnLst>
                    <a:cxn ang="0">
                      <a:pos x="12" y="10"/>
                    </a:cxn>
                    <a:cxn ang="0">
                      <a:pos x="12" y="16"/>
                    </a:cxn>
                    <a:cxn ang="0">
                      <a:pos x="5" y="20"/>
                    </a:cxn>
                    <a:cxn ang="0">
                      <a:pos x="0" y="13"/>
                    </a:cxn>
                    <a:cxn ang="0">
                      <a:pos x="10" y="10"/>
                    </a:cxn>
                    <a:cxn ang="0">
                      <a:pos x="7" y="5"/>
                    </a:cxn>
                    <a:cxn ang="0">
                      <a:pos x="11" y="0"/>
                    </a:cxn>
                    <a:cxn ang="0">
                      <a:pos x="16" y="5"/>
                    </a:cxn>
                    <a:cxn ang="0">
                      <a:pos x="12" y="10"/>
                    </a:cxn>
                  </a:cxnLst>
                  <a:rect l="0" t="0" r="r" b="b"/>
                  <a:pathLst>
                    <a:path w="16" h="20">
                      <a:moveTo>
                        <a:pt x="12" y="10"/>
                      </a:moveTo>
                      <a:cubicBezTo>
                        <a:pt x="12" y="12"/>
                        <a:pt x="12" y="14"/>
                        <a:pt x="12" y="16"/>
                      </a:cubicBezTo>
                      <a:cubicBezTo>
                        <a:pt x="12" y="17"/>
                        <a:pt x="6" y="20"/>
                        <a:pt x="5" y="20"/>
                      </a:cubicBezTo>
                      <a:cubicBezTo>
                        <a:pt x="1" y="20"/>
                        <a:pt x="0" y="16"/>
                        <a:pt x="0" y="13"/>
                      </a:cubicBezTo>
                      <a:cubicBezTo>
                        <a:pt x="4" y="13"/>
                        <a:pt x="6" y="10"/>
                        <a:pt x="10" y="10"/>
                      </a:cubicBezTo>
                      <a:cubicBezTo>
                        <a:pt x="9" y="8"/>
                        <a:pt x="7" y="7"/>
                        <a:pt x="7" y="5"/>
                      </a:cubicBezTo>
                      <a:cubicBezTo>
                        <a:pt x="7" y="2"/>
                        <a:pt x="11" y="0"/>
                        <a:pt x="11" y="0"/>
                      </a:cubicBezTo>
                      <a:cubicBezTo>
                        <a:pt x="13" y="3"/>
                        <a:pt x="14" y="4"/>
                        <a:pt x="16" y="5"/>
                      </a:cubicBezTo>
                      <a:cubicBezTo>
                        <a:pt x="15" y="7"/>
                        <a:pt x="13" y="10"/>
                        <a:pt x="12" y="10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</p:grpSp>
        </p:grpSp>
        <p:grpSp>
          <p:nvGrpSpPr>
            <p:cNvPr id="112" name="Группа 363">
              <a:extLst>
                <a:ext uri="{FF2B5EF4-FFF2-40B4-BE49-F238E27FC236}">
                  <a16:creationId xmlns:a16="http://schemas.microsoft.com/office/drawing/2014/main" xmlns="" id="{1004B9CE-2842-2F24-B363-B2AF551FA72D}"/>
                </a:ext>
              </a:extLst>
            </p:cNvPr>
            <p:cNvGrpSpPr/>
            <p:nvPr/>
          </p:nvGrpSpPr>
          <p:grpSpPr>
            <a:xfrm>
              <a:off x="5105582" y="3000650"/>
              <a:ext cx="941496" cy="822457"/>
              <a:chOff x="6275388" y="2879725"/>
              <a:chExt cx="966788" cy="844551"/>
            </a:xfrm>
            <a:grpFill/>
          </p:grpSpPr>
          <p:sp>
            <p:nvSpPr>
              <p:cNvPr id="181" name="Полилиния 9">
                <a:extLst>
                  <a:ext uri="{FF2B5EF4-FFF2-40B4-BE49-F238E27FC236}">
                    <a16:creationId xmlns:a16="http://schemas.microsoft.com/office/drawing/2014/main" xmlns="" id="{F4926A1D-99D8-B713-DC69-E75DA156ED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7488" y="2879725"/>
                <a:ext cx="339725" cy="176213"/>
              </a:xfrm>
              <a:custGeom>
                <a:avLst/>
                <a:gdLst/>
                <a:ahLst/>
                <a:cxnLst>
                  <a:cxn ang="0">
                    <a:pos x="128" y="28"/>
                  </a:cxn>
                  <a:cxn ang="0">
                    <a:pos x="160" y="39"/>
                  </a:cxn>
                  <a:cxn ang="0">
                    <a:pos x="173" y="45"/>
                  </a:cxn>
                  <a:cxn ang="0">
                    <a:pos x="179" y="49"/>
                  </a:cxn>
                  <a:cxn ang="0">
                    <a:pos x="203" y="71"/>
                  </a:cxn>
                  <a:cxn ang="0">
                    <a:pos x="217" y="78"/>
                  </a:cxn>
                  <a:cxn ang="0">
                    <a:pos x="208" y="85"/>
                  </a:cxn>
                  <a:cxn ang="0">
                    <a:pos x="217" y="96"/>
                  </a:cxn>
                  <a:cxn ang="0">
                    <a:pos x="224" y="108"/>
                  </a:cxn>
                  <a:cxn ang="0">
                    <a:pos x="233" y="113"/>
                  </a:cxn>
                  <a:cxn ang="0">
                    <a:pos x="237" y="118"/>
                  </a:cxn>
                  <a:cxn ang="0">
                    <a:pos x="242" y="119"/>
                  </a:cxn>
                  <a:cxn ang="0">
                    <a:pos x="247" y="124"/>
                  </a:cxn>
                  <a:cxn ang="0">
                    <a:pos x="255" y="126"/>
                  </a:cxn>
                  <a:cxn ang="0">
                    <a:pos x="250" y="133"/>
                  </a:cxn>
                  <a:cxn ang="0">
                    <a:pos x="247" y="133"/>
                  </a:cxn>
                  <a:cxn ang="0">
                    <a:pos x="239" y="127"/>
                  </a:cxn>
                  <a:cxn ang="0">
                    <a:pos x="227" y="127"/>
                  </a:cxn>
                  <a:cxn ang="0">
                    <a:pos x="210" y="116"/>
                  </a:cxn>
                  <a:cxn ang="0">
                    <a:pos x="206" y="113"/>
                  </a:cxn>
                  <a:cxn ang="0">
                    <a:pos x="175" y="92"/>
                  </a:cxn>
                  <a:cxn ang="0">
                    <a:pos x="158" y="103"/>
                  </a:cxn>
                  <a:cxn ang="0">
                    <a:pos x="156" y="113"/>
                  </a:cxn>
                  <a:cxn ang="0">
                    <a:pos x="139" y="113"/>
                  </a:cxn>
                  <a:cxn ang="0">
                    <a:pos x="113" y="100"/>
                  </a:cxn>
                  <a:cxn ang="0">
                    <a:pos x="107" y="102"/>
                  </a:cxn>
                  <a:cxn ang="0">
                    <a:pos x="98" y="102"/>
                  </a:cxn>
                  <a:cxn ang="0">
                    <a:pos x="90" y="99"/>
                  </a:cxn>
                  <a:cxn ang="0">
                    <a:pos x="101" y="90"/>
                  </a:cxn>
                  <a:cxn ang="0">
                    <a:pos x="96" y="71"/>
                  </a:cxn>
                  <a:cxn ang="0">
                    <a:pos x="77" y="59"/>
                  </a:cxn>
                  <a:cxn ang="0">
                    <a:pos x="53" y="54"/>
                  </a:cxn>
                  <a:cxn ang="0">
                    <a:pos x="37" y="45"/>
                  </a:cxn>
                  <a:cxn ang="0">
                    <a:pos x="37" y="41"/>
                  </a:cxn>
                  <a:cxn ang="0">
                    <a:pos x="30" y="49"/>
                  </a:cxn>
                  <a:cxn ang="0">
                    <a:pos x="26" y="48"/>
                  </a:cxn>
                  <a:cxn ang="0">
                    <a:pos x="24" y="38"/>
                  </a:cxn>
                  <a:cxn ang="0">
                    <a:pos x="16" y="33"/>
                  </a:cxn>
                  <a:cxn ang="0">
                    <a:pos x="38" y="25"/>
                  </a:cxn>
                  <a:cxn ang="0">
                    <a:pos x="35" y="25"/>
                  </a:cxn>
                  <a:cxn ang="0">
                    <a:pos x="23" y="27"/>
                  </a:cxn>
                  <a:cxn ang="0">
                    <a:pos x="16" y="26"/>
                  </a:cxn>
                  <a:cxn ang="0">
                    <a:pos x="14" y="22"/>
                  </a:cxn>
                  <a:cxn ang="0">
                    <a:pos x="0" y="12"/>
                  </a:cxn>
                  <a:cxn ang="0">
                    <a:pos x="6" y="8"/>
                  </a:cxn>
                  <a:cxn ang="0">
                    <a:pos x="23" y="0"/>
                  </a:cxn>
                  <a:cxn ang="0">
                    <a:pos x="44" y="9"/>
                  </a:cxn>
                  <a:cxn ang="0">
                    <a:pos x="44" y="25"/>
                  </a:cxn>
                  <a:cxn ang="0">
                    <a:pos x="50" y="29"/>
                  </a:cxn>
                  <a:cxn ang="0">
                    <a:pos x="59" y="38"/>
                  </a:cxn>
                  <a:cxn ang="0">
                    <a:pos x="67" y="30"/>
                  </a:cxn>
                  <a:cxn ang="0">
                    <a:pos x="78" y="25"/>
                  </a:cxn>
                  <a:cxn ang="0">
                    <a:pos x="92" y="14"/>
                  </a:cxn>
                  <a:cxn ang="0">
                    <a:pos x="98" y="17"/>
                  </a:cxn>
                  <a:cxn ang="0">
                    <a:pos x="109" y="25"/>
                  </a:cxn>
                  <a:cxn ang="0">
                    <a:pos x="121" y="25"/>
                  </a:cxn>
                  <a:cxn ang="0">
                    <a:pos x="130" y="29"/>
                  </a:cxn>
                  <a:cxn ang="0">
                    <a:pos x="130" y="30"/>
                  </a:cxn>
                  <a:cxn ang="0">
                    <a:pos x="128" y="28"/>
                  </a:cxn>
                </a:cxnLst>
                <a:rect l="0" t="0" r="r" b="b"/>
                <a:pathLst>
                  <a:path w="255" h="133">
                    <a:moveTo>
                      <a:pt x="128" y="28"/>
                    </a:moveTo>
                    <a:cubicBezTo>
                      <a:pt x="133" y="33"/>
                      <a:pt x="149" y="39"/>
                      <a:pt x="160" y="39"/>
                    </a:cubicBezTo>
                    <a:cubicBezTo>
                      <a:pt x="165" y="39"/>
                      <a:pt x="168" y="45"/>
                      <a:pt x="173" y="45"/>
                    </a:cubicBezTo>
                    <a:cubicBezTo>
                      <a:pt x="173" y="48"/>
                      <a:pt x="176" y="49"/>
                      <a:pt x="179" y="49"/>
                    </a:cubicBezTo>
                    <a:cubicBezTo>
                      <a:pt x="193" y="54"/>
                      <a:pt x="192" y="66"/>
                      <a:pt x="203" y="71"/>
                    </a:cubicBezTo>
                    <a:cubicBezTo>
                      <a:pt x="207" y="73"/>
                      <a:pt x="217" y="68"/>
                      <a:pt x="217" y="78"/>
                    </a:cubicBezTo>
                    <a:cubicBezTo>
                      <a:pt x="217" y="83"/>
                      <a:pt x="208" y="81"/>
                      <a:pt x="208" y="85"/>
                    </a:cubicBezTo>
                    <a:cubicBezTo>
                      <a:pt x="208" y="87"/>
                      <a:pt x="216" y="95"/>
                      <a:pt x="217" y="96"/>
                    </a:cubicBezTo>
                    <a:cubicBezTo>
                      <a:pt x="221" y="100"/>
                      <a:pt x="220" y="103"/>
                      <a:pt x="224" y="108"/>
                    </a:cubicBezTo>
                    <a:cubicBezTo>
                      <a:pt x="225" y="111"/>
                      <a:pt x="230" y="113"/>
                      <a:pt x="233" y="113"/>
                    </a:cubicBezTo>
                    <a:cubicBezTo>
                      <a:pt x="235" y="113"/>
                      <a:pt x="236" y="116"/>
                      <a:pt x="237" y="118"/>
                    </a:cubicBezTo>
                    <a:cubicBezTo>
                      <a:pt x="238" y="120"/>
                      <a:pt x="240" y="118"/>
                      <a:pt x="242" y="119"/>
                    </a:cubicBezTo>
                    <a:cubicBezTo>
                      <a:pt x="245" y="119"/>
                      <a:pt x="246" y="122"/>
                      <a:pt x="247" y="124"/>
                    </a:cubicBezTo>
                    <a:cubicBezTo>
                      <a:pt x="247" y="126"/>
                      <a:pt x="254" y="125"/>
                      <a:pt x="255" y="126"/>
                    </a:cubicBezTo>
                    <a:cubicBezTo>
                      <a:pt x="253" y="127"/>
                      <a:pt x="250" y="130"/>
                      <a:pt x="250" y="133"/>
                    </a:cubicBezTo>
                    <a:cubicBezTo>
                      <a:pt x="249" y="133"/>
                      <a:pt x="248" y="133"/>
                      <a:pt x="247" y="133"/>
                    </a:cubicBezTo>
                    <a:cubicBezTo>
                      <a:pt x="246" y="133"/>
                      <a:pt x="240" y="128"/>
                      <a:pt x="239" y="127"/>
                    </a:cubicBezTo>
                    <a:cubicBezTo>
                      <a:pt x="227" y="127"/>
                      <a:pt x="227" y="127"/>
                      <a:pt x="227" y="127"/>
                    </a:cubicBezTo>
                    <a:cubicBezTo>
                      <a:pt x="221" y="126"/>
                      <a:pt x="210" y="121"/>
                      <a:pt x="210" y="116"/>
                    </a:cubicBezTo>
                    <a:cubicBezTo>
                      <a:pt x="210" y="115"/>
                      <a:pt x="207" y="114"/>
                      <a:pt x="206" y="113"/>
                    </a:cubicBezTo>
                    <a:cubicBezTo>
                      <a:pt x="197" y="104"/>
                      <a:pt x="189" y="92"/>
                      <a:pt x="175" y="92"/>
                    </a:cubicBezTo>
                    <a:cubicBezTo>
                      <a:pt x="164" y="92"/>
                      <a:pt x="165" y="100"/>
                      <a:pt x="158" y="103"/>
                    </a:cubicBezTo>
                    <a:cubicBezTo>
                      <a:pt x="160" y="108"/>
                      <a:pt x="156" y="110"/>
                      <a:pt x="156" y="113"/>
                    </a:cubicBezTo>
                    <a:cubicBezTo>
                      <a:pt x="146" y="113"/>
                      <a:pt x="144" y="113"/>
                      <a:pt x="139" y="113"/>
                    </a:cubicBezTo>
                    <a:cubicBezTo>
                      <a:pt x="128" y="113"/>
                      <a:pt x="125" y="100"/>
                      <a:pt x="113" y="100"/>
                    </a:cubicBezTo>
                    <a:cubicBezTo>
                      <a:pt x="112" y="100"/>
                      <a:pt x="107" y="100"/>
                      <a:pt x="107" y="102"/>
                    </a:cubicBezTo>
                    <a:cubicBezTo>
                      <a:pt x="98" y="102"/>
                      <a:pt x="98" y="102"/>
                      <a:pt x="98" y="102"/>
                    </a:cubicBezTo>
                    <a:cubicBezTo>
                      <a:pt x="94" y="102"/>
                      <a:pt x="90" y="102"/>
                      <a:pt x="90" y="99"/>
                    </a:cubicBezTo>
                    <a:cubicBezTo>
                      <a:pt x="90" y="93"/>
                      <a:pt x="99" y="91"/>
                      <a:pt x="101" y="90"/>
                    </a:cubicBezTo>
                    <a:cubicBezTo>
                      <a:pt x="95" y="84"/>
                      <a:pt x="98" y="78"/>
                      <a:pt x="96" y="71"/>
                    </a:cubicBezTo>
                    <a:cubicBezTo>
                      <a:pt x="94" y="66"/>
                      <a:pt x="82" y="61"/>
                      <a:pt x="77" y="59"/>
                    </a:cubicBezTo>
                    <a:cubicBezTo>
                      <a:pt x="72" y="56"/>
                      <a:pt x="60" y="54"/>
                      <a:pt x="53" y="54"/>
                    </a:cubicBezTo>
                    <a:cubicBezTo>
                      <a:pt x="47" y="54"/>
                      <a:pt x="44" y="43"/>
                      <a:pt x="37" y="45"/>
                    </a:cubicBezTo>
                    <a:cubicBezTo>
                      <a:pt x="37" y="41"/>
                      <a:pt x="37" y="41"/>
                      <a:pt x="37" y="41"/>
                    </a:cubicBezTo>
                    <a:cubicBezTo>
                      <a:pt x="36" y="44"/>
                      <a:pt x="34" y="49"/>
                      <a:pt x="30" y="49"/>
                    </a:cubicBezTo>
                    <a:cubicBezTo>
                      <a:pt x="29" y="49"/>
                      <a:pt x="26" y="49"/>
                      <a:pt x="26" y="48"/>
                    </a:cubicBezTo>
                    <a:cubicBezTo>
                      <a:pt x="24" y="43"/>
                      <a:pt x="26" y="41"/>
                      <a:pt x="24" y="38"/>
                    </a:cubicBezTo>
                    <a:cubicBezTo>
                      <a:pt x="22" y="34"/>
                      <a:pt x="17" y="36"/>
                      <a:pt x="16" y="33"/>
                    </a:cubicBezTo>
                    <a:cubicBezTo>
                      <a:pt x="22" y="29"/>
                      <a:pt x="35" y="30"/>
                      <a:pt x="38" y="25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0" y="26"/>
                      <a:pt x="27" y="27"/>
                      <a:pt x="23" y="27"/>
                    </a:cubicBezTo>
                    <a:cubicBezTo>
                      <a:pt x="20" y="27"/>
                      <a:pt x="19" y="26"/>
                      <a:pt x="16" y="26"/>
                    </a:cubicBezTo>
                    <a:cubicBezTo>
                      <a:pt x="15" y="25"/>
                      <a:pt x="14" y="23"/>
                      <a:pt x="14" y="22"/>
                    </a:cubicBezTo>
                    <a:cubicBezTo>
                      <a:pt x="11" y="15"/>
                      <a:pt x="0" y="18"/>
                      <a:pt x="0" y="12"/>
                    </a:cubicBezTo>
                    <a:cubicBezTo>
                      <a:pt x="0" y="9"/>
                      <a:pt x="4" y="8"/>
                      <a:pt x="6" y="8"/>
                    </a:cubicBezTo>
                    <a:cubicBezTo>
                      <a:pt x="12" y="8"/>
                      <a:pt x="15" y="0"/>
                      <a:pt x="23" y="0"/>
                    </a:cubicBezTo>
                    <a:cubicBezTo>
                      <a:pt x="30" y="0"/>
                      <a:pt x="36" y="7"/>
                      <a:pt x="44" y="9"/>
                    </a:cubicBezTo>
                    <a:cubicBezTo>
                      <a:pt x="44" y="15"/>
                      <a:pt x="44" y="22"/>
                      <a:pt x="44" y="25"/>
                    </a:cubicBezTo>
                    <a:cubicBezTo>
                      <a:pt x="44" y="27"/>
                      <a:pt x="46" y="29"/>
                      <a:pt x="50" y="29"/>
                    </a:cubicBezTo>
                    <a:cubicBezTo>
                      <a:pt x="50" y="31"/>
                      <a:pt x="56" y="38"/>
                      <a:pt x="59" y="38"/>
                    </a:cubicBezTo>
                    <a:cubicBezTo>
                      <a:pt x="62" y="38"/>
                      <a:pt x="66" y="31"/>
                      <a:pt x="67" y="30"/>
                    </a:cubicBezTo>
                    <a:cubicBezTo>
                      <a:pt x="71" y="27"/>
                      <a:pt x="71" y="26"/>
                      <a:pt x="78" y="25"/>
                    </a:cubicBezTo>
                    <a:cubicBezTo>
                      <a:pt x="82" y="23"/>
                      <a:pt x="87" y="15"/>
                      <a:pt x="92" y="14"/>
                    </a:cubicBezTo>
                    <a:cubicBezTo>
                      <a:pt x="93" y="17"/>
                      <a:pt x="96" y="16"/>
                      <a:pt x="98" y="17"/>
                    </a:cubicBezTo>
                    <a:cubicBezTo>
                      <a:pt x="103" y="18"/>
                      <a:pt x="106" y="24"/>
                      <a:pt x="109" y="25"/>
                    </a:cubicBezTo>
                    <a:cubicBezTo>
                      <a:pt x="121" y="25"/>
                      <a:pt x="121" y="25"/>
                      <a:pt x="121" y="25"/>
                    </a:cubicBezTo>
                    <a:cubicBezTo>
                      <a:pt x="123" y="27"/>
                      <a:pt x="128" y="29"/>
                      <a:pt x="130" y="29"/>
                    </a:cubicBezTo>
                    <a:cubicBezTo>
                      <a:pt x="130" y="30"/>
                      <a:pt x="130" y="30"/>
                      <a:pt x="130" y="30"/>
                    </a:cubicBezTo>
                    <a:lnTo>
                      <a:pt x="128" y="28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grpSp>
            <p:nvGrpSpPr>
              <p:cNvPr id="182" name="Группа 361">
                <a:extLst>
                  <a:ext uri="{FF2B5EF4-FFF2-40B4-BE49-F238E27FC236}">
                    <a16:creationId xmlns:a16="http://schemas.microsoft.com/office/drawing/2014/main" xmlns="" id="{14F41E0B-BBCF-7818-3274-3DB50F74D65A}"/>
                  </a:ext>
                </a:extLst>
              </p:cNvPr>
              <p:cNvGrpSpPr/>
              <p:nvPr/>
            </p:nvGrpSpPr>
            <p:grpSpPr>
              <a:xfrm>
                <a:off x="6275388" y="2917825"/>
                <a:ext cx="966788" cy="806451"/>
                <a:chOff x="6275388" y="2917825"/>
                <a:chExt cx="966788" cy="806451"/>
              </a:xfrm>
              <a:grpFill/>
            </p:grpSpPr>
            <p:sp>
              <p:nvSpPr>
                <p:cNvPr id="183" name="Полилиния 7">
                  <a:extLst>
                    <a:ext uri="{FF2B5EF4-FFF2-40B4-BE49-F238E27FC236}">
                      <a16:creationId xmlns:a16="http://schemas.microsoft.com/office/drawing/2014/main" xmlns="" id="{42B8927A-B5F1-BC9A-54D4-6090CE802E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23050" y="2968625"/>
                  <a:ext cx="11113" cy="25400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8" y="5"/>
                    </a:cxn>
                    <a:cxn ang="0">
                      <a:pos x="5" y="9"/>
                    </a:cxn>
                    <a:cxn ang="0">
                      <a:pos x="2" y="19"/>
                    </a:cxn>
                    <a:cxn ang="0">
                      <a:pos x="0" y="15"/>
                    </a:cxn>
                    <a:cxn ang="0">
                      <a:pos x="4" y="8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8" h="19">
                      <a:moveTo>
                        <a:pt x="7" y="0"/>
                      </a:moveTo>
                      <a:cubicBezTo>
                        <a:pt x="7" y="4"/>
                        <a:pt x="8" y="2"/>
                        <a:pt x="8" y="5"/>
                      </a:cubicBezTo>
                      <a:cubicBezTo>
                        <a:pt x="8" y="8"/>
                        <a:pt x="7" y="9"/>
                        <a:pt x="5" y="9"/>
                      </a:cubicBezTo>
                      <a:cubicBezTo>
                        <a:pt x="5" y="14"/>
                        <a:pt x="6" y="19"/>
                        <a:pt x="2" y="19"/>
                      </a:cubicBezTo>
                      <a:cubicBezTo>
                        <a:pt x="1" y="19"/>
                        <a:pt x="0" y="16"/>
                        <a:pt x="0" y="15"/>
                      </a:cubicBezTo>
                      <a:cubicBezTo>
                        <a:pt x="0" y="11"/>
                        <a:pt x="4" y="10"/>
                        <a:pt x="4" y="8"/>
                      </a:cubicBezTo>
                      <a:cubicBezTo>
                        <a:pt x="4" y="4"/>
                        <a:pt x="3" y="0"/>
                        <a:pt x="7" y="0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84" name="Полилиния 8">
                  <a:extLst>
                    <a:ext uri="{FF2B5EF4-FFF2-40B4-BE49-F238E27FC236}">
                      <a16:creationId xmlns:a16="http://schemas.microsoft.com/office/drawing/2014/main" xmlns="" id="{BF1E1CBE-C0D0-95EF-F8AD-034DA155D6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67525" y="2944813"/>
                  <a:ext cx="65088" cy="38100"/>
                </a:xfrm>
                <a:custGeom>
                  <a:avLst/>
                  <a:gdLst/>
                  <a:ahLst/>
                  <a:cxnLst>
                    <a:cxn ang="0">
                      <a:pos x="13" y="27"/>
                    </a:cxn>
                    <a:cxn ang="0">
                      <a:pos x="0" y="18"/>
                    </a:cxn>
                    <a:cxn ang="0">
                      <a:pos x="13" y="18"/>
                    </a:cxn>
                    <a:cxn ang="0">
                      <a:pos x="18" y="17"/>
                    </a:cxn>
                    <a:cxn ang="0">
                      <a:pos x="35" y="13"/>
                    </a:cxn>
                    <a:cxn ang="0">
                      <a:pos x="45" y="0"/>
                    </a:cxn>
                    <a:cxn ang="0">
                      <a:pos x="49" y="7"/>
                    </a:cxn>
                    <a:cxn ang="0">
                      <a:pos x="40" y="22"/>
                    </a:cxn>
                    <a:cxn ang="0">
                      <a:pos x="19" y="29"/>
                    </a:cxn>
                    <a:cxn ang="0">
                      <a:pos x="11" y="25"/>
                    </a:cxn>
                    <a:cxn ang="0">
                      <a:pos x="13" y="27"/>
                    </a:cxn>
                  </a:cxnLst>
                  <a:rect l="0" t="0" r="r" b="b"/>
                  <a:pathLst>
                    <a:path w="49" h="29">
                      <a:moveTo>
                        <a:pt x="13" y="27"/>
                      </a:moveTo>
                      <a:cubicBezTo>
                        <a:pt x="9" y="22"/>
                        <a:pt x="1" y="24"/>
                        <a:pt x="0" y="18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4" y="18"/>
                        <a:pt x="18" y="17"/>
                        <a:pt x="18" y="17"/>
                      </a:cubicBezTo>
                      <a:cubicBezTo>
                        <a:pt x="25" y="14"/>
                        <a:pt x="31" y="15"/>
                        <a:pt x="35" y="13"/>
                      </a:cubicBezTo>
                      <a:cubicBezTo>
                        <a:pt x="41" y="10"/>
                        <a:pt x="39" y="0"/>
                        <a:pt x="45" y="0"/>
                      </a:cubicBezTo>
                      <a:cubicBezTo>
                        <a:pt x="48" y="0"/>
                        <a:pt x="49" y="4"/>
                        <a:pt x="49" y="7"/>
                      </a:cubicBezTo>
                      <a:cubicBezTo>
                        <a:pt x="49" y="16"/>
                        <a:pt x="40" y="14"/>
                        <a:pt x="40" y="22"/>
                      </a:cubicBezTo>
                      <a:cubicBezTo>
                        <a:pt x="32" y="24"/>
                        <a:pt x="28" y="29"/>
                        <a:pt x="19" y="29"/>
                      </a:cubicBezTo>
                      <a:cubicBezTo>
                        <a:pt x="17" y="29"/>
                        <a:pt x="11" y="26"/>
                        <a:pt x="11" y="25"/>
                      </a:cubicBezTo>
                      <a:lnTo>
                        <a:pt x="13" y="27"/>
                      </a:ln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85" name="Полилиния 10">
                  <a:extLst>
                    <a:ext uri="{FF2B5EF4-FFF2-40B4-BE49-F238E27FC236}">
                      <a16:creationId xmlns:a16="http://schemas.microsoft.com/office/drawing/2014/main" xmlns="" id="{46ABF347-5D37-CCC8-EAD8-DE59CF8FC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11975" y="2917825"/>
                  <a:ext cx="34925" cy="34925"/>
                </a:xfrm>
                <a:custGeom>
                  <a:avLst/>
                  <a:gdLst/>
                  <a:ahLst/>
                  <a:cxnLst>
                    <a:cxn ang="0">
                      <a:pos x="23" y="25"/>
                    </a:cxn>
                    <a:cxn ang="0">
                      <a:pos x="19" y="17"/>
                    </a:cxn>
                    <a:cxn ang="0">
                      <a:pos x="8" y="6"/>
                    </a:cxn>
                    <a:cxn ang="0">
                      <a:pos x="0" y="0"/>
                    </a:cxn>
                    <a:cxn ang="0">
                      <a:pos x="18" y="13"/>
                    </a:cxn>
                    <a:cxn ang="0">
                      <a:pos x="26" y="22"/>
                    </a:cxn>
                    <a:cxn ang="0">
                      <a:pos x="26" y="25"/>
                    </a:cxn>
                    <a:cxn ang="0">
                      <a:pos x="23" y="25"/>
                    </a:cxn>
                  </a:cxnLst>
                  <a:rect l="0" t="0" r="r" b="b"/>
                  <a:pathLst>
                    <a:path w="26" h="26">
                      <a:moveTo>
                        <a:pt x="23" y="25"/>
                      </a:moveTo>
                      <a:cubicBezTo>
                        <a:pt x="18" y="24"/>
                        <a:pt x="18" y="21"/>
                        <a:pt x="19" y="17"/>
                      </a:cubicBezTo>
                      <a:cubicBezTo>
                        <a:pt x="13" y="14"/>
                        <a:pt x="14" y="9"/>
                        <a:pt x="8" y="6"/>
                      </a:cubicBezTo>
                      <a:cubicBezTo>
                        <a:pt x="5" y="4"/>
                        <a:pt x="2" y="4"/>
                        <a:pt x="0" y="0"/>
                      </a:cubicBezTo>
                      <a:cubicBezTo>
                        <a:pt x="9" y="3"/>
                        <a:pt x="13" y="8"/>
                        <a:pt x="18" y="13"/>
                      </a:cubicBezTo>
                      <a:cubicBezTo>
                        <a:pt x="21" y="17"/>
                        <a:pt x="26" y="16"/>
                        <a:pt x="26" y="22"/>
                      </a:cubicBezTo>
                      <a:cubicBezTo>
                        <a:pt x="26" y="23"/>
                        <a:pt x="26" y="24"/>
                        <a:pt x="26" y="25"/>
                      </a:cubicBezTo>
                      <a:cubicBezTo>
                        <a:pt x="25" y="25"/>
                        <a:pt x="24" y="26"/>
                        <a:pt x="23" y="25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86" name="Полилиния 11">
                  <a:extLst>
                    <a:ext uri="{FF2B5EF4-FFF2-40B4-BE49-F238E27FC236}">
                      <a16:creationId xmlns:a16="http://schemas.microsoft.com/office/drawing/2014/main" xmlns="" id="{BB21C256-3316-1A97-8C7C-8A82E94BCA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2300" y="2967038"/>
                  <a:ext cx="17463" cy="20638"/>
                </a:xfrm>
                <a:custGeom>
                  <a:avLst/>
                  <a:gdLst/>
                  <a:ahLst/>
                  <a:cxnLst>
                    <a:cxn ang="0">
                      <a:pos x="7" y="9"/>
                    </a:cxn>
                    <a:cxn ang="0">
                      <a:pos x="1" y="0"/>
                    </a:cxn>
                    <a:cxn ang="0">
                      <a:pos x="13" y="12"/>
                    </a:cxn>
                    <a:cxn ang="0">
                      <a:pos x="10" y="16"/>
                    </a:cxn>
                    <a:cxn ang="0">
                      <a:pos x="7" y="13"/>
                    </a:cxn>
                    <a:cxn ang="0">
                      <a:pos x="7" y="9"/>
                    </a:cxn>
                  </a:cxnLst>
                  <a:rect l="0" t="0" r="r" b="b"/>
                  <a:pathLst>
                    <a:path w="13" h="16">
                      <a:moveTo>
                        <a:pt x="7" y="9"/>
                      </a:moveTo>
                      <a:cubicBezTo>
                        <a:pt x="2" y="9"/>
                        <a:pt x="0" y="4"/>
                        <a:pt x="1" y="0"/>
                      </a:cubicBezTo>
                      <a:cubicBezTo>
                        <a:pt x="4" y="1"/>
                        <a:pt x="13" y="11"/>
                        <a:pt x="13" y="12"/>
                      </a:cubicBezTo>
                      <a:cubicBezTo>
                        <a:pt x="13" y="14"/>
                        <a:pt x="11" y="16"/>
                        <a:pt x="10" y="16"/>
                      </a:cubicBezTo>
                      <a:cubicBezTo>
                        <a:pt x="9" y="16"/>
                        <a:pt x="7" y="14"/>
                        <a:pt x="7" y="13"/>
                      </a:cubicBezTo>
                      <a:cubicBezTo>
                        <a:pt x="7" y="12"/>
                        <a:pt x="7" y="11"/>
                        <a:pt x="7" y="9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87" name="Полилиния 12">
                  <a:extLst>
                    <a:ext uri="{FF2B5EF4-FFF2-40B4-BE49-F238E27FC236}">
                      <a16:creationId xmlns:a16="http://schemas.microsoft.com/office/drawing/2014/main" xmlns="" id="{78FC4186-D87D-7C1C-02D4-EB004ACFEC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86600" y="3046413"/>
                  <a:ext cx="9525" cy="11113"/>
                </a:xfrm>
                <a:custGeom>
                  <a:avLst/>
                  <a:gdLst/>
                  <a:ahLst/>
                  <a:cxnLst>
                    <a:cxn ang="0">
                      <a:pos x="7" y="6"/>
                    </a:cxn>
                    <a:cxn ang="0">
                      <a:pos x="7" y="9"/>
                    </a:cxn>
                    <a:cxn ang="0">
                      <a:pos x="0" y="0"/>
                    </a:cxn>
                    <a:cxn ang="0">
                      <a:pos x="7" y="6"/>
                    </a:cxn>
                  </a:cxnLst>
                  <a:rect l="0" t="0" r="r" b="b"/>
                  <a:pathLst>
                    <a:path w="7" h="9">
                      <a:moveTo>
                        <a:pt x="7" y="6"/>
                      </a:moveTo>
                      <a:cubicBezTo>
                        <a:pt x="7" y="7"/>
                        <a:pt x="7" y="8"/>
                        <a:pt x="7" y="9"/>
                      </a:cubicBezTo>
                      <a:cubicBezTo>
                        <a:pt x="3" y="9"/>
                        <a:pt x="0" y="2"/>
                        <a:pt x="0" y="0"/>
                      </a:cubicBezTo>
                      <a:cubicBezTo>
                        <a:pt x="4" y="2"/>
                        <a:pt x="7" y="3"/>
                        <a:pt x="7" y="6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88" name="Полилиния 13">
                  <a:extLst>
                    <a:ext uri="{FF2B5EF4-FFF2-40B4-BE49-F238E27FC236}">
                      <a16:creationId xmlns:a16="http://schemas.microsoft.com/office/drawing/2014/main" xmlns="" id="{5BF5906F-533E-BF6B-FA4A-C7948BD788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1200" y="3036888"/>
                  <a:ext cx="20638" cy="9525"/>
                </a:xfrm>
                <a:custGeom>
                  <a:avLst/>
                  <a:gdLst/>
                  <a:ahLst/>
                  <a:cxnLst>
                    <a:cxn ang="0">
                      <a:pos x="15" y="6"/>
                    </a:cxn>
                    <a:cxn ang="0">
                      <a:pos x="12" y="7"/>
                    </a:cxn>
                    <a:cxn ang="0">
                      <a:pos x="0" y="0"/>
                    </a:cxn>
                    <a:cxn ang="0">
                      <a:pos x="15" y="6"/>
                    </a:cxn>
                  </a:cxnLst>
                  <a:rect l="0" t="0" r="r" b="b"/>
                  <a:pathLst>
                    <a:path w="15" h="7">
                      <a:moveTo>
                        <a:pt x="15" y="6"/>
                      </a:moveTo>
                      <a:cubicBezTo>
                        <a:pt x="14" y="6"/>
                        <a:pt x="13" y="7"/>
                        <a:pt x="12" y="7"/>
                      </a:cubicBezTo>
                      <a:cubicBezTo>
                        <a:pt x="7" y="7"/>
                        <a:pt x="0" y="5"/>
                        <a:pt x="0" y="0"/>
                      </a:cubicBezTo>
                      <a:cubicBezTo>
                        <a:pt x="7" y="0"/>
                        <a:pt x="11" y="1"/>
                        <a:pt x="15" y="6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89" name="Полилиния 14">
                  <a:extLst>
                    <a:ext uri="{FF2B5EF4-FFF2-40B4-BE49-F238E27FC236}">
                      <a16:creationId xmlns:a16="http://schemas.microsoft.com/office/drawing/2014/main" xmlns="" id="{B0AE54F1-DF7F-A236-0207-74FAE9CA42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4375" y="3013075"/>
                  <a:ext cx="17463" cy="19050"/>
                </a:xfrm>
                <a:custGeom>
                  <a:avLst/>
                  <a:gdLst/>
                  <a:ahLst/>
                  <a:cxnLst>
                    <a:cxn ang="0">
                      <a:pos x="13" y="14"/>
                    </a:cxn>
                    <a:cxn ang="0">
                      <a:pos x="0" y="0"/>
                    </a:cxn>
                    <a:cxn ang="0">
                      <a:pos x="13" y="14"/>
                    </a:cxn>
                  </a:cxnLst>
                  <a:rect l="0" t="0" r="r" b="b"/>
                  <a:pathLst>
                    <a:path w="13" h="14">
                      <a:moveTo>
                        <a:pt x="13" y="14"/>
                      </a:moveTo>
                      <a:cubicBezTo>
                        <a:pt x="9" y="14"/>
                        <a:pt x="1" y="3"/>
                        <a:pt x="0" y="0"/>
                      </a:cubicBezTo>
                      <a:cubicBezTo>
                        <a:pt x="6" y="3"/>
                        <a:pt x="11" y="7"/>
                        <a:pt x="13" y="14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90" name="Полилиния 15">
                  <a:extLst>
                    <a:ext uri="{FF2B5EF4-FFF2-40B4-BE49-F238E27FC236}">
                      <a16:creationId xmlns:a16="http://schemas.microsoft.com/office/drawing/2014/main" xmlns="" id="{4977EFAF-924F-E455-7E64-9B09BFD1ED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27863" y="2998788"/>
                  <a:ext cx="23813" cy="14288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17" y="9"/>
                    </a:cxn>
                    <a:cxn ang="0">
                      <a:pos x="14" y="1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7" h="10">
                      <a:moveTo>
                        <a:pt x="2" y="0"/>
                      </a:moveTo>
                      <a:cubicBezTo>
                        <a:pt x="6" y="2"/>
                        <a:pt x="15" y="5"/>
                        <a:pt x="17" y="9"/>
                      </a:cubicBezTo>
                      <a:cubicBezTo>
                        <a:pt x="17" y="9"/>
                        <a:pt x="15" y="10"/>
                        <a:pt x="14" y="10"/>
                      </a:cubicBezTo>
                      <a:cubicBezTo>
                        <a:pt x="10" y="10"/>
                        <a:pt x="0" y="6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91" name="Полилиния 16">
                  <a:extLst>
                    <a:ext uri="{FF2B5EF4-FFF2-40B4-BE49-F238E27FC236}">
                      <a16:creationId xmlns:a16="http://schemas.microsoft.com/office/drawing/2014/main" xmlns="" id="{499F5074-E8F6-81E6-10F5-A9126BA6CA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02463" y="2984500"/>
                  <a:ext cx="14288" cy="793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1" y="6"/>
                    </a:cxn>
                    <a:cxn ang="0">
                      <a:pos x="7" y="6"/>
                    </a:cxn>
                    <a:cxn ang="0">
                      <a:pos x="0" y="2"/>
                    </a:cxn>
                    <a:cxn ang="0">
                      <a:pos x="3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1" h="6">
                      <a:moveTo>
                        <a:pt x="0" y="0"/>
                      </a:moveTo>
                      <a:cubicBezTo>
                        <a:pt x="5" y="3"/>
                        <a:pt x="8" y="2"/>
                        <a:pt x="11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1" y="2"/>
                        <a:pt x="3" y="2"/>
                        <a:pt x="3" y="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92" name="Полилиния 17">
                  <a:extLst>
                    <a:ext uri="{FF2B5EF4-FFF2-40B4-BE49-F238E27FC236}">
                      <a16:creationId xmlns:a16="http://schemas.microsoft.com/office/drawing/2014/main" xmlns="" id="{3D1BBAFA-53BB-55FF-90B7-0768BD12F4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00850" y="3594100"/>
                  <a:ext cx="63500" cy="65088"/>
                </a:xfrm>
                <a:custGeom>
                  <a:avLst/>
                  <a:gdLst/>
                  <a:ahLst/>
                  <a:cxnLst>
                    <a:cxn ang="0">
                      <a:pos x="24" y="7"/>
                    </a:cxn>
                    <a:cxn ang="0">
                      <a:pos x="43" y="3"/>
                    </a:cxn>
                    <a:cxn ang="0">
                      <a:pos x="48" y="16"/>
                    </a:cxn>
                    <a:cxn ang="0">
                      <a:pos x="27" y="49"/>
                    </a:cxn>
                    <a:cxn ang="0">
                      <a:pos x="0" y="7"/>
                    </a:cxn>
                    <a:cxn ang="0">
                      <a:pos x="24" y="7"/>
                    </a:cxn>
                  </a:cxnLst>
                  <a:rect l="0" t="0" r="r" b="b"/>
                  <a:pathLst>
                    <a:path w="48" h="49">
                      <a:moveTo>
                        <a:pt x="24" y="7"/>
                      </a:moveTo>
                      <a:cubicBezTo>
                        <a:pt x="30" y="7"/>
                        <a:pt x="37" y="5"/>
                        <a:pt x="43" y="3"/>
                      </a:cubicBezTo>
                      <a:cubicBezTo>
                        <a:pt x="45" y="8"/>
                        <a:pt x="48" y="11"/>
                        <a:pt x="48" y="16"/>
                      </a:cubicBezTo>
                      <a:cubicBezTo>
                        <a:pt x="48" y="26"/>
                        <a:pt x="36" y="49"/>
                        <a:pt x="27" y="49"/>
                      </a:cubicBezTo>
                      <a:cubicBezTo>
                        <a:pt x="14" y="49"/>
                        <a:pt x="0" y="16"/>
                        <a:pt x="0" y="7"/>
                      </a:cubicBezTo>
                      <a:cubicBezTo>
                        <a:pt x="0" y="0"/>
                        <a:pt x="24" y="7"/>
                        <a:pt x="24" y="7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93" name="Полилиния 18">
                  <a:extLst>
                    <a:ext uri="{FF2B5EF4-FFF2-40B4-BE49-F238E27FC236}">
                      <a16:creationId xmlns:a16="http://schemas.microsoft.com/office/drawing/2014/main" xmlns="" id="{99E3BDFA-5430-4597-2FDE-888979134F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75388" y="3057525"/>
                  <a:ext cx="676275" cy="509588"/>
                </a:xfrm>
                <a:custGeom>
                  <a:avLst/>
                  <a:gdLst/>
                  <a:ahLst/>
                  <a:cxnLst>
                    <a:cxn ang="0">
                      <a:pos x="508" y="232"/>
                    </a:cxn>
                    <a:cxn ang="0">
                      <a:pos x="501" y="272"/>
                    </a:cxn>
                    <a:cxn ang="0">
                      <a:pos x="478" y="312"/>
                    </a:cxn>
                    <a:cxn ang="0">
                      <a:pos x="465" y="351"/>
                    </a:cxn>
                    <a:cxn ang="0">
                      <a:pos x="398" y="370"/>
                    </a:cxn>
                    <a:cxn ang="0">
                      <a:pos x="335" y="350"/>
                    </a:cxn>
                    <a:cxn ang="0">
                      <a:pos x="329" y="330"/>
                    </a:cxn>
                    <a:cxn ang="0">
                      <a:pos x="314" y="333"/>
                    </a:cxn>
                    <a:cxn ang="0">
                      <a:pos x="313" y="315"/>
                    </a:cxn>
                    <a:cxn ang="0">
                      <a:pos x="301" y="329"/>
                    </a:cxn>
                    <a:cxn ang="0">
                      <a:pos x="310" y="292"/>
                    </a:cxn>
                    <a:cxn ang="0">
                      <a:pos x="278" y="315"/>
                    </a:cxn>
                    <a:cxn ang="0">
                      <a:pos x="214" y="276"/>
                    </a:cxn>
                    <a:cxn ang="0">
                      <a:pos x="131" y="308"/>
                    </a:cxn>
                    <a:cxn ang="0">
                      <a:pos x="93" y="311"/>
                    </a:cxn>
                    <a:cxn ang="0">
                      <a:pos x="22" y="310"/>
                    </a:cxn>
                    <a:cxn ang="0">
                      <a:pos x="23" y="262"/>
                    </a:cxn>
                    <a:cxn ang="0">
                      <a:pos x="2" y="204"/>
                    </a:cxn>
                    <a:cxn ang="0">
                      <a:pos x="9" y="204"/>
                    </a:cxn>
                    <a:cxn ang="0">
                      <a:pos x="3" y="176"/>
                    </a:cxn>
                    <a:cxn ang="0">
                      <a:pos x="8" y="145"/>
                    </a:cxn>
                    <a:cxn ang="0">
                      <a:pos x="32" y="132"/>
                    </a:cxn>
                    <a:cxn ang="0">
                      <a:pos x="114" y="95"/>
                    </a:cxn>
                    <a:cxn ang="0">
                      <a:pos x="119" y="76"/>
                    </a:cxn>
                    <a:cxn ang="0">
                      <a:pos x="131" y="71"/>
                    </a:cxn>
                    <a:cxn ang="0">
                      <a:pos x="150" y="50"/>
                    </a:cxn>
                    <a:cxn ang="0">
                      <a:pos x="187" y="58"/>
                    </a:cxn>
                    <a:cxn ang="0">
                      <a:pos x="203" y="56"/>
                    </a:cxn>
                    <a:cxn ang="0">
                      <a:pos x="211" y="30"/>
                    </a:cxn>
                    <a:cxn ang="0">
                      <a:pos x="244" y="17"/>
                    </a:cxn>
                    <a:cxn ang="0">
                      <a:pos x="276" y="19"/>
                    </a:cxn>
                    <a:cxn ang="0">
                      <a:pos x="297" y="23"/>
                    </a:cxn>
                    <a:cxn ang="0">
                      <a:pos x="281" y="54"/>
                    </a:cxn>
                    <a:cxn ang="0">
                      <a:pos x="295" y="68"/>
                    </a:cxn>
                    <a:cxn ang="0">
                      <a:pos x="341" y="90"/>
                    </a:cxn>
                    <a:cxn ang="0">
                      <a:pos x="359" y="15"/>
                    </a:cxn>
                    <a:cxn ang="0">
                      <a:pos x="381" y="28"/>
                    </a:cxn>
                    <a:cxn ang="0">
                      <a:pos x="400" y="50"/>
                    </a:cxn>
                    <a:cxn ang="0">
                      <a:pos x="419" y="104"/>
                    </a:cxn>
                    <a:cxn ang="0">
                      <a:pos x="457" y="146"/>
                    </a:cxn>
                    <a:cxn ang="0">
                      <a:pos x="497" y="185"/>
                    </a:cxn>
                  </a:cxnLst>
                  <a:rect l="0" t="0" r="r" b="b"/>
                  <a:pathLst>
                    <a:path w="508" h="383">
                      <a:moveTo>
                        <a:pt x="496" y="186"/>
                      </a:moveTo>
                      <a:cubicBezTo>
                        <a:pt x="503" y="195"/>
                        <a:pt x="508" y="219"/>
                        <a:pt x="508" y="232"/>
                      </a:cubicBezTo>
                      <a:cubicBezTo>
                        <a:pt x="508" y="242"/>
                        <a:pt x="505" y="256"/>
                        <a:pt x="501" y="260"/>
                      </a:cubicBezTo>
                      <a:cubicBezTo>
                        <a:pt x="501" y="272"/>
                        <a:pt x="501" y="272"/>
                        <a:pt x="501" y="272"/>
                      </a:cubicBezTo>
                      <a:cubicBezTo>
                        <a:pt x="499" y="276"/>
                        <a:pt x="500" y="277"/>
                        <a:pt x="498" y="281"/>
                      </a:cubicBezTo>
                      <a:cubicBezTo>
                        <a:pt x="490" y="293"/>
                        <a:pt x="482" y="298"/>
                        <a:pt x="478" y="312"/>
                      </a:cubicBezTo>
                      <a:cubicBezTo>
                        <a:pt x="474" y="322"/>
                        <a:pt x="465" y="336"/>
                        <a:pt x="465" y="352"/>
                      </a:cubicBezTo>
                      <a:cubicBezTo>
                        <a:pt x="465" y="351"/>
                        <a:pt x="465" y="351"/>
                        <a:pt x="465" y="351"/>
                      </a:cubicBezTo>
                      <a:cubicBezTo>
                        <a:pt x="460" y="371"/>
                        <a:pt x="424" y="362"/>
                        <a:pt x="420" y="383"/>
                      </a:cubicBezTo>
                      <a:cubicBezTo>
                        <a:pt x="417" y="382"/>
                        <a:pt x="399" y="372"/>
                        <a:pt x="398" y="370"/>
                      </a:cubicBezTo>
                      <a:cubicBezTo>
                        <a:pt x="388" y="371"/>
                        <a:pt x="392" y="379"/>
                        <a:pt x="381" y="379"/>
                      </a:cubicBezTo>
                      <a:cubicBezTo>
                        <a:pt x="363" y="379"/>
                        <a:pt x="335" y="368"/>
                        <a:pt x="335" y="350"/>
                      </a:cubicBezTo>
                      <a:cubicBezTo>
                        <a:pt x="335" y="343"/>
                        <a:pt x="329" y="338"/>
                        <a:pt x="329" y="332"/>
                      </a:cubicBezTo>
                      <a:cubicBezTo>
                        <a:pt x="329" y="332"/>
                        <a:pt x="329" y="330"/>
                        <a:pt x="329" y="330"/>
                      </a:cubicBezTo>
                      <a:cubicBezTo>
                        <a:pt x="325" y="332"/>
                        <a:pt x="323" y="332"/>
                        <a:pt x="320" y="333"/>
                      </a:cubicBezTo>
                      <a:cubicBezTo>
                        <a:pt x="314" y="333"/>
                        <a:pt x="314" y="333"/>
                        <a:pt x="314" y="333"/>
                      </a:cubicBezTo>
                      <a:cubicBezTo>
                        <a:pt x="316" y="330"/>
                        <a:pt x="318" y="328"/>
                        <a:pt x="318" y="323"/>
                      </a:cubicBezTo>
                      <a:cubicBezTo>
                        <a:pt x="318" y="318"/>
                        <a:pt x="315" y="316"/>
                        <a:pt x="313" y="315"/>
                      </a:cubicBezTo>
                      <a:cubicBezTo>
                        <a:pt x="313" y="316"/>
                        <a:pt x="312" y="318"/>
                        <a:pt x="312" y="319"/>
                      </a:cubicBezTo>
                      <a:cubicBezTo>
                        <a:pt x="308" y="321"/>
                        <a:pt x="308" y="329"/>
                        <a:pt x="301" y="329"/>
                      </a:cubicBezTo>
                      <a:cubicBezTo>
                        <a:pt x="299" y="329"/>
                        <a:pt x="297" y="326"/>
                        <a:pt x="297" y="324"/>
                      </a:cubicBezTo>
                      <a:cubicBezTo>
                        <a:pt x="308" y="322"/>
                        <a:pt x="310" y="299"/>
                        <a:pt x="310" y="292"/>
                      </a:cubicBezTo>
                      <a:cubicBezTo>
                        <a:pt x="302" y="300"/>
                        <a:pt x="291" y="323"/>
                        <a:pt x="281" y="323"/>
                      </a:cubicBezTo>
                      <a:cubicBezTo>
                        <a:pt x="276" y="323"/>
                        <a:pt x="278" y="315"/>
                        <a:pt x="278" y="315"/>
                      </a:cubicBezTo>
                      <a:cubicBezTo>
                        <a:pt x="275" y="315"/>
                        <a:pt x="265" y="294"/>
                        <a:pt x="262" y="289"/>
                      </a:cubicBezTo>
                      <a:cubicBezTo>
                        <a:pt x="254" y="280"/>
                        <a:pt x="228" y="276"/>
                        <a:pt x="214" y="276"/>
                      </a:cubicBezTo>
                      <a:cubicBezTo>
                        <a:pt x="198" y="276"/>
                        <a:pt x="195" y="283"/>
                        <a:pt x="185" y="286"/>
                      </a:cubicBezTo>
                      <a:cubicBezTo>
                        <a:pt x="163" y="293"/>
                        <a:pt x="135" y="285"/>
                        <a:pt x="131" y="308"/>
                      </a:cubicBezTo>
                      <a:cubicBezTo>
                        <a:pt x="122" y="309"/>
                        <a:pt x="115" y="311"/>
                        <a:pt x="105" y="311"/>
                      </a:cubicBezTo>
                      <a:cubicBezTo>
                        <a:pt x="98" y="307"/>
                        <a:pt x="98" y="311"/>
                        <a:pt x="93" y="311"/>
                      </a:cubicBezTo>
                      <a:cubicBezTo>
                        <a:pt x="77" y="311"/>
                        <a:pt x="71" y="326"/>
                        <a:pt x="51" y="326"/>
                      </a:cubicBezTo>
                      <a:cubicBezTo>
                        <a:pt x="43" y="326"/>
                        <a:pt x="22" y="316"/>
                        <a:pt x="22" y="310"/>
                      </a:cubicBezTo>
                      <a:cubicBezTo>
                        <a:pt x="22" y="303"/>
                        <a:pt x="32" y="300"/>
                        <a:pt x="32" y="290"/>
                      </a:cubicBezTo>
                      <a:cubicBezTo>
                        <a:pt x="32" y="277"/>
                        <a:pt x="26" y="270"/>
                        <a:pt x="23" y="262"/>
                      </a:cubicBezTo>
                      <a:cubicBezTo>
                        <a:pt x="18" y="243"/>
                        <a:pt x="17" y="237"/>
                        <a:pt x="11" y="220"/>
                      </a:cubicBezTo>
                      <a:cubicBezTo>
                        <a:pt x="9" y="213"/>
                        <a:pt x="0" y="211"/>
                        <a:pt x="2" y="204"/>
                      </a:cubicBezTo>
                      <a:cubicBezTo>
                        <a:pt x="3" y="202"/>
                        <a:pt x="3" y="201"/>
                        <a:pt x="5" y="198"/>
                      </a:cubicBezTo>
                      <a:cubicBezTo>
                        <a:pt x="6" y="201"/>
                        <a:pt x="7" y="203"/>
                        <a:pt x="9" y="204"/>
                      </a:cubicBezTo>
                      <a:cubicBezTo>
                        <a:pt x="10" y="202"/>
                        <a:pt x="9" y="201"/>
                        <a:pt x="9" y="198"/>
                      </a:cubicBezTo>
                      <a:cubicBezTo>
                        <a:pt x="9" y="192"/>
                        <a:pt x="3" y="187"/>
                        <a:pt x="3" y="176"/>
                      </a:cubicBezTo>
                      <a:cubicBezTo>
                        <a:pt x="3" y="162"/>
                        <a:pt x="3" y="161"/>
                        <a:pt x="3" y="150"/>
                      </a:cubicBezTo>
                      <a:cubicBezTo>
                        <a:pt x="3" y="146"/>
                        <a:pt x="7" y="146"/>
                        <a:pt x="8" y="145"/>
                      </a:cubicBezTo>
                      <a:cubicBezTo>
                        <a:pt x="9" y="146"/>
                        <a:pt x="9" y="148"/>
                        <a:pt x="9" y="149"/>
                      </a:cubicBezTo>
                      <a:cubicBezTo>
                        <a:pt x="17" y="148"/>
                        <a:pt x="27" y="137"/>
                        <a:pt x="32" y="132"/>
                      </a:cubicBezTo>
                      <a:cubicBezTo>
                        <a:pt x="37" y="127"/>
                        <a:pt x="53" y="126"/>
                        <a:pt x="62" y="125"/>
                      </a:cubicBezTo>
                      <a:cubicBezTo>
                        <a:pt x="78" y="122"/>
                        <a:pt x="114" y="110"/>
                        <a:pt x="114" y="95"/>
                      </a:cubicBezTo>
                      <a:cubicBezTo>
                        <a:pt x="114" y="92"/>
                        <a:pt x="114" y="90"/>
                        <a:pt x="114" y="87"/>
                      </a:cubicBezTo>
                      <a:cubicBezTo>
                        <a:pt x="114" y="83"/>
                        <a:pt x="115" y="79"/>
                        <a:pt x="119" y="76"/>
                      </a:cubicBezTo>
                      <a:cubicBezTo>
                        <a:pt x="122" y="80"/>
                        <a:pt x="124" y="82"/>
                        <a:pt x="126" y="85"/>
                      </a:cubicBezTo>
                      <a:cubicBezTo>
                        <a:pt x="131" y="82"/>
                        <a:pt x="129" y="75"/>
                        <a:pt x="131" y="71"/>
                      </a:cubicBezTo>
                      <a:cubicBezTo>
                        <a:pt x="134" y="72"/>
                        <a:pt x="137" y="74"/>
                        <a:pt x="140" y="74"/>
                      </a:cubicBezTo>
                      <a:cubicBezTo>
                        <a:pt x="140" y="62"/>
                        <a:pt x="149" y="60"/>
                        <a:pt x="150" y="50"/>
                      </a:cubicBezTo>
                      <a:cubicBezTo>
                        <a:pt x="162" y="50"/>
                        <a:pt x="164" y="41"/>
                        <a:pt x="173" y="41"/>
                      </a:cubicBezTo>
                      <a:cubicBezTo>
                        <a:pt x="181" y="41"/>
                        <a:pt x="186" y="50"/>
                        <a:pt x="187" y="58"/>
                      </a:cubicBezTo>
                      <a:cubicBezTo>
                        <a:pt x="189" y="55"/>
                        <a:pt x="192" y="53"/>
                        <a:pt x="196" y="53"/>
                      </a:cubicBezTo>
                      <a:cubicBezTo>
                        <a:pt x="198" y="53"/>
                        <a:pt x="202" y="56"/>
                        <a:pt x="203" y="56"/>
                      </a:cubicBezTo>
                      <a:cubicBezTo>
                        <a:pt x="205" y="52"/>
                        <a:pt x="204" y="49"/>
                        <a:pt x="204" y="45"/>
                      </a:cubicBezTo>
                      <a:cubicBezTo>
                        <a:pt x="204" y="39"/>
                        <a:pt x="211" y="36"/>
                        <a:pt x="211" y="30"/>
                      </a:cubicBezTo>
                      <a:cubicBezTo>
                        <a:pt x="211" y="24"/>
                        <a:pt x="228" y="20"/>
                        <a:pt x="236" y="20"/>
                      </a:cubicBezTo>
                      <a:cubicBezTo>
                        <a:pt x="239" y="20"/>
                        <a:pt x="243" y="17"/>
                        <a:pt x="244" y="17"/>
                      </a:cubicBezTo>
                      <a:cubicBezTo>
                        <a:pt x="241" y="13"/>
                        <a:pt x="237" y="11"/>
                        <a:pt x="236" y="7"/>
                      </a:cubicBezTo>
                      <a:cubicBezTo>
                        <a:pt x="251" y="13"/>
                        <a:pt x="260" y="19"/>
                        <a:pt x="276" y="19"/>
                      </a:cubicBezTo>
                      <a:cubicBezTo>
                        <a:pt x="281" y="19"/>
                        <a:pt x="283" y="15"/>
                        <a:pt x="288" y="15"/>
                      </a:cubicBezTo>
                      <a:cubicBezTo>
                        <a:pt x="291" y="15"/>
                        <a:pt x="297" y="20"/>
                        <a:pt x="297" y="23"/>
                      </a:cubicBezTo>
                      <a:cubicBezTo>
                        <a:pt x="297" y="29"/>
                        <a:pt x="290" y="30"/>
                        <a:pt x="287" y="32"/>
                      </a:cubicBezTo>
                      <a:cubicBezTo>
                        <a:pt x="281" y="54"/>
                        <a:pt x="281" y="54"/>
                        <a:pt x="281" y="54"/>
                      </a:cubicBezTo>
                      <a:cubicBezTo>
                        <a:pt x="281" y="58"/>
                        <a:pt x="288" y="57"/>
                        <a:pt x="290" y="59"/>
                      </a:cubicBezTo>
                      <a:cubicBezTo>
                        <a:pt x="293" y="60"/>
                        <a:pt x="293" y="67"/>
                        <a:pt x="295" y="68"/>
                      </a:cubicBezTo>
                      <a:cubicBezTo>
                        <a:pt x="306" y="72"/>
                        <a:pt x="313" y="74"/>
                        <a:pt x="324" y="79"/>
                      </a:cubicBezTo>
                      <a:cubicBezTo>
                        <a:pt x="330" y="81"/>
                        <a:pt x="333" y="90"/>
                        <a:pt x="341" y="90"/>
                      </a:cubicBezTo>
                      <a:cubicBezTo>
                        <a:pt x="355" y="90"/>
                        <a:pt x="357" y="64"/>
                        <a:pt x="359" y="54"/>
                      </a:cubicBezTo>
                      <a:cubicBezTo>
                        <a:pt x="359" y="15"/>
                        <a:pt x="359" y="15"/>
                        <a:pt x="359" y="15"/>
                      </a:cubicBezTo>
                      <a:cubicBezTo>
                        <a:pt x="366" y="9"/>
                        <a:pt x="364" y="4"/>
                        <a:pt x="372" y="0"/>
                      </a:cubicBezTo>
                      <a:cubicBezTo>
                        <a:pt x="373" y="11"/>
                        <a:pt x="379" y="19"/>
                        <a:pt x="381" y="28"/>
                      </a:cubicBezTo>
                      <a:cubicBezTo>
                        <a:pt x="383" y="34"/>
                        <a:pt x="381" y="42"/>
                        <a:pt x="386" y="45"/>
                      </a:cubicBezTo>
                      <a:cubicBezTo>
                        <a:pt x="390" y="47"/>
                        <a:pt x="399" y="49"/>
                        <a:pt x="400" y="50"/>
                      </a:cubicBezTo>
                      <a:cubicBezTo>
                        <a:pt x="406" y="54"/>
                        <a:pt x="406" y="68"/>
                        <a:pt x="408" y="75"/>
                      </a:cubicBezTo>
                      <a:cubicBezTo>
                        <a:pt x="412" y="87"/>
                        <a:pt x="415" y="93"/>
                        <a:pt x="419" y="104"/>
                      </a:cubicBezTo>
                      <a:cubicBezTo>
                        <a:pt x="422" y="114"/>
                        <a:pt x="441" y="118"/>
                        <a:pt x="449" y="126"/>
                      </a:cubicBezTo>
                      <a:cubicBezTo>
                        <a:pt x="454" y="131"/>
                        <a:pt x="455" y="139"/>
                        <a:pt x="457" y="146"/>
                      </a:cubicBezTo>
                      <a:cubicBezTo>
                        <a:pt x="459" y="151"/>
                        <a:pt x="466" y="151"/>
                        <a:pt x="471" y="151"/>
                      </a:cubicBezTo>
                      <a:cubicBezTo>
                        <a:pt x="471" y="169"/>
                        <a:pt x="488" y="176"/>
                        <a:pt x="497" y="185"/>
                      </a:cubicBezTo>
                      <a:lnTo>
                        <a:pt x="496" y="186"/>
                      </a:ln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94" name="Полилиния 19">
                  <a:extLst>
                    <a:ext uri="{FF2B5EF4-FFF2-40B4-BE49-F238E27FC236}">
                      <a16:creationId xmlns:a16="http://schemas.microsoft.com/office/drawing/2014/main" xmlns="" id="{0FC6FCE6-669D-48FE-84E6-7FC887681E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43738" y="3598863"/>
                  <a:ext cx="127000" cy="125413"/>
                </a:xfrm>
                <a:custGeom>
                  <a:avLst/>
                  <a:gdLst/>
                  <a:ahLst/>
                  <a:cxnLst>
                    <a:cxn ang="0">
                      <a:pos x="58" y="26"/>
                    </a:cxn>
                    <a:cxn ang="0">
                      <a:pos x="59" y="22"/>
                    </a:cxn>
                    <a:cxn ang="0">
                      <a:pos x="67" y="17"/>
                    </a:cxn>
                    <a:cxn ang="0">
                      <a:pos x="67" y="14"/>
                    </a:cxn>
                    <a:cxn ang="0">
                      <a:pos x="78" y="0"/>
                    </a:cxn>
                    <a:cxn ang="0">
                      <a:pos x="81" y="4"/>
                    </a:cxn>
                    <a:cxn ang="0">
                      <a:pos x="83" y="10"/>
                    </a:cxn>
                    <a:cxn ang="0">
                      <a:pos x="90" y="6"/>
                    </a:cxn>
                    <a:cxn ang="0">
                      <a:pos x="94" y="8"/>
                    </a:cxn>
                    <a:cxn ang="0">
                      <a:pos x="96" y="15"/>
                    </a:cxn>
                    <a:cxn ang="0">
                      <a:pos x="79" y="37"/>
                    </a:cxn>
                    <a:cxn ang="0">
                      <a:pos x="79" y="50"/>
                    </a:cxn>
                    <a:cxn ang="0">
                      <a:pos x="63" y="53"/>
                    </a:cxn>
                    <a:cxn ang="0">
                      <a:pos x="49" y="84"/>
                    </a:cxn>
                    <a:cxn ang="0">
                      <a:pos x="32" y="94"/>
                    </a:cxn>
                    <a:cxn ang="0">
                      <a:pos x="23" y="92"/>
                    </a:cxn>
                    <a:cxn ang="0">
                      <a:pos x="3" y="83"/>
                    </a:cxn>
                    <a:cxn ang="0">
                      <a:pos x="0" y="81"/>
                    </a:cxn>
                    <a:cxn ang="0">
                      <a:pos x="18" y="57"/>
                    </a:cxn>
                    <a:cxn ang="0">
                      <a:pos x="25" y="51"/>
                    </a:cxn>
                    <a:cxn ang="0">
                      <a:pos x="50" y="37"/>
                    </a:cxn>
                    <a:cxn ang="0">
                      <a:pos x="58" y="26"/>
                    </a:cxn>
                  </a:cxnLst>
                  <a:rect l="0" t="0" r="r" b="b"/>
                  <a:pathLst>
                    <a:path w="96" h="94">
                      <a:moveTo>
                        <a:pt x="58" y="26"/>
                      </a:moveTo>
                      <a:cubicBezTo>
                        <a:pt x="58" y="26"/>
                        <a:pt x="58" y="23"/>
                        <a:pt x="59" y="22"/>
                      </a:cubicBezTo>
                      <a:cubicBezTo>
                        <a:pt x="60" y="18"/>
                        <a:pt x="63" y="17"/>
                        <a:pt x="67" y="17"/>
                      </a:cubicBezTo>
                      <a:cubicBezTo>
                        <a:pt x="67" y="16"/>
                        <a:pt x="67" y="15"/>
                        <a:pt x="67" y="14"/>
                      </a:cubicBezTo>
                      <a:cubicBezTo>
                        <a:pt x="67" y="8"/>
                        <a:pt x="74" y="2"/>
                        <a:pt x="78" y="0"/>
                      </a:cubicBezTo>
                      <a:cubicBezTo>
                        <a:pt x="78" y="3"/>
                        <a:pt x="79" y="4"/>
                        <a:pt x="81" y="4"/>
                      </a:cubicBezTo>
                      <a:cubicBezTo>
                        <a:pt x="81" y="7"/>
                        <a:pt x="80" y="10"/>
                        <a:pt x="83" y="10"/>
                      </a:cubicBezTo>
                      <a:cubicBezTo>
                        <a:pt x="86" y="10"/>
                        <a:pt x="88" y="7"/>
                        <a:pt x="90" y="6"/>
                      </a:cubicBezTo>
                      <a:cubicBezTo>
                        <a:pt x="91" y="8"/>
                        <a:pt x="92" y="8"/>
                        <a:pt x="94" y="8"/>
                      </a:cubicBezTo>
                      <a:cubicBezTo>
                        <a:pt x="94" y="12"/>
                        <a:pt x="94" y="14"/>
                        <a:pt x="96" y="15"/>
                      </a:cubicBezTo>
                      <a:cubicBezTo>
                        <a:pt x="95" y="21"/>
                        <a:pt x="86" y="37"/>
                        <a:pt x="79" y="37"/>
                      </a:cubicBezTo>
                      <a:cubicBezTo>
                        <a:pt x="78" y="43"/>
                        <a:pt x="80" y="45"/>
                        <a:pt x="79" y="50"/>
                      </a:cubicBezTo>
                      <a:cubicBezTo>
                        <a:pt x="77" y="50"/>
                        <a:pt x="66" y="53"/>
                        <a:pt x="63" y="53"/>
                      </a:cubicBezTo>
                      <a:cubicBezTo>
                        <a:pt x="61" y="58"/>
                        <a:pt x="49" y="84"/>
                        <a:pt x="49" y="84"/>
                      </a:cubicBezTo>
                      <a:cubicBezTo>
                        <a:pt x="45" y="88"/>
                        <a:pt x="37" y="94"/>
                        <a:pt x="32" y="94"/>
                      </a:cubicBezTo>
                      <a:cubicBezTo>
                        <a:pt x="30" y="94"/>
                        <a:pt x="25" y="92"/>
                        <a:pt x="23" y="92"/>
                      </a:cubicBezTo>
                      <a:cubicBezTo>
                        <a:pt x="20" y="92"/>
                        <a:pt x="3" y="85"/>
                        <a:pt x="3" y="83"/>
                      </a:cubicBezTo>
                      <a:cubicBezTo>
                        <a:pt x="2" y="83"/>
                        <a:pt x="0" y="82"/>
                        <a:pt x="0" y="81"/>
                      </a:cubicBezTo>
                      <a:cubicBezTo>
                        <a:pt x="0" y="70"/>
                        <a:pt x="14" y="64"/>
                        <a:pt x="18" y="57"/>
                      </a:cubicBezTo>
                      <a:cubicBezTo>
                        <a:pt x="20" y="54"/>
                        <a:pt x="22" y="51"/>
                        <a:pt x="25" y="51"/>
                      </a:cubicBezTo>
                      <a:cubicBezTo>
                        <a:pt x="36" y="51"/>
                        <a:pt x="42" y="40"/>
                        <a:pt x="50" y="37"/>
                      </a:cubicBezTo>
                      <a:cubicBezTo>
                        <a:pt x="52" y="36"/>
                        <a:pt x="58" y="26"/>
                        <a:pt x="58" y="26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95" name="Полилиния 20">
                  <a:extLst>
                    <a:ext uri="{FF2B5EF4-FFF2-40B4-BE49-F238E27FC236}">
                      <a16:creationId xmlns:a16="http://schemas.microsoft.com/office/drawing/2014/main" xmlns="" id="{2E9B85C3-9C1B-58E8-4429-74E3A6DB29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48513" y="3476625"/>
                  <a:ext cx="93663" cy="139700"/>
                </a:xfrm>
                <a:custGeom>
                  <a:avLst/>
                  <a:gdLst/>
                  <a:ahLst/>
                  <a:cxnLst>
                    <a:cxn ang="0">
                      <a:pos x="22" y="40"/>
                    </a:cxn>
                    <a:cxn ang="0">
                      <a:pos x="17" y="31"/>
                    </a:cxn>
                    <a:cxn ang="0">
                      <a:pos x="19" y="27"/>
                    </a:cxn>
                    <a:cxn ang="0">
                      <a:pos x="0" y="0"/>
                    </a:cxn>
                    <a:cxn ang="0">
                      <a:pos x="16" y="12"/>
                    </a:cxn>
                    <a:cxn ang="0">
                      <a:pos x="22" y="19"/>
                    </a:cxn>
                    <a:cxn ang="0">
                      <a:pos x="20" y="22"/>
                    </a:cxn>
                    <a:cxn ang="0">
                      <a:pos x="27" y="37"/>
                    </a:cxn>
                    <a:cxn ang="0">
                      <a:pos x="30" y="37"/>
                    </a:cxn>
                    <a:cxn ang="0">
                      <a:pos x="34" y="32"/>
                    </a:cxn>
                    <a:cxn ang="0">
                      <a:pos x="37" y="32"/>
                    </a:cxn>
                    <a:cxn ang="0">
                      <a:pos x="53" y="50"/>
                    </a:cxn>
                    <a:cxn ang="0">
                      <a:pos x="68" y="46"/>
                    </a:cxn>
                    <a:cxn ang="0">
                      <a:pos x="71" y="48"/>
                    </a:cxn>
                    <a:cxn ang="0">
                      <a:pos x="63" y="71"/>
                    </a:cxn>
                    <a:cxn ang="0">
                      <a:pos x="61" y="68"/>
                    </a:cxn>
                    <a:cxn ang="0">
                      <a:pos x="60" y="70"/>
                    </a:cxn>
                    <a:cxn ang="0">
                      <a:pos x="51" y="75"/>
                    </a:cxn>
                    <a:cxn ang="0">
                      <a:pos x="52" y="80"/>
                    </a:cxn>
                    <a:cxn ang="0">
                      <a:pos x="46" y="89"/>
                    </a:cxn>
                    <a:cxn ang="0">
                      <a:pos x="30" y="104"/>
                    </a:cxn>
                    <a:cxn ang="0">
                      <a:pos x="23" y="98"/>
                    </a:cxn>
                    <a:cxn ang="0">
                      <a:pos x="29" y="86"/>
                    </a:cxn>
                    <a:cxn ang="0">
                      <a:pos x="12" y="72"/>
                    </a:cxn>
                    <a:cxn ang="0">
                      <a:pos x="19" y="65"/>
                    </a:cxn>
                    <a:cxn ang="0">
                      <a:pos x="24" y="48"/>
                    </a:cxn>
                    <a:cxn ang="0">
                      <a:pos x="22" y="38"/>
                    </a:cxn>
                    <a:cxn ang="0">
                      <a:pos x="22" y="38"/>
                    </a:cxn>
                    <a:cxn ang="0">
                      <a:pos x="22" y="40"/>
                    </a:cxn>
                  </a:cxnLst>
                  <a:rect l="0" t="0" r="r" b="b"/>
                  <a:pathLst>
                    <a:path w="71" h="104">
                      <a:moveTo>
                        <a:pt x="22" y="40"/>
                      </a:moveTo>
                      <a:cubicBezTo>
                        <a:pt x="21" y="36"/>
                        <a:pt x="17" y="35"/>
                        <a:pt x="17" y="31"/>
                      </a:cubicBezTo>
                      <a:cubicBezTo>
                        <a:pt x="17" y="30"/>
                        <a:pt x="18" y="28"/>
                        <a:pt x="19" y="27"/>
                      </a:cubicBezTo>
                      <a:cubicBezTo>
                        <a:pt x="8" y="25"/>
                        <a:pt x="2" y="11"/>
                        <a:pt x="0" y="0"/>
                      </a:cubicBezTo>
                      <a:cubicBezTo>
                        <a:pt x="4" y="7"/>
                        <a:pt x="12" y="8"/>
                        <a:pt x="16" y="12"/>
                      </a:cubicBezTo>
                      <a:cubicBezTo>
                        <a:pt x="19" y="15"/>
                        <a:pt x="19" y="18"/>
                        <a:pt x="22" y="19"/>
                      </a:cubicBezTo>
                      <a:cubicBezTo>
                        <a:pt x="21" y="21"/>
                        <a:pt x="20" y="21"/>
                        <a:pt x="20" y="22"/>
                      </a:cubicBezTo>
                      <a:cubicBezTo>
                        <a:pt x="20" y="25"/>
                        <a:pt x="25" y="34"/>
                        <a:pt x="27" y="37"/>
                      </a:cubicBezTo>
                      <a:cubicBezTo>
                        <a:pt x="30" y="37"/>
                        <a:pt x="30" y="37"/>
                        <a:pt x="30" y="37"/>
                      </a:cubicBezTo>
                      <a:cubicBezTo>
                        <a:pt x="30" y="34"/>
                        <a:pt x="32" y="32"/>
                        <a:pt x="34" y="32"/>
                      </a:cubicBezTo>
                      <a:cubicBezTo>
                        <a:pt x="35" y="32"/>
                        <a:pt x="36" y="32"/>
                        <a:pt x="37" y="32"/>
                      </a:cubicBezTo>
                      <a:cubicBezTo>
                        <a:pt x="37" y="44"/>
                        <a:pt x="42" y="50"/>
                        <a:pt x="53" y="50"/>
                      </a:cubicBezTo>
                      <a:cubicBezTo>
                        <a:pt x="61" y="50"/>
                        <a:pt x="61" y="46"/>
                        <a:pt x="68" y="46"/>
                      </a:cubicBezTo>
                      <a:cubicBezTo>
                        <a:pt x="69" y="46"/>
                        <a:pt x="71" y="47"/>
                        <a:pt x="71" y="48"/>
                      </a:cubicBezTo>
                      <a:cubicBezTo>
                        <a:pt x="65" y="55"/>
                        <a:pt x="67" y="64"/>
                        <a:pt x="63" y="71"/>
                      </a:cubicBezTo>
                      <a:cubicBezTo>
                        <a:pt x="61" y="68"/>
                        <a:pt x="61" y="68"/>
                        <a:pt x="61" y="68"/>
                      </a:cubicBezTo>
                      <a:cubicBezTo>
                        <a:pt x="60" y="68"/>
                        <a:pt x="60" y="70"/>
                        <a:pt x="60" y="70"/>
                      </a:cubicBezTo>
                      <a:cubicBezTo>
                        <a:pt x="55" y="71"/>
                        <a:pt x="51" y="72"/>
                        <a:pt x="51" y="75"/>
                      </a:cubicBezTo>
                      <a:cubicBezTo>
                        <a:pt x="51" y="77"/>
                        <a:pt x="52" y="78"/>
                        <a:pt x="52" y="80"/>
                      </a:cubicBezTo>
                      <a:cubicBezTo>
                        <a:pt x="52" y="83"/>
                        <a:pt x="47" y="87"/>
                        <a:pt x="46" y="89"/>
                      </a:cubicBezTo>
                      <a:cubicBezTo>
                        <a:pt x="42" y="95"/>
                        <a:pt x="39" y="104"/>
                        <a:pt x="30" y="104"/>
                      </a:cubicBezTo>
                      <a:cubicBezTo>
                        <a:pt x="26" y="104"/>
                        <a:pt x="23" y="102"/>
                        <a:pt x="23" y="98"/>
                      </a:cubicBezTo>
                      <a:cubicBezTo>
                        <a:pt x="23" y="93"/>
                        <a:pt x="29" y="91"/>
                        <a:pt x="29" y="86"/>
                      </a:cubicBezTo>
                      <a:cubicBezTo>
                        <a:pt x="29" y="77"/>
                        <a:pt x="12" y="80"/>
                        <a:pt x="12" y="72"/>
                      </a:cubicBezTo>
                      <a:cubicBezTo>
                        <a:pt x="12" y="68"/>
                        <a:pt x="16" y="67"/>
                        <a:pt x="19" y="65"/>
                      </a:cubicBezTo>
                      <a:cubicBezTo>
                        <a:pt x="23" y="61"/>
                        <a:pt x="24" y="55"/>
                        <a:pt x="24" y="48"/>
                      </a:cubicBezTo>
                      <a:cubicBezTo>
                        <a:pt x="24" y="44"/>
                        <a:pt x="22" y="40"/>
                        <a:pt x="22" y="38"/>
                      </a:cubicBezTo>
                      <a:cubicBezTo>
                        <a:pt x="22" y="38"/>
                        <a:pt x="22" y="38"/>
                        <a:pt x="22" y="38"/>
                      </a:cubicBezTo>
                      <a:lnTo>
                        <a:pt x="22" y="40"/>
                      </a:ln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96" name="Полилиния 116">
                  <a:extLst>
                    <a:ext uri="{FF2B5EF4-FFF2-40B4-BE49-F238E27FC236}">
                      <a16:creationId xmlns:a16="http://schemas.microsoft.com/office/drawing/2014/main" xmlns="" id="{B37D2EE6-D2FE-D29C-6BB2-78F1F708DB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56413" y="3582988"/>
                  <a:ext cx="6350" cy="9525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7"/>
                    </a:cxn>
                    <a:cxn ang="0">
                      <a:pos x="0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7">
                      <a:moveTo>
                        <a:pt x="5" y="0"/>
                      </a:moveTo>
                      <a:cubicBezTo>
                        <a:pt x="5" y="4"/>
                        <a:pt x="4" y="5"/>
                        <a:pt x="4" y="7"/>
                      </a:cubicBezTo>
                      <a:cubicBezTo>
                        <a:pt x="0" y="6"/>
                        <a:pt x="0" y="3"/>
                        <a:pt x="0" y="0"/>
                      </a:cubicBezTo>
                      <a:cubicBezTo>
                        <a:pt x="2" y="0"/>
                        <a:pt x="4" y="0"/>
                        <a:pt x="5" y="0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97" name="Полилиния 117">
                  <a:extLst>
                    <a:ext uri="{FF2B5EF4-FFF2-40B4-BE49-F238E27FC236}">
                      <a16:creationId xmlns:a16="http://schemas.microsoft.com/office/drawing/2014/main" xmlns="" id="{70EF51B9-5630-55BE-F9BC-B62349DCBA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64325" y="3500438"/>
                  <a:ext cx="22225" cy="11113"/>
                </a:xfrm>
                <a:custGeom>
                  <a:avLst/>
                  <a:gdLst/>
                  <a:ahLst/>
                  <a:cxnLst>
                    <a:cxn ang="0">
                      <a:pos x="16" y="4"/>
                    </a:cxn>
                    <a:cxn ang="0">
                      <a:pos x="0" y="4"/>
                    </a:cxn>
                    <a:cxn ang="0">
                      <a:pos x="16" y="4"/>
                    </a:cxn>
                  </a:cxnLst>
                  <a:rect l="0" t="0" r="r" b="b"/>
                  <a:pathLst>
                    <a:path w="16" h="8">
                      <a:moveTo>
                        <a:pt x="16" y="4"/>
                      </a:moveTo>
                      <a:cubicBezTo>
                        <a:pt x="11" y="7"/>
                        <a:pt x="4" y="8"/>
                        <a:pt x="0" y="4"/>
                      </a:cubicBezTo>
                      <a:cubicBezTo>
                        <a:pt x="9" y="0"/>
                        <a:pt x="10" y="0"/>
                        <a:pt x="16" y="4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  <p:sp>
              <p:nvSpPr>
                <p:cNvPr id="198" name="Полилиния 118">
                  <a:extLst>
                    <a:ext uri="{FF2B5EF4-FFF2-40B4-BE49-F238E27FC236}">
                      <a16:creationId xmlns:a16="http://schemas.microsoft.com/office/drawing/2014/main" xmlns="" id="{71A9804C-A22F-EED9-CBDA-6C065B3A2F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556375" y="3065463"/>
                  <a:ext cx="22225" cy="9525"/>
                </a:xfrm>
                <a:custGeom>
                  <a:avLst/>
                  <a:gdLst/>
                  <a:ahLst/>
                  <a:cxnLst>
                    <a:cxn ang="0">
                      <a:pos x="17" y="1"/>
                    </a:cxn>
                    <a:cxn ang="0">
                      <a:pos x="17" y="7"/>
                    </a:cxn>
                    <a:cxn ang="0">
                      <a:pos x="13" y="7"/>
                    </a:cxn>
                    <a:cxn ang="0">
                      <a:pos x="0" y="3"/>
                    </a:cxn>
                    <a:cxn ang="0">
                      <a:pos x="17" y="1"/>
                    </a:cxn>
                  </a:cxnLst>
                  <a:rect l="0" t="0" r="r" b="b"/>
                  <a:pathLst>
                    <a:path w="17" h="7">
                      <a:moveTo>
                        <a:pt x="17" y="1"/>
                      </a:move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6" y="7"/>
                        <a:pt x="14" y="7"/>
                        <a:pt x="13" y="7"/>
                      </a:cubicBezTo>
                      <a:cubicBezTo>
                        <a:pt x="8" y="7"/>
                        <a:pt x="2" y="5"/>
                        <a:pt x="0" y="3"/>
                      </a:cubicBezTo>
                      <a:cubicBezTo>
                        <a:pt x="8" y="1"/>
                        <a:pt x="11" y="0"/>
                        <a:pt x="17" y="1"/>
                      </a:cubicBezTo>
                      <a:close/>
                    </a:path>
                  </a:pathLst>
                </a:custGeom>
                <a:grpFill/>
                <a:ln w="34925">
                  <a:noFill/>
                  <a:round/>
                  <a:headEnd/>
                  <a:tailEnd/>
                </a:ln>
              </p:spPr>
              <p:txBody>
                <a:bodyPr vert="horz" wrap="square" lIns="55721" tIns="27861" rIns="55721" bIns="27861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sz="1097" noProof="1">
                    <a:latin typeface="Roboto condensed"/>
                    <a:cs typeface="Roboto condensed"/>
                  </a:endParaRPr>
                </a:p>
              </p:txBody>
            </p:sp>
          </p:grpSp>
        </p:grpSp>
        <p:grpSp>
          <p:nvGrpSpPr>
            <p:cNvPr id="113" name="Группа 383">
              <a:extLst>
                <a:ext uri="{FF2B5EF4-FFF2-40B4-BE49-F238E27FC236}">
                  <a16:creationId xmlns:a16="http://schemas.microsoft.com/office/drawing/2014/main" xmlns="" id="{CC3D5F9E-FD18-DE1F-7D20-56A109033486}"/>
                </a:ext>
              </a:extLst>
            </p:cNvPr>
            <p:cNvGrpSpPr/>
            <p:nvPr/>
          </p:nvGrpSpPr>
          <p:grpSpPr>
            <a:xfrm>
              <a:off x="3584348" y="1207327"/>
              <a:ext cx="2773469" cy="1960289"/>
              <a:chOff x="4713288" y="1038225"/>
              <a:chExt cx="2847975" cy="2012950"/>
            </a:xfrm>
            <a:grpFill/>
          </p:grpSpPr>
          <p:sp>
            <p:nvSpPr>
              <p:cNvPr id="114" name="Полилиния 101">
                <a:extLst>
                  <a:ext uri="{FF2B5EF4-FFF2-40B4-BE49-F238E27FC236}">
                    <a16:creationId xmlns:a16="http://schemas.microsoft.com/office/drawing/2014/main" xmlns="" id="{6085A795-FF4D-8CD5-1384-CBC54E0FF3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8063" y="2127250"/>
                <a:ext cx="622300" cy="538163"/>
              </a:xfrm>
              <a:custGeom>
                <a:avLst/>
                <a:gdLst/>
                <a:ahLst/>
                <a:cxnLst>
                  <a:cxn ang="0">
                    <a:pos x="102" y="154"/>
                  </a:cxn>
                  <a:cxn ang="0">
                    <a:pos x="113" y="126"/>
                  </a:cxn>
                  <a:cxn ang="0">
                    <a:pos x="122" y="86"/>
                  </a:cxn>
                  <a:cxn ang="0">
                    <a:pos x="125" y="77"/>
                  </a:cxn>
                  <a:cxn ang="0">
                    <a:pos x="108" y="77"/>
                  </a:cxn>
                  <a:cxn ang="0">
                    <a:pos x="64" y="77"/>
                  </a:cxn>
                  <a:cxn ang="0">
                    <a:pos x="27" y="79"/>
                  </a:cxn>
                  <a:cxn ang="0">
                    <a:pos x="26" y="77"/>
                  </a:cxn>
                  <a:cxn ang="0">
                    <a:pos x="0" y="55"/>
                  </a:cxn>
                  <a:cxn ang="0">
                    <a:pos x="9" y="37"/>
                  </a:cxn>
                  <a:cxn ang="0">
                    <a:pos x="41" y="20"/>
                  </a:cxn>
                  <a:cxn ang="0">
                    <a:pos x="48" y="13"/>
                  </a:cxn>
                  <a:cxn ang="0">
                    <a:pos x="80" y="4"/>
                  </a:cxn>
                  <a:cxn ang="0">
                    <a:pos x="127" y="7"/>
                  </a:cxn>
                  <a:cxn ang="0">
                    <a:pos x="174" y="15"/>
                  </a:cxn>
                  <a:cxn ang="0">
                    <a:pos x="223" y="21"/>
                  </a:cxn>
                  <a:cxn ang="0">
                    <a:pos x="256" y="44"/>
                  </a:cxn>
                  <a:cxn ang="0">
                    <a:pos x="278" y="33"/>
                  </a:cxn>
                  <a:cxn ang="0">
                    <a:pos x="281" y="43"/>
                  </a:cxn>
                  <a:cxn ang="0">
                    <a:pos x="289" y="65"/>
                  </a:cxn>
                  <a:cxn ang="0">
                    <a:pos x="309" y="76"/>
                  </a:cxn>
                  <a:cxn ang="0">
                    <a:pos x="350" y="76"/>
                  </a:cxn>
                  <a:cxn ang="0">
                    <a:pos x="359" y="63"/>
                  </a:cxn>
                  <a:cxn ang="0">
                    <a:pos x="387" y="51"/>
                  </a:cxn>
                  <a:cxn ang="0">
                    <a:pos x="439" y="74"/>
                  </a:cxn>
                  <a:cxn ang="0">
                    <a:pos x="445" y="96"/>
                  </a:cxn>
                  <a:cxn ang="0">
                    <a:pos x="435" y="119"/>
                  </a:cxn>
                  <a:cxn ang="0">
                    <a:pos x="436" y="138"/>
                  </a:cxn>
                  <a:cxn ang="0">
                    <a:pos x="449" y="156"/>
                  </a:cxn>
                  <a:cxn ang="0">
                    <a:pos x="445" y="179"/>
                  </a:cxn>
                  <a:cxn ang="0">
                    <a:pos x="448" y="232"/>
                  </a:cxn>
                  <a:cxn ang="0">
                    <a:pos x="448" y="240"/>
                  </a:cxn>
                  <a:cxn ang="0">
                    <a:pos x="393" y="231"/>
                  </a:cxn>
                  <a:cxn ang="0">
                    <a:pos x="370" y="220"/>
                  </a:cxn>
                  <a:cxn ang="0">
                    <a:pos x="333" y="207"/>
                  </a:cxn>
                  <a:cxn ang="0">
                    <a:pos x="313" y="192"/>
                  </a:cxn>
                  <a:cxn ang="0">
                    <a:pos x="278" y="183"/>
                  </a:cxn>
                  <a:cxn ang="0">
                    <a:pos x="304" y="224"/>
                  </a:cxn>
                  <a:cxn ang="0">
                    <a:pos x="315" y="227"/>
                  </a:cxn>
                  <a:cxn ang="0">
                    <a:pos x="313" y="246"/>
                  </a:cxn>
                  <a:cxn ang="0">
                    <a:pos x="379" y="225"/>
                  </a:cxn>
                  <a:cxn ang="0">
                    <a:pos x="406" y="260"/>
                  </a:cxn>
                  <a:cxn ang="0">
                    <a:pos x="414" y="270"/>
                  </a:cxn>
                  <a:cxn ang="0">
                    <a:pos x="410" y="302"/>
                  </a:cxn>
                  <a:cxn ang="0">
                    <a:pos x="390" y="321"/>
                  </a:cxn>
                  <a:cxn ang="0">
                    <a:pos x="365" y="347"/>
                  </a:cxn>
                  <a:cxn ang="0">
                    <a:pos x="328" y="368"/>
                  </a:cxn>
                  <a:cxn ang="0">
                    <a:pos x="265" y="395"/>
                  </a:cxn>
                  <a:cxn ang="0">
                    <a:pos x="234" y="404"/>
                  </a:cxn>
                  <a:cxn ang="0">
                    <a:pos x="217" y="399"/>
                  </a:cxn>
                  <a:cxn ang="0">
                    <a:pos x="209" y="372"/>
                  </a:cxn>
                  <a:cxn ang="0">
                    <a:pos x="198" y="340"/>
                  </a:cxn>
                  <a:cxn ang="0">
                    <a:pos x="162" y="280"/>
                  </a:cxn>
                  <a:cxn ang="0">
                    <a:pos x="154" y="259"/>
                  </a:cxn>
                  <a:cxn ang="0">
                    <a:pos x="140" y="251"/>
                  </a:cxn>
                  <a:cxn ang="0">
                    <a:pos x="131" y="229"/>
                  </a:cxn>
                  <a:cxn ang="0">
                    <a:pos x="109" y="196"/>
                  </a:cxn>
                  <a:cxn ang="0">
                    <a:pos x="112" y="177"/>
                  </a:cxn>
                </a:cxnLst>
                <a:rect l="0" t="0" r="r" b="b"/>
                <a:pathLst>
                  <a:path w="467" h="405">
                    <a:moveTo>
                      <a:pt x="112" y="177"/>
                    </a:moveTo>
                    <a:cubicBezTo>
                      <a:pt x="102" y="154"/>
                      <a:pt x="102" y="154"/>
                      <a:pt x="102" y="154"/>
                    </a:cubicBezTo>
                    <a:cubicBezTo>
                      <a:pt x="102" y="151"/>
                      <a:pt x="105" y="151"/>
                      <a:pt x="106" y="149"/>
                    </a:cubicBezTo>
                    <a:cubicBezTo>
                      <a:pt x="109" y="139"/>
                      <a:pt x="110" y="134"/>
                      <a:pt x="113" y="126"/>
                    </a:cubicBezTo>
                    <a:cubicBezTo>
                      <a:pt x="115" y="117"/>
                      <a:pt x="124" y="115"/>
                      <a:pt x="124" y="104"/>
                    </a:cubicBezTo>
                    <a:cubicBezTo>
                      <a:pt x="124" y="97"/>
                      <a:pt x="122" y="91"/>
                      <a:pt x="122" y="86"/>
                    </a:cubicBezTo>
                    <a:cubicBezTo>
                      <a:pt x="122" y="83"/>
                      <a:pt x="124" y="82"/>
                      <a:pt x="125" y="81"/>
                    </a:cubicBezTo>
                    <a:cubicBezTo>
                      <a:pt x="125" y="77"/>
                      <a:pt x="125" y="77"/>
                      <a:pt x="125" y="77"/>
                    </a:cubicBezTo>
                    <a:cubicBezTo>
                      <a:pt x="121" y="78"/>
                      <a:pt x="120" y="81"/>
                      <a:pt x="117" y="81"/>
                    </a:cubicBezTo>
                    <a:cubicBezTo>
                      <a:pt x="112" y="81"/>
                      <a:pt x="110" y="79"/>
                      <a:pt x="108" y="77"/>
                    </a:cubicBezTo>
                    <a:cubicBezTo>
                      <a:pt x="101" y="82"/>
                      <a:pt x="98" y="88"/>
                      <a:pt x="86" y="88"/>
                    </a:cubicBezTo>
                    <a:cubicBezTo>
                      <a:pt x="76" y="88"/>
                      <a:pt x="73" y="77"/>
                      <a:pt x="64" y="77"/>
                    </a:cubicBezTo>
                    <a:cubicBezTo>
                      <a:pt x="54" y="77"/>
                      <a:pt x="56" y="87"/>
                      <a:pt x="48" y="87"/>
                    </a:cubicBezTo>
                    <a:cubicBezTo>
                      <a:pt x="40" y="87"/>
                      <a:pt x="35" y="75"/>
                      <a:pt x="27" y="79"/>
                    </a:cubicBezTo>
                    <a:cubicBezTo>
                      <a:pt x="22" y="79"/>
                      <a:pt x="22" y="79"/>
                      <a:pt x="22" y="79"/>
                    </a:cubicBezTo>
                    <a:cubicBezTo>
                      <a:pt x="24" y="79"/>
                      <a:pt x="25" y="78"/>
                      <a:pt x="26" y="77"/>
                    </a:cubicBezTo>
                    <a:cubicBezTo>
                      <a:pt x="23" y="74"/>
                      <a:pt x="10" y="67"/>
                      <a:pt x="15" y="63"/>
                    </a:cubicBezTo>
                    <a:cubicBezTo>
                      <a:pt x="11" y="57"/>
                      <a:pt x="6" y="58"/>
                      <a:pt x="0" y="55"/>
                    </a:cubicBezTo>
                    <a:cubicBezTo>
                      <a:pt x="4" y="50"/>
                      <a:pt x="9" y="51"/>
                      <a:pt x="9" y="43"/>
                    </a:cubicBezTo>
                    <a:cubicBezTo>
                      <a:pt x="9" y="40"/>
                      <a:pt x="8" y="40"/>
                      <a:pt x="9" y="37"/>
                    </a:cubicBezTo>
                    <a:cubicBezTo>
                      <a:pt x="6" y="37"/>
                      <a:pt x="1" y="38"/>
                      <a:pt x="1" y="35"/>
                    </a:cubicBezTo>
                    <a:cubicBezTo>
                      <a:pt x="1" y="22"/>
                      <a:pt x="33" y="24"/>
                      <a:pt x="41" y="20"/>
                    </a:cubicBezTo>
                    <a:cubicBezTo>
                      <a:pt x="40" y="17"/>
                      <a:pt x="38" y="18"/>
                      <a:pt x="38" y="15"/>
                    </a:cubicBezTo>
                    <a:cubicBezTo>
                      <a:pt x="38" y="11"/>
                      <a:pt x="46" y="13"/>
                      <a:pt x="48" y="13"/>
                    </a:cubicBezTo>
                    <a:cubicBezTo>
                      <a:pt x="53" y="13"/>
                      <a:pt x="62" y="13"/>
                      <a:pt x="62" y="13"/>
                    </a:cubicBezTo>
                    <a:cubicBezTo>
                      <a:pt x="67" y="13"/>
                      <a:pt x="75" y="7"/>
                      <a:pt x="80" y="4"/>
                    </a:cubicBezTo>
                    <a:cubicBezTo>
                      <a:pt x="86" y="0"/>
                      <a:pt x="98" y="0"/>
                      <a:pt x="106" y="0"/>
                    </a:cubicBezTo>
                    <a:cubicBezTo>
                      <a:pt x="117" y="0"/>
                      <a:pt x="117" y="7"/>
                      <a:pt x="127" y="7"/>
                    </a:cubicBezTo>
                    <a:cubicBezTo>
                      <a:pt x="127" y="12"/>
                      <a:pt x="144" y="15"/>
                      <a:pt x="149" y="15"/>
                    </a:cubicBezTo>
                    <a:cubicBezTo>
                      <a:pt x="162" y="15"/>
                      <a:pt x="170" y="15"/>
                      <a:pt x="174" y="15"/>
                    </a:cubicBezTo>
                    <a:cubicBezTo>
                      <a:pt x="186" y="15"/>
                      <a:pt x="192" y="3"/>
                      <a:pt x="205" y="3"/>
                    </a:cubicBezTo>
                    <a:cubicBezTo>
                      <a:pt x="219" y="3"/>
                      <a:pt x="218" y="12"/>
                      <a:pt x="223" y="21"/>
                    </a:cubicBezTo>
                    <a:cubicBezTo>
                      <a:pt x="224" y="23"/>
                      <a:pt x="233" y="28"/>
                      <a:pt x="233" y="28"/>
                    </a:cubicBezTo>
                    <a:cubicBezTo>
                      <a:pt x="241" y="31"/>
                      <a:pt x="243" y="44"/>
                      <a:pt x="256" y="44"/>
                    </a:cubicBezTo>
                    <a:cubicBezTo>
                      <a:pt x="265" y="44"/>
                      <a:pt x="265" y="36"/>
                      <a:pt x="271" y="34"/>
                    </a:cubicBezTo>
                    <a:cubicBezTo>
                      <a:pt x="275" y="33"/>
                      <a:pt x="274" y="33"/>
                      <a:pt x="278" y="33"/>
                    </a:cubicBezTo>
                    <a:cubicBezTo>
                      <a:pt x="279" y="35"/>
                      <a:pt x="279" y="39"/>
                      <a:pt x="281" y="41"/>
                    </a:cubicBezTo>
                    <a:cubicBezTo>
                      <a:pt x="280" y="41"/>
                      <a:pt x="281" y="42"/>
                      <a:pt x="281" y="43"/>
                    </a:cubicBezTo>
                    <a:cubicBezTo>
                      <a:pt x="281" y="48"/>
                      <a:pt x="284" y="47"/>
                      <a:pt x="286" y="51"/>
                    </a:cubicBezTo>
                    <a:cubicBezTo>
                      <a:pt x="290" y="56"/>
                      <a:pt x="286" y="59"/>
                      <a:pt x="289" y="65"/>
                    </a:cubicBezTo>
                    <a:cubicBezTo>
                      <a:pt x="291" y="70"/>
                      <a:pt x="297" y="67"/>
                      <a:pt x="301" y="68"/>
                    </a:cubicBezTo>
                    <a:cubicBezTo>
                      <a:pt x="305" y="69"/>
                      <a:pt x="306" y="73"/>
                      <a:pt x="309" y="76"/>
                    </a:cubicBezTo>
                    <a:cubicBezTo>
                      <a:pt x="312" y="79"/>
                      <a:pt x="323" y="78"/>
                      <a:pt x="329" y="78"/>
                    </a:cubicBezTo>
                    <a:cubicBezTo>
                      <a:pt x="337" y="78"/>
                      <a:pt x="345" y="77"/>
                      <a:pt x="350" y="76"/>
                    </a:cubicBezTo>
                    <a:cubicBezTo>
                      <a:pt x="350" y="72"/>
                      <a:pt x="350" y="71"/>
                      <a:pt x="350" y="68"/>
                    </a:cubicBezTo>
                    <a:cubicBezTo>
                      <a:pt x="350" y="64"/>
                      <a:pt x="355" y="64"/>
                      <a:pt x="359" y="63"/>
                    </a:cubicBezTo>
                    <a:cubicBezTo>
                      <a:pt x="364" y="61"/>
                      <a:pt x="363" y="59"/>
                      <a:pt x="368" y="57"/>
                    </a:cubicBezTo>
                    <a:cubicBezTo>
                      <a:pt x="376" y="54"/>
                      <a:pt x="381" y="56"/>
                      <a:pt x="387" y="51"/>
                    </a:cubicBezTo>
                    <a:cubicBezTo>
                      <a:pt x="397" y="57"/>
                      <a:pt x="403" y="57"/>
                      <a:pt x="412" y="60"/>
                    </a:cubicBezTo>
                    <a:cubicBezTo>
                      <a:pt x="423" y="64"/>
                      <a:pt x="426" y="74"/>
                      <a:pt x="439" y="74"/>
                    </a:cubicBezTo>
                    <a:cubicBezTo>
                      <a:pt x="439" y="76"/>
                      <a:pt x="442" y="77"/>
                      <a:pt x="443" y="79"/>
                    </a:cubicBezTo>
                    <a:cubicBezTo>
                      <a:pt x="445" y="86"/>
                      <a:pt x="442" y="92"/>
                      <a:pt x="445" y="96"/>
                    </a:cubicBezTo>
                    <a:cubicBezTo>
                      <a:pt x="442" y="98"/>
                      <a:pt x="435" y="114"/>
                      <a:pt x="435" y="115"/>
                    </a:cubicBezTo>
                    <a:cubicBezTo>
                      <a:pt x="435" y="116"/>
                      <a:pt x="436" y="118"/>
                      <a:pt x="435" y="119"/>
                    </a:cubicBezTo>
                    <a:cubicBezTo>
                      <a:pt x="436" y="121"/>
                      <a:pt x="435" y="122"/>
                      <a:pt x="436" y="124"/>
                    </a:cubicBezTo>
                    <a:cubicBezTo>
                      <a:pt x="436" y="138"/>
                      <a:pt x="436" y="138"/>
                      <a:pt x="436" y="138"/>
                    </a:cubicBezTo>
                    <a:cubicBezTo>
                      <a:pt x="438" y="142"/>
                      <a:pt x="437" y="145"/>
                      <a:pt x="439" y="149"/>
                    </a:cubicBezTo>
                    <a:cubicBezTo>
                      <a:pt x="440" y="153"/>
                      <a:pt x="449" y="149"/>
                      <a:pt x="449" y="156"/>
                    </a:cubicBezTo>
                    <a:cubicBezTo>
                      <a:pt x="449" y="165"/>
                      <a:pt x="439" y="164"/>
                      <a:pt x="439" y="171"/>
                    </a:cubicBezTo>
                    <a:cubicBezTo>
                      <a:pt x="439" y="177"/>
                      <a:pt x="443" y="177"/>
                      <a:pt x="445" y="179"/>
                    </a:cubicBezTo>
                    <a:cubicBezTo>
                      <a:pt x="452" y="194"/>
                      <a:pt x="467" y="196"/>
                      <a:pt x="467" y="215"/>
                    </a:cubicBezTo>
                    <a:cubicBezTo>
                      <a:pt x="456" y="218"/>
                      <a:pt x="448" y="220"/>
                      <a:pt x="448" y="232"/>
                    </a:cubicBezTo>
                    <a:cubicBezTo>
                      <a:pt x="448" y="235"/>
                      <a:pt x="450" y="238"/>
                      <a:pt x="450" y="240"/>
                    </a:cubicBezTo>
                    <a:cubicBezTo>
                      <a:pt x="450" y="240"/>
                      <a:pt x="448" y="240"/>
                      <a:pt x="448" y="240"/>
                    </a:cubicBezTo>
                    <a:cubicBezTo>
                      <a:pt x="439" y="240"/>
                      <a:pt x="420" y="235"/>
                      <a:pt x="408" y="235"/>
                    </a:cubicBezTo>
                    <a:cubicBezTo>
                      <a:pt x="406" y="235"/>
                      <a:pt x="393" y="231"/>
                      <a:pt x="393" y="231"/>
                    </a:cubicBezTo>
                    <a:cubicBezTo>
                      <a:pt x="388" y="226"/>
                      <a:pt x="388" y="213"/>
                      <a:pt x="379" y="213"/>
                    </a:cubicBezTo>
                    <a:cubicBezTo>
                      <a:pt x="374" y="213"/>
                      <a:pt x="372" y="217"/>
                      <a:pt x="370" y="220"/>
                    </a:cubicBezTo>
                    <a:cubicBezTo>
                      <a:pt x="348" y="220"/>
                      <a:pt x="348" y="220"/>
                      <a:pt x="348" y="220"/>
                    </a:cubicBezTo>
                    <a:cubicBezTo>
                      <a:pt x="341" y="217"/>
                      <a:pt x="337" y="212"/>
                      <a:pt x="333" y="207"/>
                    </a:cubicBezTo>
                    <a:cubicBezTo>
                      <a:pt x="327" y="202"/>
                      <a:pt x="320" y="205"/>
                      <a:pt x="315" y="200"/>
                    </a:cubicBezTo>
                    <a:cubicBezTo>
                      <a:pt x="313" y="197"/>
                      <a:pt x="314" y="194"/>
                      <a:pt x="313" y="192"/>
                    </a:cubicBezTo>
                    <a:cubicBezTo>
                      <a:pt x="308" y="182"/>
                      <a:pt x="299" y="168"/>
                      <a:pt x="286" y="168"/>
                    </a:cubicBezTo>
                    <a:cubicBezTo>
                      <a:pt x="280" y="168"/>
                      <a:pt x="278" y="176"/>
                      <a:pt x="278" y="183"/>
                    </a:cubicBezTo>
                    <a:cubicBezTo>
                      <a:pt x="278" y="187"/>
                      <a:pt x="278" y="189"/>
                      <a:pt x="278" y="193"/>
                    </a:cubicBezTo>
                    <a:cubicBezTo>
                      <a:pt x="281" y="203"/>
                      <a:pt x="293" y="222"/>
                      <a:pt x="304" y="224"/>
                    </a:cubicBezTo>
                    <a:cubicBezTo>
                      <a:pt x="304" y="229"/>
                      <a:pt x="306" y="231"/>
                      <a:pt x="307" y="235"/>
                    </a:cubicBezTo>
                    <a:cubicBezTo>
                      <a:pt x="312" y="233"/>
                      <a:pt x="311" y="228"/>
                      <a:pt x="315" y="227"/>
                    </a:cubicBezTo>
                    <a:cubicBezTo>
                      <a:pt x="316" y="228"/>
                      <a:pt x="316" y="230"/>
                      <a:pt x="316" y="231"/>
                    </a:cubicBezTo>
                    <a:cubicBezTo>
                      <a:pt x="316" y="237"/>
                      <a:pt x="313" y="240"/>
                      <a:pt x="313" y="246"/>
                    </a:cubicBezTo>
                    <a:cubicBezTo>
                      <a:pt x="313" y="252"/>
                      <a:pt x="324" y="255"/>
                      <a:pt x="331" y="255"/>
                    </a:cubicBezTo>
                    <a:cubicBezTo>
                      <a:pt x="360" y="255"/>
                      <a:pt x="363" y="237"/>
                      <a:pt x="379" y="225"/>
                    </a:cubicBezTo>
                    <a:cubicBezTo>
                      <a:pt x="379" y="241"/>
                      <a:pt x="379" y="241"/>
                      <a:pt x="379" y="241"/>
                    </a:cubicBezTo>
                    <a:cubicBezTo>
                      <a:pt x="385" y="254"/>
                      <a:pt x="393" y="256"/>
                      <a:pt x="406" y="260"/>
                    </a:cubicBezTo>
                    <a:cubicBezTo>
                      <a:pt x="411" y="261"/>
                      <a:pt x="411" y="269"/>
                      <a:pt x="414" y="271"/>
                    </a:cubicBezTo>
                    <a:cubicBezTo>
                      <a:pt x="414" y="270"/>
                      <a:pt x="414" y="270"/>
                      <a:pt x="414" y="270"/>
                    </a:cubicBezTo>
                    <a:cubicBezTo>
                      <a:pt x="416" y="274"/>
                      <a:pt x="423" y="273"/>
                      <a:pt x="423" y="277"/>
                    </a:cubicBezTo>
                    <a:cubicBezTo>
                      <a:pt x="423" y="288"/>
                      <a:pt x="410" y="291"/>
                      <a:pt x="410" y="302"/>
                    </a:cubicBezTo>
                    <a:cubicBezTo>
                      <a:pt x="403" y="302"/>
                      <a:pt x="399" y="303"/>
                      <a:pt x="397" y="309"/>
                    </a:cubicBezTo>
                    <a:cubicBezTo>
                      <a:pt x="395" y="314"/>
                      <a:pt x="396" y="321"/>
                      <a:pt x="390" y="321"/>
                    </a:cubicBezTo>
                    <a:cubicBezTo>
                      <a:pt x="384" y="321"/>
                      <a:pt x="384" y="334"/>
                      <a:pt x="378" y="334"/>
                    </a:cubicBezTo>
                    <a:cubicBezTo>
                      <a:pt x="374" y="334"/>
                      <a:pt x="365" y="342"/>
                      <a:pt x="365" y="347"/>
                    </a:cubicBezTo>
                    <a:cubicBezTo>
                      <a:pt x="353" y="349"/>
                      <a:pt x="327" y="354"/>
                      <a:pt x="327" y="364"/>
                    </a:cubicBezTo>
                    <a:cubicBezTo>
                      <a:pt x="327" y="365"/>
                      <a:pt x="327" y="367"/>
                      <a:pt x="328" y="368"/>
                    </a:cubicBezTo>
                    <a:cubicBezTo>
                      <a:pt x="318" y="373"/>
                      <a:pt x="304" y="376"/>
                      <a:pt x="294" y="378"/>
                    </a:cubicBezTo>
                    <a:cubicBezTo>
                      <a:pt x="289" y="380"/>
                      <a:pt x="271" y="392"/>
                      <a:pt x="265" y="395"/>
                    </a:cubicBezTo>
                    <a:cubicBezTo>
                      <a:pt x="252" y="395"/>
                      <a:pt x="252" y="395"/>
                      <a:pt x="252" y="395"/>
                    </a:cubicBezTo>
                    <a:cubicBezTo>
                      <a:pt x="244" y="400"/>
                      <a:pt x="243" y="404"/>
                      <a:pt x="234" y="404"/>
                    </a:cubicBezTo>
                    <a:cubicBezTo>
                      <a:pt x="231" y="405"/>
                      <a:pt x="231" y="405"/>
                      <a:pt x="231" y="405"/>
                    </a:cubicBezTo>
                    <a:cubicBezTo>
                      <a:pt x="229" y="405"/>
                      <a:pt x="218" y="400"/>
                      <a:pt x="217" y="399"/>
                    </a:cubicBezTo>
                    <a:cubicBezTo>
                      <a:pt x="216" y="399"/>
                      <a:pt x="219" y="399"/>
                      <a:pt x="217" y="394"/>
                    </a:cubicBezTo>
                    <a:cubicBezTo>
                      <a:pt x="212" y="387"/>
                      <a:pt x="209" y="380"/>
                      <a:pt x="209" y="372"/>
                    </a:cubicBezTo>
                    <a:cubicBezTo>
                      <a:pt x="204" y="371"/>
                      <a:pt x="207" y="363"/>
                      <a:pt x="208" y="359"/>
                    </a:cubicBezTo>
                    <a:cubicBezTo>
                      <a:pt x="210" y="349"/>
                      <a:pt x="203" y="345"/>
                      <a:pt x="198" y="340"/>
                    </a:cubicBezTo>
                    <a:cubicBezTo>
                      <a:pt x="193" y="335"/>
                      <a:pt x="181" y="320"/>
                      <a:pt x="181" y="309"/>
                    </a:cubicBezTo>
                    <a:cubicBezTo>
                      <a:pt x="165" y="306"/>
                      <a:pt x="162" y="297"/>
                      <a:pt x="162" y="280"/>
                    </a:cubicBezTo>
                    <a:cubicBezTo>
                      <a:pt x="162" y="270"/>
                      <a:pt x="156" y="268"/>
                      <a:pt x="154" y="259"/>
                    </a:cubicBezTo>
                    <a:cubicBezTo>
                      <a:pt x="154" y="259"/>
                      <a:pt x="154" y="259"/>
                      <a:pt x="154" y="259"/>
                    </a:cubicBezTo>
                    <a:cubicBezTo>
                      <a:pt x="152" y="258"/>
                      <a:pt x="150" y="255"/>
                      <a:pt x="148" y="254"/>
                    </a:cubicBezTo>
                    <a:cubicBezTo>
                      <a:pt x="147" y="252"/>
                      <a:pt x="141" y="253"/>
                      <a:pt x="140" y="251"/>
                    </a:cubicBezTo>
                    <a:cubicBezTo>
                      <a:pt x="137" y="249"/>
                      <a:pt x="138" y="242"/>
                      <a:pt x="137" y="239"/>
                    </a:cubicBezTo>
                    <a:cubicBezTo>
                      <a:pt x="136" y="235"/>
                      <a:pt x="132" y="231"/>
                      <a:pt x="131" y="229"/>
                    </a:cubicBezTo>
                    <a:cubicBezTo>
                      <a:pt x="125" y="221"/>
                      <a:pt x="121" y="214"/>
                      <a:pt x="116" y="207"/>
                    </a:cubicBezTo>
                    <a:cubicBezTo>
                      <a:pt x="115" y="205"/>
                      <a:pt x="109" y="198"/>
                      <a:pt x="109" y="196"/>
                    </a:cubicBezTo>
                    <a:cubicBezTo>
                      <a:pt x="109" y="192"/>
                      <a:pt x="112" y="182"/>
                      <a:pt x="112" y="175"/>
                    </a:cubicBezTo>
                    <a:lnTo>
                      <a:pt x="112" y="177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15" name="Полилиния 102">
                <a:extLst>
                  <a:ext uri="{FF2B5EF4-FFF2-40B4-BE49-F238E27FC236}">
                    <a16:creationId xmlns:a16="http://schemas.microsoft.com/office/drawing/2014/main" xmlns="" id="{0C690BCF-CF95-78A7-4F46-59514A25B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2714625"/>
                <a:ext cx="33338" cy="63500"/>
              </a:xfrm>
              <a:custGeom>
                <a:avLst/>
                <a:gdLst/>
                <a:ahLst/>
                <a:cxnLst>
                  <a:cxn ang="0">
                    <a:pos x="25" y="30"/>
                  </a:cxn>
                  <a:cxn ang="0">
                    <a:pos x="11" y="48"/>
                  </a:cxn>
                  <a:cxn ang="0">
                    <a:pos x="0" y="35"/>
                  </a:cxn>
                  <a:cxn ang="0">
                    <a:pos x="6" y="0"/>
                  </a:cxn>
                  <a:cxn ang="0">
                    <a:pos x="25" y="30"/>
                  </a:cxn>
                </a:cxnLst>
                <a:rect l="0" t="0" r="r" b="b"/>
                <a:pathLst>
                  <a:path w="25" h="48">
                    <a:moveTo>
                      <a:pt x="25" y="30"/>
                    </a:moveTo>
                    <a:cubicBezTo>
                      <a:pt x="25" y="37"/>
                      <a:pt x="20" y="48"/>
                      <a:pt x="11" y="48"/>
                    </a:cubicBezTo>
                    <a:cubicBezTo>
                      <a:pt x="5" y="48"/>
                      <a:pt x="0" y="41"/>
                      <a:pt x="0" y="35"/>
                    </a:cubicBezTo>
                    <a:cubicBezTo>
                      <a:pt x="0" y="22"/>
                      <a:pt x="6" y="13"/>
                      <a:pt x="6" y="0"/>
                    </a:cubicBezTo>
                    <a:cubicBezTo>
                      <a:pt x="13" y="10"/>
                      <a:pt x="25" y="15"/>
                      <a:pt x="25" y="3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16" name="Полилиния 103">
                <a:extLst>
                  <a:ext uri="{FF2B5EF4-FFF2-40B4-BE49-F238E27FC236}">
                    <a16:creationId xmlns:a16="http://schemas.microsoft.com/office/drawing/2014/main" xmlns="" id="{4AB704FD-C06E-400B-C11E-6B4CF9DA4C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7500" y="2195513"/>
                <a:ext cx="677863" cy="544513"/>
              </a:xfrm>
              <a:custGeom>
                <a:avLst/>
                <a:gdLst/>
                <a:ahLst/>
                <a:cxnLst>
                  <a:cxn ang="0">
                    <a:pos x="148" y="270"/>
                  </a:cxn>
                  <a:cxn ang="0">
                    <a:pos x="174" y="340"/>
                  </a:cxn>
                  <a:cxn ang="0">
                    <a:pos x="200" y="401"/>
                  </a:cxn>
                  <a:cxn ang="0">
                    <a:pos x="216" y="401"/>
                  </a:cxn>
                  <a:cxn ang="0">
                    <a:pos x="237" y="379"/>
                  </a:cxn>
                  <a:cxn ang="0">
                    <a:pos x="243" y="341"/>
                  </a:cxn>
                  <a:cxn ang="0">
                    <a:pos x="268" y="298"/>
                  </a:cxn>
                  <a:cxn ang="0">
                    <a:pos x="326" y="240"/>
                  </a:cxn>
                  <a:cxn ang="0">
                    <a:pos x="374" y="218"/>
                  </a:cxn>
                  <a:cxn ang="0">
                    <a:pos x="409" y="259"/>
                  </a:cxn>
                  <a:cxn ang="0">
                    <a:pos x="423" y="302"/>
                  </a:cxn>
                  <a:cxn ang="0">
                    <a:pos x="457" y="300"/>
                  </a:cxn>
                  <a:cxn ang="0">
                    <a:pos x="476" y="367"/>
                  </a:cxn>
                  <a:cxn ang="0">
                    <a:pos x="489" y="358"/>
                  </a:cxn>
                  <a:cxn ang="0">
                    <a:pos x="472" y="316"/>
                  </a:cxn>
                  <a:cxn ang="0">
                    <a:pos x="473" y="288"/>
                  </a:cxn>
                  <a:cxn ang="0">
                    <a:pos x="483" y="254"/>
                  </a:cxn>
                  <a:cxn ang="0">
                    <a:pos x="487" y="213"/>
                  </a:cxn>
                  <a:cxn ang="0">
                    <a:pos x="467" y="197"/>
                  </a:cxn>
                  <a:cxn ang="0">
                    <a:pos x="445" y="125"/>
                  </a:cxn>
                  <a:cxn ang="0">
                    <a:pos x="423" y="130"/>
                  </a:cxn>
                  <a:cxn ang="0">
                    <a:pos x="373" y="144"/>
                  </a:cxn>
                  <a:cxn ang="0">
                    <a:pos x="341" y="147"/>
                  </a:cxn>
                  <a:cxn ang="0">
                    <a:pos x="295" y="136"/>
                  </a:cxn>
                  <a:cxn ang="0">
                    <a:pos x="254" y="116"/>
                  </a:cxn>
                  <a:cxn ang="0">
                    <a:pos x="226" y="89"/>
                  </a:cxn>
                  <a:cxn ang="0">
                    <a:pos x="229" y="69"/>
                  </a:cxn>
                  <a:cxn ang="0">
                    <a:pos x="213" y="43"/>
                  </a:cxn>
                  <a:cxn ang="0">
                    <a:pos x="178" y="16"/>
                  </a:cxn>
                  <a:cxn ang="0">
                    <a:pos x="131" y="0"/>
                  </a:cxn>
                  <a:cxn ang="0">
                    <a:pos x="94" y="21"/>
                  </a:cxn>
                  <a:cxn ang="0">
                    <a:pos x="65" y="13"/>
                  </a:cxn>
                  <a:cxn ang="0">
                    <a:pos x="23" y="46"/>
                  </a:cxn>
                  <a:cxn ang="0">
                    <a:pos x="0" y="64"/>
                  </a:cxn>
                  <a:cxn ang="0">
                    <a:pos x="1" y="87"/>
                  </a:cxn>
                  <a:cxn ang="0">
                    <a:pos x="4" y="120"/>
                  </a:cxn>
                  <a:cxn ang="0">
                    <a:pos x="13" y="181"/>
                  </a:cxn>
                  <a:cxn ang="0">
                    <a:pos x="34" y="185"/>
                  </a:cxn>
                  <a:cxn ang="0">
                    <a:pos x="70" y="185"/>
                  </a:cxn>
                  <a:cxn ang="0">
                    <a:pos x="118" y="219"/>
                  </a:cxn>
                  <a:cxn ang="0">
                    <a:pos x="127" y="248"/>
                  </a:cxn>
                  <a:cxn ang="0">
                    <a:pos x="145" y="233"/>
                  </a:cxn>
                  <a:cxn ang="0">
                    <a:pos x="149" y="265"/>
                  </a:cxn>
                </a:cxnLst>
                <a:rect l="0" t="0" r="r" b="b"/>
                <a:pathLst>
                  <a:path w="509" h="410">
                    <a:moveTo>
                      <a:pt x="149" y="265"/>
                    </a:moveTo>
                    <a:cubicBezTo>
                      <a:pt x="147" y="263"/>
                      <a:pt x="147" y="263"/>
                      <a:pt x="147" y="263"/>
                    </a:cubicBezTo>
                    <a:cubicBezTo>
                      <a:pt x="147" y="265"/>
                      <a:pt x="148" y="268"/>
                      <a:pt x="148" y="270"/>
                    </a:cubicBezTo>
                    <a:cubicBezTo>
                      <a:pt x="148" y="278"/>
                      <a:pt x="153" y="286"/>
                      <a:pt x="155" y="295"/>
                    </a:cubicBezTo>
                    <a:cubicBezTo>
                      <a:pt x="158" y="305"/>
                      <a:pt x="166" y="319"/>
                      <a:pt x="168" y="326"/>
                    </a:cubicBezTo>
                    <a:cubicBezTo>
                      <a:pt x="170" y="332"/>
                      <a:pt x="170" y="334"/>
                      <a:pt x="174" y="340"/>
                    </a:cubicBezTo>
                    <a:cubicBezTo>
                      <a:pt x="177" y="345"/>
                      <a:pt x="175" y="351"/>
                      <a:pt x="179" y="358"/>
                    </a:cubicBezTo>
                    <a:cubicBezTo>
                      <a:pt x="180" y="362"/>
                      <a:pt x="187" y="366"/>
                      <a:pt x="188" y="372"/>
                    </a:cubicBezTo>
                    <a:cubicBezTo>
                      <a:pt x="191" y="382"/>
                      <a:pt x="196" y="390"/>
                      <a:pt x="200" y="401"/>
                    </a:cubicBezTo>
                    <a:cubicBezTo>
                      <a:pt x="200" y="402"/>
                      <a:pt x="202" y="405"/>
                      <a:pt x="204" y="405"/>
                    </a:cubicBezTo>
                    <a:cubicBezTo>
                      <a:pt x="204" y="409"/>
                      <a:pt x="207" y="410"/>
                      <a:pt x="210" y="410"/>
                    </a:cubicBezTo>
                    <a:cubicBezTo>
                      <a:pt x="214" y="410"/>
                      <a:pt x="214" y="405"/>
                      <a:pt x="216" y="401"/>
                    </a:cubicBezTo>
                    <a:cubicBezTo>
                      <a:pt x="218" y="397"/>
                      <a:pt x="219" y="398"/>
                      <a:pt x="224" y="396"/>
                    </a:cubicBezTo>
                    <a:cubicBezTo>
                      <a:pt x="228" y="394"/>
                      <a:pt x="227" y="382"/>
                      <a:pt x="233" y="381"/>
                    </a:cubicBezTo>
                    <a:cubicBezTo>
                      <a:pt x="234" y="380"/>
                      <a:pt x="237" y="380"/>
                      <a:pt x="237" y="379"/>
                    </a:cubicBezTo>
                    <a:cubicBezTo>
                      <a:pt x="240" y="379"/>
                      <a:pt x="240" y="379"/>
                      <a:pt x="240" y="379"/>
                    </a:cubicBezTo>
                    <a:cubicBezTo>
                      <a:pt x="237" y="367"/>
                      <a:pt x="237" y="367"/>
                      <a:pt x="237" y="367"/>
                    </a:cubicBezTo>
                    <a:cubicBezTo>
                      <a:pt x="237" y="359"/>
                      <a:pt x="243" y="352"/>
                      <a:pt x="243" y="341"/>
                    </a:cubicBezTo>
                    <a:cubicBezTo>
                      <a:pt x="243" y="334"/>
                      <a:pt x="240" y="329"/>
                      <a:pt x="240" y="321"/>
                    </a:cubicBezTo>
                    <a:cubicBezTo>
                      <a:pt x="240" y="312"/>
                      <a:pt x="249" y="311"/>
                      <a:pt x="257" y="308"/>
                    </a:cubicBezTo>
                    <a:cubicBezTo>
                      <a:pt x="260" y="307"/>
                      <a:pt x="265" y="302"/>
                      <a:pt x="268" y="298"/>
                    </a:cubicBezTo>
                    <a:cubicBezTo>
                      <a:pt x="277" y="290"/>
                      <a:pt x="284" y="281"/>
                      <a:pt x="293" y="272"/>
                    </a:cubicBezTo>
                    <a:cubicBezTo>
                      <a:pt x="300" y="265"/>
                      <a:pt x="313" y="263"/>
                      <a:pt x="321" y="255"/>
                    </a:cubicBezTo>
                    <a:cubicBezTo>
                      <a:pt x="325" y="251"/>
                      <a:pt x="325" y="246"/>
                      <a:pt x="326" y="240"/>
                    </a:cubicBezTo>
                    <a:cubicBezTo>
                      <a:pt x="328" y="236"/>
                      <a:pt x="337" y="236"/>
                      <a:pt x="340" y="229"/>
                    </a:cubicBezTo>
                    <a:cubicBezTo>
                      <a:pt x="344" y="231"/>
                      <a:pt x="344" y="233"/>
                      <a:pt x="351" y="233"/>
                    </a:cubicBezTo>
                    <a:cubicBezTo>
                      <a:pt x="362" y="233"/>
                      <a:pt x="374" y="231"/>
                      <a:pt x="374" y="218"/>
                    </a:cubicBezTo>
                    <a:cubicBezTo>
                      <a:pt x="381" y="219"/>
                      <a:pt x="389" y="222"/>
                      <a:pt x="390" y="228"/>
                    </a:cubicBezTo>
                    <a:cubicBezTo>
                      <a:pt x="392" y="233"/>
                      <a:pt x="391" y="240"/>
                      <a:pt x="395" y="245"/>
                    </a:cubicBezTo>
                    <a:cubicBezTo>
                      <a:pt x="398" y="251"/>
                      <a:pt x="403" y="255"/>
                      <a:pt x="409" y="259"/>
                    </a:cubicBezTo>
                    <a:cubicBezTo>
                      <a:pt x="414" y="267"/>
                      <a:pt x="419" y="274"/>
                      <a:pt x="422" y="283"/>
                    </a:cubicBezTo>
                    <a:cubicBezTo>
                      <a:pt x="423" y="285"/>
                      <a:pt x="425" y="286"/>
                      <a:pt x="425" y="289"/>
                    </a:cubicBezTo>
                    <a:cubicBezTo>
                      <a:pt x="425" y="293"/>
                      <a:pt x="423" y="296"/>
                      <a:pt x="423" y="302"/>
                    </a:cubicBezTo>
                    <a:cubicBezTo>
                      <a:pt x="423" y="307"/>
                      <a:pt x="423" y="313"/>
                      <a:pt x="430" y="313"/>
                    </a:cubicBezTo>
                    <a:cubicBezTo>
                      <a:pt x="442" y="313"/>
                      <a:pt x="445" y="300"/>
                      <a:pt x="453" y="293"/>
                    </a:cubicBezTo>
                    <a:cubicBezTo>
                      <a:pt x="455" y="295"/>
                      <a:pt x="454" y="297"/>
                      <a:pt x="457" y="300"/>
                    </a:cubicBezTo>
                    <a:cubicBezTo>
                      <a:pt x="457" y="300"/>
                      <a:pt x="461" y="300"/>
                      <a:pt x="462" y="302"/>
                    </a:cubicBezTo>
                    <a:cubicBezTo>
                      <a:pt x="467" y="308"/>
                      <a:pt x="459" y="322"/>
                      <a:pt x="465" y="322"/>
                    </a:cubicBezTo>
                    <a:cubicBezTo>
                      <a:pt x="465" y="336"/>
                      <a:pt x="476" y="347"/>
                      <a:pt x="476" y="367"/>
                    </a:cubicBezTo>
                    <a:cubicBezTo>
                      <a:pt x="476" y="371"/>
                      <a:pt x="473" y="382"/>
                      <a:pt x="476" y="383"/>
                    </a:cubicBezTo>
                    <a:cubicBezTo>
                      <a:pt x="480" y="376"/>
                      <a:pt x="481" y="371"/>
                      <a:pt x="485" y="363"/>
                    </a:cubicBezTo>
                    <a:cubicBezTo>
                      <a:pt x="486" y="361"/>
                      <a:pt x="489" y="360"/>
                      <a:pt x="489" y="358"/>
                    </a:cubicBezTo>
                    <a:cubicBezTo>
                      <a:pt x="489" y="354"/>
                      <a:pt x="483" y="334"/>
                      <a:pt x="479" y="330"/>
                    </a:cubicBezTo>
                    <a:cubicBezTo>
                      <a:pt x="476" y="327"/>
                      <a:pt x="472" y="325"/>
                      <a:pt x="472" y="320"/>
                    </a:cubicBezTo>
                    <a:cubicBezTo>
                      <a:pt x="472" y="319"/>
                      <a:pt x="472" y="318"/>
                      <a:pt x="472" y="316"/>
                    </a:cubicBezTo>
                    <a:cubicBezTo>
                      <a:pt x="472" y="317"/>
                      <a:pt x="472" y="317"/>
                      <a:pt x="472" y="317"/>
                    </a:cubicBezTo>
                    <a:cubicBezTo>
                      <a:pt x="473" y="316"/>
                      <a:pt x="476" y="311"/>
                      <a:pt x="476" y="307"/>
                    </a:cubicBezTo>
                    <a:cubicBezTo>
                      <a:pt x="476" y="302"/>
                      <a:pt x="476" y="293"/>
                      <a:pt x="473" y="288"/>
                    </a:cubicBezTo>
                    <a:cubicBezTo>
                      <a:pt x="470" y="284"/>
                      <a:pt x="464" y="284"/>
                      <a:pt x="464" y="276"/>
                    </a:cubicBezTo>
                    <a:cubicBezTo>
                      <a:pt x="464" y="268"/>
                      <a:pt x="467" y="262"/>
                      <a:pt x="472" y="258"/>
                    </a:cubicBezTo>
                    <a:cubicBezTo>
                      <a:pt x="474" y="255"/>
                      <a:pt x="479" y="256"/>
                      <a:pt x="483" y="254"/>
                    </a:cubicBezTo>
                    <a:cubicBezTo>
                      <a:pt x="493" y="247"/>
                      <a:pt x="500" y="244"/>
                      <a:pt x="509" y="230"/>
                    </a:cubicBezTo>
                    <a:cubicBezTo>
                      <a:pt x="506" y="230"/>
                      <a:pt x="505" y="231"/>
                      <a:pt x="501" y="231"/>
                    </a:cubicBezTo>
                    <a:cubicBezTo>
                      <a:pt x="493" y="231"/>
                      <a:pt x="487" y="222"/>
                      <a:pt x="487" y="213"/>
                    </a:cubicBezTo>
                    <a:cubicBezTo>
                      <a:pt x="483" y="212"/>
                      <a:pt x="482" y="199"/>
                      <a:pt x="478" y="199"/>
                    </a:cubicBezTo>
                    <a:cubicBezTo>
                      <a:pt x="475" y="199"/>
                      <a:pt x="472" y="202"/>
                      <a:pt x="469" y="202"/>
                    </a:cubicBezTo>
                    <a:cubicBezTo>
                      <a:pt x="468" y="202"/>
                      <a:pt x="467" y="199"/>
                      <a:pt x="467" y="197"/>
                    </a:cubicBezTo>
                    <a:cubicBezTo>
                      <a:pt x="467" y="181"/>
                      <a:pt x="479" y="180"/>
                      <a:pt x="479" y="163"/>
                    </a:cubicBezTo>
                    <a:cubicBezTo>
                      <a:pt x="479" y="154"/>
                      <a:pt x="472" y="151"/>
                      <a:pt x="468" y="144"/>
                    </a:cubicBezTo>
                    <a:cubicBezTo>
                      <a:pt x="457" y="139"/>
                      <a:pt x="448" y="140"/>
                      <a:pt x="445" y="125"/>
                    </a:cubicBezTo>
                    <a:cubicBezTo>
                      <a:pt x="442" y="125"/>
                      <a:pt x="442" y="125"/>
                      <a:pt x="442" y="125"/>
                    </a:cubicBezTo>
                    <a:cubicBezTo>
                      <a:pt x="438" y="129"/>
                      <a:pt x="438" y="129"/>
                      <a:pt x="438" y="129"/>
                    </a:cubicBezTo>
                    <a:cubicBezTo>
                      <a:pt x="433" y="131"/>
                      <a:pt x="427" y="126"/>
                      <a:pt x="423" y="130"/>
                    </a:cubicBezTo>
                    <a:cubicBezTo>
                      <a:pt x="422" y="132"/>
                      <a:pt x="421" y="133"/>
                      <a:pt x="418" y="135"/>
                    </a:cubicBezTo>
                    <a:cubicBezTo>
                      <a:pt x="415" y="137"/>
                      <a:pt x="401" y="149"/>
                      <a:pt x="394" y="149"/>
                    </a:cubicBezTo>
                    <a:cubicBezTo>
                      <a:pt x="387" y="149"/>
                      <a:pt x="382" y="144"/>
                      <a:pt x="373" y="144"/>
                    </a:cubicBezTo>
                    <a:cubicBezTo>
                      <a:pt x="362" y="144"/>
                      <a:pt x="360" y="152"/>
                      <a:pt x="354" y="155"/>
                    </a:cubicBezTo>
                    <a:cubicBezTo>
                      <a:pt x="353" y="152"/>
                      <a:pt x="352" y="145"/>
                      <a:pt x="349" y="145"/>
                    </a:cubicBezTo>
                    <a:cubicBezTo>
                      <a:pt x="347" y="145"/>
                      <a:pt x="345" y="147"/>
                      <a:pt x="341" y="147"/>
                    </a:cubicBezTo>
                    <a:cubicBezTo>
                      <a:pt x="335" y="147"/>
                      <a:pt x="329" y="147"/>
                      <a:pt x="323" y="147"/>
                    </a:cubicBezTo>
                    <a:cubicBezTo>
                      <a:pt x="313" y="147"/>
                      <a:pt x="309" y="141"/>
                      <a:pt x="302" y="136"/>
                    </a:cubicBezTo>
                    <a:cubicBezTo>
                      <a:pt x="300" y="135"/>
                      <a:pt x="296" y="139"/>
                      <a:pt x="295" y="136"/>
                    </a:cubicBezTo>
                    <a:cubicBezTo>
                      <a:pt x="293" y="132"/>
                      <a:pt x="293" y="129"/>
                      <a:pt x="290" y="127"/>
                    </a:cubicBezTo>
                    <a:cubicBezTo>
                      <a:pt x="283" y="124"/>
                      <a:pt x="279" y="126"/>
                      <a:pt x="273" y="120"/>
                    </a:cubicBezTo>
                    <a:cubicBezTo>
                      <a:pt x="268" y="115"/>
                      <a:pt x="263" y="118"/>
                      <a:pt x="254" y="116"/>
                    </a:cubicBezTo>
                    <a:cubicBezTo>
                      <a:pt x="246" y="114"/>
                      <a:pt x="243" y="108"/>
                      <a:pt x="236" y="106"/>
                    </a:cubicBezTo>
                    <a:cubicBezTo>
                      <a:pt x="234" y="105"/>
                      <a:pt x="229" y="106"/>
                      <a:pt x="228" y="103"/>
                    </a:cubicBezTo>
                    <a:cubicBezTo>
                      <a:pt x="227" y="98"/>
                      <a:pt x="227" y="94"/>
                      <a:pt x="226" y="89"/>
                    </a:cubicBezTo>
                    <a:cubicBezTo>
                      <a:pt x="226" y="85"/>
                      <a:pt x="226" y="85"/>
                      <a:pt x="226" y="85"/>
                    </a:cubicBezTo>
                    <a:cubicBezTo>
                      <a:pt x="231" y="85"/>
                      <a:pt x="236" y="86"/>
                      <a:pt x="236" y="80"/>
                    </a:cubicBezTo>
                    <a:cubicBezTo>
                      <a:pt x="236" y="75"/>
                      <a:pt x="229" y="74"/>
                      <a:pt x="229" y="69"/>
                    </a:cubicBezTo>
                    <a:cubicBezTo>
                      <a:pt x="229" y="57"/>
                      <a:pt x="246" y="59"/>
                      <a:pt x="246" y="47"/>
                    </a:cubicBezTo>
                    <a:cubicBezTo>
                      <a:pt x="246" y="43"/>
                      <a:pt x="236" y="35"/>
                      <a:pt x="232" y="35"/>
                    </a:cubicBezTo>
                    <a:cubicBezTo>
                      <a:pt x="224" y="35"/>
                      <a:pt x="221" y="42"/>
                      <a:pt x="213" y="43"/>
                    </a:cubicBezTo>
                    <a:cubicBezTo>
                      <a:pt x="205" y="40"/>
                      <a:pt x="200" y="40"/>
                      <a:pt x="194" y="34"/>
                    </a:cubicBezTo>
                    <a:cubicBezTo>
                      <a:pt x="191" y="31"/>
                      <a:pt x="193" y="25"/>
                      <a:pt x="188" y="24"/>
                    </a:cubicBezTo>
                    <a:cubicBezTo>
                      <a:pt x="182" y="22"/>
                      <a:pt x="178" y="24"/>
                      <a:pt x="178" y="16"/>
                    </a:cubicBezTo>
                    <a:cubicBezTo>
                      <a:pt x="172" y="15"/>
                      <a:pt x="168" y="15"/>
                      <a:pt x="163" y="15"/>
                    </a:cubicBezTo>
                    <a:cubicBezTo>
                      <a:pt x="154" y="15"/>
                      <a:pt x="150" y="23"/>
                      <a:pt x="140" y="23"/>
                    </a:cubicBezTo>
                    <a:cubicBezTo>
                      <a:pt x="130" y="23"/>
                      <a:pt x="140" y="0"/>
                      <a:pt x="131" y="0"/>
                    </a:cubicBezTo>
                    <a:cubicBezTo>
                      <a:pt x="122" y="0"/>
                      <a:pt x="120" y="10"/>
                      <a:pt x="116" y="10"/>
                    </a:cubicBezTo>
                    <a:cubicBezTo>
                      <a:pt x="115" y="10"/>
                      <a:pt x="114" y="11"/>
                      <a:pt x="113" y="10"/>
                    </a:cubicBezTo>
                    <a:cubicBezTo>
                      <a:pt x="110" y="16"/>
                      <a:pt x="103" y="21"/>
                      <a:pt x="94" y="21"/>
                    </a:cubicBezTo>
                    <a:cubicBezTo>
                      <a:pt x="91" y="21"/>
                      <a:pt x="90" y="16"/>
                      <a:pt x="86" y="16"/>
                    </a:cubicBezTo>
                    <a:cubicBezTo>
                      <a:pt x="83" y="16"/>
                      <a:pt x="73" y="20"/>
                      <a:pt x="72" y="15"/>
                    </a:cubicBezTo>
                    <a:cubicBezTo>
                      <a:pt x="68" y="15"/>
                      <a:pt x="69" y="13"/>
                      <a:pt x="65" y="13"/>
                    </a:cubicBezTo>
                    <a:cubicBezTo>
                      <a:pt x="54" y="13"/>
                      <a:pt x="53" y="24"/>
                      <a:pt x="45" y="32"/>
                    </a:cubicBezTo>
                    <a:cubicBezTo>
                      <a:pt x="42" y="35"/>
                      <a:pt x="37" y="35"/>
                      <a:pt x="33" y="39"/>
                    </a:cubicBezTo>
                    <a:cubicBezTo>
                      <a:pt x="30" y="42"/>
                      <a:pt x="28" y="46"/>
                      <a:pt x="23" y="46"/>
                    </a:cubicBezTo>
                    <a:cubicBezTo>
                      <a:pt x="19" y="46"/>
                      <a:pt x="16" y="42"/>
                      <a:pt x="12" y="42"/>
                    </a:cubicBezTo>
                    <a:cubicBezTo>
                      <a:pt x="11" y="42"/>
                      <a:pt x="11" y="45"/>
                      <a:pt x="10" y="45"/>
                    </a:cubicBezTo>
                    <a:cubicBezTo>
                      <a:pt x="7" y="47"/>
                      <a:pt x="0" y="63"/>
                      <a:pt x="0" y="64"/>
                    </a:cubicBezTo>
                    <a:cubicBezTo>
                      <a:pt x="0" y="65"/>
                      <a:pt x="1" y="67"/>
                      <a:pt x="0" y="68"/>
                    </a:cubicBezTo>
                    <a:cubicBezTo>
                      <a:pt x="1" y="70"/>
                      <a:pt x="0" y="71"/>
                      <a:pt x="1" y="73"/>
                    </a:cubicBezTo>
                    <a:cubicBezTo>
                      <a:pt x="1" y="87"/>
                      <a:pt x="1" y="87"/>
                      <a:pt x="1" y="87"/>
                    </a:cubicBezTo>
                    <a:cubicBezTo>
                      <a:pt x="3" y="91"/>
                      <a:pt x="2" y="94"/>
                      <a:pt x="4" y="98"/>
                    </a:cubicBezTo>
                    <a:cubicBezTo>
                      <a:pt x="5" y="102"/>
                      <a:pt x="14" y="98"/>
                      <a:pt x="14" y="105"/>
                    </a:cubicBezTo>
                    <a:cubicBezTo>
                      <a:pt x="14" y="114"/>
                      <a:pt x="4" y="113"/>
                      <a:pt x="4" y="120"/>
                    </a:cubicBezTo>
                    <a:cubicBezTo>
                      <a:pt x="4" y="126"/>
                      <a:pt x="8" y="126"/>
                      <a:pt x="10" y="128"/>
                    </a:cubicBezTo>
                    <a:cubicBezTo>
                      <a:pt x="17" y="143"/>
                      <a:pt x="32" y="145"/>
                      <a:pt x="32" y="164"/>
                    </a:cubicBezTo>
                    <a:cubicBezTo>
                      <a:pt x="21" y="167"/>
                      <a:pt x="13" y="169"/>
                      <a:pt x="13" y="181"/>
                    </a:cubicBezTo>
                    <a:cubicBezTo>
                      <a:pt x="13" y="184"/>
                      <a:pt x="15" y="187"/>
                      <a:pt x="15" y="189"/>
                    </a:cubicBezTo>
                    <a:cubicBezTo>
                      <a:pt x="30" y="188"/>
                      <a:pt x="30" y="188"/>
                      <a:pt x="30" y="188"/>
                    </a:cubicBezTo>
                    <a:cubicBezTo>
                      <a:pt x="31" y="187"/>
                      <a:pt x="33" y="186"/>
                      <a:pt x="34" y="185"/>
                    </a:cubicBezTo>
                    <a:cubicBezTo>
                      <a:pt x="46" y="188"/>
                      <a:pt x="46" y="188"/>
                      <a:pt x="46" y="188"/>
                    </a:cubicBezTo>
                    <a:cubicBezTo>
                      <a:pt x="50" y="188"/>
                      <a:pt x="52" y="184"/>
                      <a:pt x="57" y="184"/>
                    </a:cubicBezTo>
                    <a:cubicBezTo>
                      <a:pt x="62" y="184"/>
                      <a:pt x="65" y="184"/>
                      <a:pt x="70" y="185"/>
                    </a:cubicBezTo>
                    <a:cubicBezTo>
                      <a:pt x="75" y="187"/>
                      <a:pt x="78" y="197"/>
                      <a:pt x="82" y="203"/>
                    </a:cubicBezTo>
                    <a:cubicBezTo>
                      <a:pt x="86" y="209"/>
                      <a:pt x="99" y="218"/>
                      <a:pt x="108" y="218"/>
                    </a:cubicBezTo>
                    <a:cubicBezTo>
                      <a:pt x="111" y="218"/>
                      <a:pt x="114" y="218"/>
                      <a:pt x="118" y="219"/>
                    </a:cubicBezTo>
                    <a:cubicBezTo>
                      <a:pt x="116" y="221"/>
                      <a:pt x="116" y="225"/>
                      <a:pt x="112" y="225"/>
                    </a:cubicBezTo>
                    <a:cubicBezTo>
                      <a:pt x="108" y="227"/>
                      <a:pt x="105" y="225"/>
                      <a:pt x="101" y="227"/>
                    </a:cubicBezTo>
                    <a:cubicBezTo>
                      <a:pt x="108" y="234"/>
                      <a:pt x="113" y="248"/>
                      <a:pt x="127" y="248"/>
                    </a:cubicBezTo>
                    <a:cubicBezTo>
                      <a:pt x="138" y="248"/>
                      <a:pt x="139" y="233"/>
                      <a:pt x="144" y="227"/>
                    </a:cubicBezTo>
                    <a:cubicBezTo>
                      <a:pt x="148" y="227"/>
                      <a:pt x="148" y="227"/>
                      <a:pt x="148" y="227"/>
                    </a:cubicBezTo>
                    <a:cubicBezTo>
                      <a:pt x="148" y="229"/>
                      <a:pt x="145" y="232"/>
                      <a:pt x="145" y="233"/>
                    </a:cubicBezTo>
                    <a:cubicBezTo>
                      <a:pt x="145" y="239"/>
                      <a:pt x="150" y="244"/>
                      <a:pt x="150" y="251"/>
                    </a:cubicBezTo>
                    <a:cubicBezTo>
                      <a:pt x="150" y="257"/>
                      <a:pt x="147" y="258"/>
                      <a:pt x="147" y="264"/>
                    </a:cubicBezTo>
                    <a:lnTo>
                      <a:pt x="149" y="265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17" name="Полилиния 104">
                <a:extLst>
                  <a:ext uri="{FF2B5EF4-FFF2-40B4-BE49-F238E27FC236}">
                    <a16:creationId xmlns:a16="http://schemas.microsoft.com/office/drawing/2014/main" xmlns="" id="{1D8E748C-ABE5-B666-6AE4-4283D0D9C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5350" y="2781300"/>
                <a:ext cx="177800" cy="192088"/>
              </a:xfrm>
              <a:custGeom>
                <a:avLst/>
                <a:gdLst/>
                <a:ahLst/>
                <a:cxnLst>
                  <a:cxn ang="0">
                    <a:pos x="59" y="74"/>
                  </a:cxn>
                  <a:cxn ang="0">
                    <a:pos x="58" y="70"/>
                  </a:cxn>
                  <a:cxn ang="0">
                    <a:pos x="51" y="68"/>
                  </a:cxn>
                  <a:cxn ang="0">
                    <a:pos x="45" y="53"/>
                  </a:cxn>
                  <a:cxn ang="0">
                    <a:pos x="28" y="38"/>
                  </a:cxn>
                  <a:cxn ang="0">
                    <a:pos x="22" y="25"/>
                  </a:cxn>
                  <a:cxn ang="0">
                    <a:pos x="11" y="21"/>
                  </a:cxn>
                  <a:cxn ang="0">
                    <a:pos x="0" y="3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11" y="4"/>
                  </a:cxn>
                  <a:cxn ang="0">
                    <a:pos x="26" y="4"/>
                  </a:cxn>
                  <a:cxn ang="0">
                    <a:pos x="42" y="20"/>
                  </a:cxn>
                  <a:cxn ang="0">
                    <a:pos x="47" y="23"/>
                  </a:cxn>
                  <a:cxn ang="0">
                    <a:pos x="61" y="35"/>
                  </a:cxn>
                  <a:cxn ang="0">
                    <a:pos x="86" y="53"/>
                  </a:cxn>
                  <a:cxn ang="0">
                    <a:pos x="101" y="64"/>
                  </a:cxn>
                  <a:cxn ang="0">
                    <a:pos x="100" y="66"/>
                  </a:cxn>
                  <a:cxn ang="0">
                    <a:pos x="103" y="66"/>
                  </a:cxn>
                  <a:cxn ang="0">
                    <a:pos x="107" y="70"/>
                  </a:cxn>
                  <a:cxn ang="0">
                    <a:pos x="105" y="74"/>
                  </a:cxn>
                  <a:cxn ang="0">
                    <a:pos x="114" y="81"/>
                  </a:cxn>
                  <a:cxn ang="0">
                    <a:pos x="124" y="98"/>
                  </a:cxn>
                  <a:cxn ang="0">
                    <a:pos x="133" y="106"/>
                  </a:cxn>
                  <a:cxn ang="0">
                    <a:pos x="133" y="125"/>
                  </a:cxn>
                  <a:cxn ang="0">
                    <a:pos x="131" y="138"/>
                  </a:cxn>
                  <a:cxn ang="0">
                    <a:pos x="119" y="144"/>
                  </a:cxn>
                  <a:cxn ang="0">
                    <a:pos x="108" y="132"/>
                  </a:cxn>
                  <a:cxn ang="0">
                    <a:pos x="84" y="112"/>
                  </a:cxn>
                  <a:cxn ang="0">
                    <a:pos x="67" y="85"/>
                  </a:cxn>
                  <a:cxn ang="0">
                    <a:pos x="59" y="74"/>
                  </a:cxn>
                </a:cxnLst>
                <a:rect l="0" t="0" r="r" b="b"/>
                <a:pathLst>
                  <a:path w="133" h="144">
                    <a:moveTo>
                      <a:pt x="59" y="74"/>
                    </a:moveTo>
                    <a:cubicBezTo>
                      <a:pt x="58" y="74"/>
                      <a:pt x="59" y="72"/>
                      <a:pt x="58" y="70"/>
                    </a:cubicBezTo>
                    <a:cubicBezTo>
                      <a:pt x="57" y="69"/>
                      <a:pt x="52" y="69"/>
                      <a:pt x="51" y="68"/>
                    </a:cubicBezTo>
                    <a:cubicBezTo>
                      <a:pt x="49" y="67"/>
                      <a:pt x="45" y="56"/>
                      <a:pt x="45" y="53"/>
                    </a:cubicBezTo>
                    <a:cubicBezTo>
                      <a:pt x="41" y="43"/>
                      <a:pt x="31" y="44"/>
                      <a:pt x="28" y="38"/>
                    </a:cubicBezTo>
                    <a:cubicBezTo>
                      <a:pt x="26" y="33"/>
                      <a:pt x="24" y="30"/>
                      <a:pt x="22" y="25"/>
                    </a:cubicBezTo>
                    <a:cubicBezTo>
                      <a:pt x="20" y="21"/>
                      <a:pt x="15" y="22"/>
                      <a:pt x="11" y="21"/>
                    </a:cubicBezTo>
                    <a:cubicBezTo>
                      <a:pt x="8" y="20"/>
                      <a:pt x="1" y="8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7" y="0"/>
                      <a:pt x="8" y="2"/>
                      <a:pt x="11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35" y="7"/>
                      <a:pt x="38" y="13"/>
                      <a:pt x="42" y="20"/>
                    </a:cubicBezTo>
                    <a:cubicBezTo>
                      <a:pt x="43" y="23"/>
                      <a:pt x="45" y="22"/>
                      <a:pt x="47" y="23"/>
                    </a:cubicBezTo>
                    <a:cubicBezTo>
                      <a:pt x="53" y="25"/>
                      <a:pt x="56" y="30"/>
                      <a:pt x="61" y="35"/>
                    </a:cubicBezTo>
                    <a:cubicBezTo>
                      <a:pt x="69" y="43"/>
                      <a:pt x="74" y="49"/>
                      <a:pt x="86" y="53"/>
                    </a:cubicBezTo>
                    <a:cubicBezTo>
                      <a:pt x="93" y="55"/>
                      <a:pt x="101" y="57"/>
                      <a:pt x="101" y="64"/>
                    </a:cubicBezTo>
                    <a:cubicBezTo>
                      <a:pt x="101" y="64"/>
                      <a:pt x="100" y="65"/>
                      <a:pt x="100" y="66"/>
                    </a:cubicBezTo>
                    <a:cubicBezTo>
                      <a:pt x="101" y="66"/>
                      <a:pt x="102" y="66"/>
                      <a:pt x="103" y="66"/>
                    </a:cubicBezTo>
                    <a:cubicBezTo>
                      <a:pt x="105" y="66"/>
                      <a:pt x="106" y="68"/>
                      <a:pt x="107" y="70"/>
                    </a:cubicBezTo>
                    <a:cubicBezTo>
                      <a:pt x="105" y="74"/>
                      <a:pt x="105" y="74"/>
                      <a:pt x="105" y="74"/>
                    </a:cubicBezTo>
                    <a:cubicBezTo>
                      <a:pt x="105" y="80"/>
                      <a:pt x="109" y="81"/>
                      <a:pt x="114" y="81"/>
                    </a:cubicBezTo>
                    <a:cubicBezTo>
                      <a:pt x="114" y="91"/>
                      <a:pt x="119" y="93"/>
                      <a:pt x="124" y="98"/>
                    </a:cubicBezTo>
                    <a:cubicBezTo>
                      <a:pt x="127" y="101"/>
                      <a:pt x="133" y="102"/>
                      <a:pt x="133" y="106"/>
                    </a:cubicBezTo>
                    <a:cubicBezTo>
                      <a:pt x="133" y="112"/>
                      <a:pt x="133" y="116"/>
                      <a:pt x="133" y="125"/>
                    </a:cubicBezTo>
                    <a:cubicBezTo>
                      <a:pt x="128" y="127"/>
                      <a:pt x="131" y="133"/>
                      <a:pt x="131" y="138"/>
                    </a:cubicBezTo>
                    <a:cubicBezTo>
                      <a:pt x="131" y="143"/>
                      <a:pt x="122" y="144"/>
                      <a:pt x="119" y="144"/>
                    </a:cubicBezTo>
                    <a:cubicBezTo>
                      <a:pt x="116" y="144"/>
                      <a:pt x="109" y="132"/>
                      <a:pt x="108" y="132"/>
                    </a:cubicBezTo>
                    <a:cubicBezTo>
                      <a:pt x="100" y="124"/>
                      <a:pt x="92" y="120"/>
                      <a:pt x="84" y="112"/>
                    </a:cubicBezTo>
                    <a:cubicBezTo>
                      <a:pt x="75" y="103"/>
                      <a:pt x="71" y="95"/>
                      <a:pt x="67" y="85"/>
                    </a:cubicBezTo>
                    <a:cubicBezTo>
                      <a:pt x="66" y="83"/>
                      <a:pt x="60" y="74"/>
                      <a:pt x="59" y="74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18" name="Полилиния 105">
                <a:extLst>
                  <a:ext uri="{FF2B5EF4-FFF2-40B4-BE49-F238E27FC236}">
                    <a16:creationId xmlns:a16="http://schemas.microsoft.com/office/drawing/2014/main" xmlns="" id="{29718035-8C24-FF0F-E2FE-CB8D359479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950" y="2757488"/>
                <a:ext cx="169863" cy="188913"/>
              </a:xfrm>
              <a:custGeom>
                <a:avLst/>
                <a:gdLst/>
                <a:ahLst/>
                <a:cxnLst>
                  <a:cxn ang="0">
                    <a:pos x="37" y="130"/>
                  </a:cxn>
                  <a:cxn ang="0">
                    <a:pos x="36" y="124"/>
                  </a:cxn>
                  <a:cxn ang="0">
                    <a:pos x="27" y="126"/>
                  </a:cxn>
                  <a:cxn ang="0">
                    <a:pos x="11" y="102"/>
                  </a:cxn>
                  <a:cxn ang="0">
                    <a:pos x="12" y="99"/>
                  </a:cxn>
                  <a:cxn ang="0">
                    <a:pos x="6" y="97"/>
                  </a:cxn>
                  <a:cxn ang="0">
                    <a:pos x="0" y="78"/>
                  </a:cxn>
                  <a:cxn ang="0">
                    <a:pos x="15" y="74"/>
                  </a:cxn>
                  <a:cxn ang="0">
                    <a:pos x="33" y="54"/>
                  </a:cxn>
                  <a:cxn ang="0">
                    <a:pos x="45" y="50"/>
                  </a:cxn>
                  <a:cxn ang="0">
                    <a:pos x="56" y="41"/>
                  </a:cxn>
                  <a:cxn ang="0">
                    <a:pos x="59" y="35"/>
                  </a:cxn>
                  <a:cxn ang="0">
                    <a:pos x="63" y="32"/>
                  </a:cxn>
                  <a:cxn ang="0">
                    <a:pos x="66" y="29"/>
                  </a:cxn>
                  <a:cxn ang="0">
                    <a:pos x="82" y="23"/>
                  </a:cxn>
                  <a:cxn ang="0">
                    <a:pos x="102" y="0"/>
                  </a:cxn>
                  <a:cxn ang="0">
                    <a:pos x="109" y="11"/>
                  </a:cxn>
                  <a:cxn ang="0">
                    <a:pos x="127" y="23"/>
                  </a:cxn>
                  <a:cxn ang="0">
                    <a:pos x="117" y="29"/>
                  </a:cxn>
                  <a:cxn ang="0">
                    <a:pos x="119" y="31"/>
                  </a:cxn>
                  <a:cxn ang="0">
                    <a:pos x="106" y="37"/>
                  </a:cxn>
                  <a:cxn ang="0">
                    <a:pos x="108" y="41"/>
                  </a:cxn>
                  <a:cxn ang="0">
                    <a:pos x="105" y="44"/>
                  </a:cxn>
                  <a:cxn ang="0">
                    <a:pos x="125" y="73"/>
                  </a:cxn>
                  <a:cxn ang="0">
                    <a:pos x="115" y="77"/>
                  </a:cxn>
                  <a:cxn ang="0">
                    <a:pos x="111" y="78"/>
                  </a:cxn>
                  <a:cxn ang="0">
                    <a:pos x="109" y="83"/>
                  </a:cxn>
                  <a:cxn ang="0">
                    <a:pos x="103" y="102"/>
                  </a:cxn>
                  <a:cxn ang="0">
                    <a:pos x="93" y="113"/>
                  </a:cxn>
                  <a:cxn ang="0">
                    <a:pos x="95" y="119"/>
                  </a:cxn>
                  <a:cxn ang="0">
                    <a:pos x="90" y="134"/>
                  </a:cxn>
                  <a:cxn ang="0">
                    <a:pos x="76" y="141"/>
                  </a:cxn>
                  <a:cxn ang="0">
                    <a:pos x="71" y="135"/>
                  </a:cxn>
                  <a:cxn ang="0">
                    <a:pos x="51" y="128"/>
                  </a:cxn>
                  <a:cxn ang="0">
                    <a:pos x="40" y="132"/>
                  </a:cxn>
                  <a:cxn ang="0">
                    <a:pos x="37" y="130"/>
                  </a:cxn>
                </a:cxnLst>
                <a:rect l="0" t="0" r="r" b="b"/>
                <a:pathLst>
                  <a:path w="127" h="141">
                    <a:moveTo>
                      <a:pt x="37" y="130"/>
                    </a:moveTo>
                    <a:cubicBezTo>
                      <a:pt x="36" y="130"/>
                      <a:pt x="36" y="125"/>
                      <a:pt x="36" y="124"/>
                    </a:cubicBezTo>
                    <a:cubicBezTo>
                      <a:pt x="32" y="123"/>
                      <a:pt x="30" y="126"/>
                      <a:pt x="27" y="126"/>
                    </a:cubicBezTo>
                    <a:cubicBezTo>
                      <a:pt x="10" y="126"/>
                      <a:pt x="17" y="110"/>
                      <a:pt x="11" y="102"/>
                    </a:cubicBezTo>
                    <a:cubicBezTo>
                      <a:pt x="11" y="101"/>
                      <a:pt x="12" y="100"/>
                      <a:pt x="12" y="99"/>
                    </a:cubicBezTo>
                    <a:cubicBezTo>
                      <a:pt x="11" y="97"/>
                      <a:pt x="8" y="97"/>
                      <a:pt x="6" y="97"/>
                    </a:cubicBezTo>
                    <a:cubicBezTo>
                      <a:pt x="4" y="96"/>
                      <a:pt x="0" y="80"/>
                      <a:pt x="0" y="78"/>
                    </a:cubicBezTo>
                    <a:cubicBezTo>
                      <a:pt x="0" y="71"/>
                      <a:pt x="9" y="74"/>
                      <a:pt x="15" y="74"/>
                    </a:cubicBezTo>
                    <a:cubicBezTo>
                      <a:pt x="29" y="74"/>
                      <a:pt x="27" y="60"/>
                      <a:pt x="33" y="54"/>
                    </a:cubicBezTo>
                    <a:cubicBezTo>
                      <a:pt x="36" y="51"/>
                      <a:pt x="41" y="51"/>
                      <a:pt x="45" y="50"/>
                    </a:cubicBezTo>
                    <a:cubicBezTo>
                      <a:pt x="52" y="49"/>
                      <a:pt x="52" y="44"/>
                      <a:pt x="56" y="41"/>
                    </a:cubicBezTo>
                    <a:cubicBezTo>
                      <a:pt x="54" y="39"/>
                      <a:pt x="59" y="35"/>
                      <a:pt x="59" y="35"/>
                    </a:cubicBezTo>
                    <a:cubicBezTo>
                      <a:pt x="61" y="34"/>
                      <a:pt x="61" y="33"/>
                      <a:pt x="63" y="32"/>
                    </a:cubicBezTo>
                    <a:cubicBezTo>
                      <a:pt x="64" y="32"/>
                      <a:pt x="65" y="30"/>
                      <a:pt x="66" y="29"/>
                    </a:cubicBezTo>
                    <a:cubicBezTo>
                      <a:pt x="70" y="25"/>
                      <a:pt x="80" y="27"/>
                      <a:pt x="82" y="23"/>
                    </a:cubicBezTo>
                    <a:cubicBezTo>
                      <a:pt x="85" y="16"/>
                      <a:pt x="95" y="0"/>
                      <a:pt x="102" y="0"/>
                    </a:cubicBezTo>
                    <a:cubicBezTo>
                      <a:pt x="109" y="0"/>
                      <a:pt x="109" y="4"/>
                      <a:pt x="109" y="11"/>
                    </a:cubicBezTo>
                    <a:cubicBezTo>
                      <a:pt x="109" y="20"/>
                      <a:pt x="127" y="15"/>
                      <a:pt x="127" y="23"/>
                    </a:cubicBezTo>
                    <a:cubicBezTo>
                      <a:pt x="127" y="27"/>
                      <a:pt x="117" y="25"/>
                      <a:pt x="117" y="29"/>
                    </a:cubicBezTo>
                    <a:cubicBezTo>
                      <a:pt x="117" y="30"/>
                      <a:pt x="118" y="31"/>
                      <a:pt x="119" y="31"/>
                    </a:cubicBezTo>
                    <a:cubicBezTo>
                      <a:pt x="118" y="32"/>
                      <a:pt x="106" y="37"/>
                      <a:pt x="106" y="37"/>
                    </a:cubicBezTo>
                    <a:cubicBezTo>
                      <a:pt x="107" y="38"/>
                      <a:pt x="108" y="40"/>
                      <a:pt x="108" y="41"/>
                    </a:cubicBezTo>
                    <a:cubicBezTo>
                      <a:pt x="107" y="42"/>
                      <a:pt x="105" y="43"/>
                      <a:pt x="105" y="44"/>
                    </a:cubicBezTo>
                    <a:cubicBezTo>
                      <a:pt x="105" y="51"/>
                      <a:pt x="117" y="73"/>
                      <a:pt x="125" y="73"/>
                    </a:cubicBezTo>
                    <a:cubicBezTo>
                      <a:pt x="124" y="79"/>
                      <a:pt x="120" y="77"/>
                      <a:pt x="115" y="77"/>
                    </a:cubicBezTo>
                    <a:cubicBezTo>
                      <a:pt x="114" y="77"/>
                      <a:pt x="112" y="78"/>
                      <a:pt x="111" y="78"/>
                    </a:cubicBezTo>
                    <a:cubicBezTo>
                      <a:pt x="109" y="83"/>
                      <a:pt x="109" y="83"/>
                      <a:pt x="109" y="83"/>
                    </a:cubicBezTo>
                    <a:cubicBezTo>
                      <a:pt x="106" y="92"/>
                      <a:pt x="103" y="95"/>
                      <a:pt x="103" y="102"/>
                    </a:cubicBezTo>
                    <a:cubicBezTo>
                      <a:pt x="98" y="103"/>
                      <a:pt x="93" y="110"/>
                      <a:pt x="93" y="113"/>
                    </a:cubicBezTo>
                    <a:cubicBezTo>
                      <a:pt x="93" y="116"/>
                      <a:pt x="95" y="117"/>
                      <a:pt x="95" y="119"/>
                    </a:cubicBezTo>
                    <a:cubicBezTo>
                      <a:pt x="95" y="122"/>
                      <a:pt x="90" y="129"/>
                      <a:pt x="90" y="134"/>
                    </a:cubicBezTo>
                    <a:cubicBezTo>
                      <a:pt x="83" y="135"/>
                      <a:pt x="82" y="141"/>
                      <a:pt x="76" y="141"/>
                    </a:cubicBezTo>
                    <a:cubicBezTo>
                      <a:pt x="72" y="141"/>
                      <a:pt x="71" y="137"/>
                      <a:pt x="71" y="135"/>
                    </a:cubicBezTo>
                    <a:cubicBezTo>
                      <a:pt x="64" y="133"/>
                      <a:pt x="59" y="128"/>
                      <a:pt x="51" y="128"/>
                    </a:cubicBezTo>
                    <a:cubicBezTo>
                      <a:pt x="48" y="128"/>
                      <a:pt x="45" y="132"/>
                      <a:pt x="40" y="132"/>
                    </a:cubicBezTo>
                    <a:cubicBezTo>
                      <a:pt x="39" y="132"/>
                      <a:pt x="38" y="130"/>
                      <a:pt x="37" y="13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19" name="Полилиния 106">
                <a:extLst>
                  <a:ext uri="{FF2B5EF4-FFF2-40B4-BE49-F238E27FC236}">
                    <a16:creationId xmlns:a16="http://schemas.microsoft.com/office/drawing/2014/main" xmlns="" id="{60B33816-D465-A96E-C278-0F3A88A4CF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463" y="2847975"/>
                <a:ext cx="106363" cy="123825"/>
              </a:xfrm>
              <a:custGeom>
                <a:avLst/>
                <a:gdLst/>
                <a:ahLst/>
                <a:cxnLst>
                  <a:cxn ang="0">
                    <a:pos x="31" y="34"/>
                  </a:cxn>
                  <a:cxn ang="0">
                    <a:pos x="27" y="38"/>
                  </a:cxn>
                  <a:cxn ang="0">
                    <a:pos x="17" y="24"/>
                  </a:cxn>
                  <a:cxn ang="0">
                    <a:pos x="32" y="16"/>
                  </a:cxn>
                  <a:cxn ang="0">
                    <a:pos x="49" y="15"/>
                  </a:cxn>
                  <a:cxn ang="0">
                    <a:pos x="64" y="18"/>
                  </a:cxn>
                  <a:cxn ang="0">
                    <a:pos x="77" y="4"/>
                  </a:cxn>
                  <a:cxn ang="0">
                    <a:pos x="79" y="0"/>
                  </a:cxn>
                  <a:cxn ang="0">
                    <a:pos x="77" y="0"/>
                  </a:cxn>
                  <a:cxn ang="0">
                    <a:pos x="63" y="10"/>
                  </a:cxn>
                  <a:cxn ang="0">
                    <a:pos x="59" y="10"/>
                  </a:cxn>
                  <a:cxn ang="0">
                    <a:pos x="28" y="5"/>
                  </a:cxn>
                  <a:cxn ang="0">
                    <a:pos x="12" y="30"/>
                  </a:cxn>
                  <a:cxn ang="0">
                    <a:pos x="8" y="37"/>
                  </a:cxn>
                  <a:cxn ang="0">
                    <a:pos x="0" y="61"/>
                  </a:cxn>
                  <a:cxn ang="0">
                    <a:pos x="8" y="66"/>
                  </a:cxn>
                  <a:cxn ang="0">
                    <a:pos x="8" y="87"/>
                  </a:cxn>
                  <a:cxn ang="0">
                    <a:pos x="16" y="93"/>
                  </a:cxn>
                  <a:cxn ang="0">
                    <a:pos x="22" y="76"/>
                  </a:cxn>
                  <a:cxn ang="0">
                    <a:pos x="18" y="61"/>
                  </a:cxn>
                  <a:cxn ang="0">
                    <a:pos x="25" y="56"/>
                  </a:cxn>
                  <a:cxn ang="0">
                    <a:pos x="28" y="56"/>
                  </a:cxn>
                  <a:cxn ang="0">
                    <a:pos x="27" y="65"/>
                  </a:cxn>
                  <a:cxn ang="0">
                    <a:pos x="34" y="79"/>
                  </a:cxn>
                  <a:cxn ang="0">
                    <a:pos x="34" y="83"/>
                  </a:cxn>
                  <a:cxn ang="0">
                    <a:pos x="39" y="83"/>
                  </a:cxn>
                  <a:cxn ang="0">
                    <a:pos x="49" y="73"/>
                  </a:cxn>
                  <a:cxn ang="0">
                    <a:pos x="43" y="65"/>
                  </a:cxn>
                  <a:cxn ang="0">
                    <a:pos x="45" y="63"/>
                  </a:cxn>
                  <a:cxn ang="0">
                    <a:pos x="34" y="44"/>
                  </a:cxn>
                  <a:cxn ang="0">
                    <a:pos x="57" y="31"/>
                  </a:cxn>
                  <a:cxn ang="0">
                    <a:pos x="57" y="28"/>
                  </a:cxn>
                  <a:cxn ang="0">
                    <a:pos x="31" y="36"/>
                  </a:cxn>
                  <a:cxn ang="0">
                    <a:pos x="31" y="34"/>
                  </a:cxn>
                </a:cxnLst>
                <a:rect l="0" t="0" r="r" b="b"/>
                <a:pathLst>
                  <a:path w="79" h="93">
                    <a:moveTo>
                      <a:pt x="31" y="34"/>
                    </a:moveTo>
                    <a:cubicBezTo>
                      <a:pt x="30" y="36"/>
                      <a:pt x="29" y="38"/>
                      <a:pt x="27" y="38"/>
                    </a:cubicBezTo>
                    <a:cubicBezTo>
                      <a:pt x="20" y="38"/>
                      <a:pt x="17" y="30"/>
                      <a:pt x="17" y="24"/>
                    </a:cubicBezTo>
                    <a:cubicBezTo>
                      <a:pt x="17" y="15"/>
                      <a:pt x="24" y="16"/>
                      <a:pt x="32" y="16"/>
                    </a:cubicBezTo>
                    <a:cubicBezTo>
                      <a:pt x="39" y="16"/>
                      <a:pt x="42" y="15"/>
                      <a:pt x="49" y="15"/>
                    </a:cubicBezTo>
                    <a:cubicBezTo>
                      <a:pt x="54" y="15"/>
                      <a:pt x="58" y="18"/>
                      <a:pt x="64" y="18"/>
                    </a:cubicBezTo>
                    <a:cubicBezTo>
                      <a:pt x="73" y="18"/>
                      <a:pt x="76" y="10"/>
                      <a:pt x="77" y="4"/>
                    </a:cubicBezTo>
                    <a:cubicBezTo>
                      <a:pt x="79" y="4"/>
                      <a:pt x="79" y="1"/>
                      <a:pt x="79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72" y="4"/>
                      <a:pt x="65" y="8"/>
                      <a:pt x="63" y="10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17" y="5"/>
                      <a:pt x="12" y="20"/>
                      <a:pt x="12" y="30"/>
                    </a:cubicBezTo>
                    <a:cubicBezTo>
                      <a:pt x="12" y="33"/>
                      <a:pt x="8" y="35"/>
                      <a:pt x="8" y="37"/>
                    </a:cubicBezTo>
                    <a:cubicBezTo>
                      <a:pt x="4" y="47"/>
                      <a:pt x="0" y="51"/>
                      <a:pt x="0" y="61"/>
                    </a:cubicBezTo>
                    <a:cubicBezTo>
                      <a:pt x="0" y="66"/>
                      <a:pt x="6" y="66"/>
                      <a:pt x="8" y="66"/>
                    </a:cubicBezTo>
                    <a:cubicBezTo>
                      <a:pt x="8" y="73"/>
                      <a:pt x="8" y="83"/>
                      <a:pt x="8" y="87"/>
                    </a:cubicBezTo>
                    <a:cubicBezTo>
                      <a:pt x="8" y="90"/>
                      <a:pt x="12" y="93"/>
                      <a:pt x="16" y="93"/>
                    </a:cubicBezTo>
                    <a:cubicBezTo>
                      <a:pt x="20" y="93"/>
                      <a:pt x="22" y="78"/>
                      <a:pt x="22" y="76"/>
                    </a:cubicBezTo>
                    <a:cubicBezTo>
                      <a:pt x="22" y="70"/>
                      <a:pt x="18" y="67"/>
                      <a:pt x="18" y="61"/>
                    </a:cubicBezTo>
                    <a:cubicBezTo>
                      <a:pt x="18" y="58"/>
                      <a:pt x="22" y="56"/>
                      <a:pt x="25" y="56"/>
                    </a:cubicBezTo>
                    <a:cubicBezTo>
                      <a:pt x="26" y="56"/>
                      <a:pt x="27" y="56"/>
                      <a:pt x="28" y="56"/>
                    </a:cubicBezTo>
                    <a:cubicBezTo>
                      <a:pt x="27" y="65"/>
                      <a:pt x="27" y="65"/>
                      <a:pt x="27" y="65"/>
                    </a:cubicBezTo>
                    <a:cubicBezTo>
                      <a:pt x="27" y="71"/>
                      <a:pt x="34" y="73"/>
                      <a:pt x="34" y="79"/>
                    </a:cubicBezTo>
                    <a:cubicBezTo>
                      <a:pt x="34" y="80"/>
                      <a:pt x="34" y="81"/>
                      <a:pt x="34" y="83"/>
                    </a:cubicBezTo>
                    <a:cubicBezTo>
                      <a:pt x="39" y="83"/>
                      <a:pt x="39" y="83"/>
                      <a:pt x="39" y="83"/>
                    </a:cubicBezTo>
                    <a:cubicBezTo>
                      <a:pt x="39" y="78"/>
                      <a:pt x="49" y="78"/>
                      <a:pt x="49" y="73"/>
                    </a:cubicBezTo>
                    <a:cubicBezTo>
                      <a:pt x="47" y="73"/>
                      <a:pt x="43" y="68"/>
                      <a:pt x="43" y="65"/>
                    </a:cubicBezTo>
                    <a:cubicBezTo>
                      <a:pt x="43" y="65"/>
                      <a:pt x="44" y="64"/>
                      <a:pt x="45" y="63"/>
                    </a:cubicBezTo>
                    <a:cubicBezTo>
                      <a:pt x="42" y="61"/>
                      <a:pt x="34" y="46"/>
                      <a:pt x="34" y="44"/>
                    </a:cubicBezTo>
                    <a:cubicBezTo>
                      <a:pt x="46" y="44"/>
                      <a:pt x="47" y="35"/>
                      <a:pt x="57" y="31"/>
                    </a:cubicBezTo>
                    <a:cubicBezTo>
                      <a:pt x="57" y="28"/>
                      <a:pt x="57" y="28"/>
                      <a:pt x="57" y="28"/>
                    </a:cubicBezTo>
                    <a:cubicBezTo>
                      <a:pt x="54" y="27"/>
                      <a:pt x="31" y="35"/>
                      <a:pt x="31" y="36"/>
                    </a:cubicBezTo>
                    <a:lnTo>
                      <a:pt x="31" y="34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20" name="Полилиния 107">
                <a:extLst>
                  <a:ext uri="{FF2B5EF4-FFF2-40B4-BE49-F238E27FC236}">
                    <a16:creationId xmlns:a16="http://schemas.microsoft.com/office/drawing/2014/main" xmlns="" id="{81AA8950-AF09-FEFF-7C9E-C0C53D0DDA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213" y="2973388"/>
                <a:ext cx="171450" cy="49213"/>
              </a:xfrm>
              <a:custGeom>
                <a:avLst/>
                <a:gdLst/>
                <a:ahLst/>
                <a:cxnLst>
                  <a:cxn ang="0">
                    <a:pos x="123" y="36"/>
                  </a:cxn>
                  <a:cxn ang="0">
                    <a:pos x="114" y="33"/>
                  </a:cxn>
                  <a:cxn ang="0">
                    <a:pos x="114" y="37"/>
                  </a:cxn>
                  <a:cxn ang="0">
                    <a:pos x="67" y="31"/>
                  </a:cxn>
                  <a:cxn ang="0">
                    <a:pos x="56" y="25"/>
                  </a:cxn>
                  <a:cxn ang="0">
                    <a:pos x="32" y="22"/>
                  </a:cxn>
                  <a:cxn ang="0">
                    <a:pos x="14" y="20"/>
                  </a:cxn>
                  <a:cxn ang="0">
                    <a:pos x="0" y="10"/>
                  </a:cxn>
                  <a:cxn ang="0">
                    <a:pos x="11" y="1"/>
                  </a:cxn>
                  <a:cxn ang="0">
                    <a:pos x="14" y="3"/>
                  </a:cxn>
                  <a:cxn ang="0">
                    <a:pos x="22" y="0"/>
                  </a:cxn>
                  <a:cxn ang="0">
                    <a:pos x="55" y="14"/>
                  </a:cxn>
                  <a:cxn ang="0">
                    <a:pos x="68" y="7"/>
                  </a:cxn>
                  <a:cxn ang="0">
                    <a:pos x="88" y="15"/>
                  </a:cxn>
                  <a:cxn ang="0">
                    <a:pos x="101" y="14"/>
                  </a:cxn>
                  <a:cxn ang="0">
                    <a:pos x="105" y="14"/>
                  </a:cxn>
                  <a:cxn ang="0">
                    <a:pos x="89" y="17"/>
                  </a:cxn>
                  <a:cxn ang="0">
                    <a:pos x="107" y="22"/>
                  </a:cxn>
                  <a:cxn ang="0">
                    <a:pos x="111" y="26"/>
                  </a:cxn>
                  <a:cxn ang="0">
                    <a:pos x="121" y="27"/>
                  </a:cxn>
                  <a:cxn ang="0">
                    <a:pos x="128" y="31"/>
                  </a:cxn>
                  <a:cxn ang="0">
                    <a:pos x="123" y="36"/>
                  </a:cxn>
                </a:cxnLst>
                <a:rect l="0" t="0" r="r" b="b"/>
                <a:pathLst>
                  <a:path w="128" h="37">
                    <a:moveTo>
                      <a:pt x="123" y="36"/>
                    </a:moveTo>
                    <a:cubicBezTo>
                      <a:pt x="119" y="36"/>
                      <a:pt x="119" y="33"/>
                      <a:pt x="114" y="33"/>
                    </a:cubicBezTo>
                    <a:cubicBezTo>
                      <a:pt x="113" y="33"/>
                      <a:pt x="114" y="36"/>
                      <a:pt x="114" y="37"/>
                    </a:cubicBezTo>
                    <a:cubicBezTo>
                      <a:pt x="100" y="32"/>
                      <a:pt x="85" y="31"/>
                      <a:pt x="67" y="31"/>
                    </a:cubicBezTo>
                    <a:cubicBezTo>
                      <a:pt x="62" y="31"/>
                      <a:pt x="61" y="25"/>
                      <a:pt x="56" y="25"/>
                    </a:cubicBezTo>
                    <a:cubicBezTo>
                      <a:pt x="48" y="25"/>
                      <a:pt x="41" y="25"/>
                      <a:pt x="32" y="22"/>
                    </a:cubicBezTo>
                    <a:cubicBezTo>
                      <a:pt x="25" y="20"/>
                      <a:pt x="19" y="24"/>
                      <a:pt x="14" y="20"/>
                    </a:cubicBezTo>
                    <a:cubicBezTo>
                      <a:pt x="10" y="15"/>
                      <a:pt x="7" y="10"/>
                      <a:pt x="0" y="10"/>
                    </a:cubicBezTo>
                    <a:cubicBezTo>
                      <a:pt x="0" y="9"/>
                      <a:pt x="8" y="1"/>
                      <a:pt x="11" y="1"/>
                    </a:cubicBezTo>
                    <a:cubicBezTo>
                      <a:pt x="12" y="1"/>
                      <a:pt x="13" y="3"/>
                      <a:pt x="14" y="3"/>
                    </a:cubicBezTo>
                    <a:cubicBezTo>
                      <a:pt x="17" y="3"/>
                      <a:pt x="19" y="0"/>
                      <a:pt x="22" y="0"/>
                    </a:cubicBezTo>
                    <a:cubicBezTo>
                      <a:pt x="35" y="0"/>
                      <a:pt x="41" y="14"/>
                      <a:pt x="55" y="14"/>
                    </a:cubicBezTo>
                    <a:cubicBezTo>
                      <a:pt x="62" y="14"/>
                      <a:pt x="63" y="7"/>
                      <a:pt x="68" y="7"/>
                    </a:cubicBezTo>
                    <a:cubicBezTo>
                      <a:pt x="77" y="7"/>
                      <a:pt x="80" y="15"/>
                      <a:pt x="88" y="15"/>
                    </a:cubicBezTo>
                    <a:cubicBezTo>
                      <a:pt x="101" y="14"/>
                      <a:pt x="101" y="14"/>
                      <a:pt x="101" y="14"/>
                    </a:cubicBezTo>
                    <a:cubicBezTo>
                      <a:pt x="105" y="14"/>
                      <a:pt x="105" y="14"/>
                      <a:pt x="105" y="14"/>
                    </a:cubicBezTo>
                    <a:cubicBezTo>
                      <a:pt x="104" y="16"/>
                      <a:pt x="89" y="17"/>
                      <a:pt x="89" y="17"/>
                    </a:cubicBezTo>
                    <a:cubicBezTo>
                      <a:pt x="93" y="22"/>
                      <a:pt x="99" y="22"/>
                      <a:pt x="107" y="22"/>
                    </a:cubicBezTo>
                    <a:cubicBezTo>
                      <a:pt x="110" y="22"/>
                      <a:pt x="110" y="26"/>
                      <a:pt x="111" y="26"/>
                    </a:cubicBezTo>
                    <a:cubicBezTo>
                      <a:pt x="114" y="30"/>
                      <a:pt x="117" y="26"/>
                      <a:pt x="121" y="27"/>
                    </a:cubicBezTo>
                    <a:cubicBezTo>
                      <a:pt x="125" y="29"/>
                      <a:pt x="125" y="30"/>
                      <a:pt x="128" y="31"/>
                    </a:cubicBezTo>
                    <a:cubicBezTo>
                      <a:pt x="127" y="33"/>
                      <a:pt x="124" y="36"/>
                      <a:pt x="123" y="36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21" name="Полилиния 108">
                <a:extLst>
                  <a:ext uri="{FF2B5EF4-FFF2-40B4-BE49-F238E27FC236}">
                    <a16:creationId xmlns:a16="http://schemas.microsoft.com/office/drawing/2014/main" xmlns="" id="{825FA364-D32B-13CD-6662-4538DFA37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6513" y="3013075"/>
                <a:ext cx="52388" cy="12700"/>
              </a:xfrm>
              <a:custGeom>
                <a:avLst/>
                <a:gdLst/>
                <a:ahLst/>
                <a:cxnLst>
                  <a:cxn ang="0">
                    <a:pos x="26" y="9"/>
                  </a:cxn>
                  <a:cxn ang="0">
                    <a:pos x="10" y="9"/>
                  </a:cxn>
                  <a:cxn ang="0">
                    <a:pos x="0" y="4"/>
                  </a:cxn>
                  <a:cxn ang="0">
                    <a:pos x="8" y="1"/>
                  </a:cxn>
                  <a:cxn ang="0">
                    <a:pos x="26" y="4"/>
                  </a:cxn>
                  <a:cxn ang="0">
                    <a:pos x="39" y="0"/>
                  </a:cxn>
                  <a:cxn ang="0">
                    <a:pos x="26" y="9"/>
                  </a:cxn>
                </a:cxnLst>
                <a:rect l="0" t="0" r="r" b="b"/>
                <a:pathLst>
                  <a:path w="39" h="9">
                    <a:moveTo>
                      <a:pt x="26" y="9"/>
                    </a:moveTo>
                    <a:cubicBezTo>
                      <a:pt x="20" y="9"/>
                      <a:pt x="13" y="9"/>
                      <a:pt x="10" y="9"/>
                    </a:cubicBezTo>
                    <a:cubicBezTo>
                      <a:pt x="7" y="9"/>
                      <a:pt x="0" y="9"/>
                      <a:pt x="0" y="4"/>
                    </a:cubicBezTo>
                    <a:cubicBezTo>
                      <a:pt x="0" y="1"/>
                      <a:pt x="5" y="1"/>
                      <a:pt x="8" y="1"/>
                    </a:cubicBezTo>
                    <a:cubicBezTo>
                      <a:pt x="16" y="1"/>
                      <a:pt x="19" y="4"/>
                      <a:pt x="26" y="4"/>
                    </a:cubicBezTo>
                    <a:cubicBezTo>
                      <a:pt x="32" y="4"/>
                      <a:pt x="35" y="2"/>
                      <a:pt x="39" y="0"/>
                    </a:cubicBezTo>
                    <a:cubicBezTo>
                      <a:pt x="35" y="6"/>
                      <a:pt x="32" y="7"/>
                      <a:pt x="26" y="9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22" name="Полилиния 109">
                <a:extLst>
                  <a:ext uri="{FF2B5EF4-FFF2-40B4-BE49-F238E27FC236}">
                    <a16:creationId xmlns:a16="http://schemas.microsoft.com/office/drawing/2014/main" xmlns="" id="{A1957833-1D97-558C-66CD-D97144244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5713" y="3016250"/>
                <a:ext cx="36513" cy="12700"/>
              </a:xfrm>
              <a:custGeom>
                <a:avLst/>
                <a:gdLst/>
                <a:ahLst/>
                <a:cxnLst>
                  <a:cxn ang="0">
                    <a:pos x="27" y="6"/>
                  </a:cxn>
                  <a:cxn ang="0">
                    <a:pos x="23" y="6"/>
                  </a:cxn>
                  <a:cxn ang="0">
                    <a:pos x="19" y="5"/>
                  </a:cxn>
                  <a:cxn ang="0">
                    <a:pos x="9" y="9"/>
                  </a:cxn>
                  <a:cxn ang="0">
                    <a:pos x="0" y="6"/>
                  </a:cxn>
                  <a:cxn ang="0">
                    <a:pos x="7" y="1"/>
                  </a:cxn>
                  <a:cxn ang="0">
                    <a:pos x="16" y="3"/>
                  </a:cxn>
                  <a:cxn ang="0">
                    <a:pos x="16" y="0"/>
                  </a:cxn>
                  <a:cxn ang="0">
                    <a:pos x="27" y="0"/>
                  </a:cxn>
                  <a:cxn ang="0">
                    <a:pos x="27" y="6"/>
                  </a:cxn>
                </a:cxnLst>
                <a:rect l="0" t="0" r="r" b="b"/>
                <a:pathLst>
                  <a:path w="27" h="9">
                    <a:moveTo>
                      <a:pt x="27" y="6"/>
                    </a:moveTo>
                    <a:cubicBezTo>
                      <a:pt x="23" y="6"/>
                      <a:pt x="23" y="6"/>
                      <a:pt x="23" y="6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5" y="6"/>
                      <a:pt x="13" y="9"/>
                      <a:pt x="9" y="9"/>
                    </a:cubicBezTo>
                    <a:cubicBezTo>
                      <a:pt x="5" y="9"/>
                      <a:pt x="0" y="8"/>
                      <a:pt x="0" y="6"/>
                    </a:cubicBezTo>
                    <a:cubicBezTo>
                      <a:pt x="0" y="1"/>
                      <a:pt x="3" y="1"/>
                      <a:pt x="7" y="1"/>
                    </a:cubicBezTo>
                    <a:cubicBezTo>
                      <a:pt x="11" y="1"/>
                      <a:pt x="13" y="2"/>
                      <a:pt x="16" y="3"/>
                    </a:cubicBezTo>
                    <a:cubicBezTo>
                      <a:pt x="16" y="2"/>
                      <a:pt x="16" y="1"/>
                      <a:pt x="16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3"/>
                      <a:pt x="26" y="5"/>
                      <a:pt x="27" y="6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23" name="Полилиния 110">
                <a:extLst>
                  <a:ext uri="{FF2B5EF4-FFF2-40B4-BE49-F238E27FC236}">
                    <a16:creationId xmlns:a16="http://schemas.microsoft.com/office/drawing/2014/main" xmlns="" id="{D2FA6466-DE2B-6130-D8B5-BC16A32D35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3813" y="3030538"/>
                <a:ext cx="26988" cy="19050"/>
              </a:xfrm>
              <a:custGeom>
                <a:avLst/>
                <a:gdLst/>
                <a:ahLst/>
                <a:cxnLst>
                  <a:cxn ang="0">
                    <a:pos x="15" y="14"/>
                  </a:cxn>
                  <a:cxn ang="0">
                    <a:pos x="12" y="9"/>
                  </a:cxn>
                  <a:cxn ang="0">
                    <a:pos x="0" y="4"/>
                  </a:cxn>
                  <a:cxn ang="0">
                    <a:pos x="9" y="1"/>
                  </a:cxn>
                  <a:cxn ang="0">
                    <a:pos x="13" y="1"/>
                  </a:cxn>
                  <a:cxn ang="0">
                    <a:pos x="20" y="11"/>
                  </a:cxn>
                  <a:cxn ang="0">
                    <a:pos x="16" y="14"/>
                  </a:cxn>
                  <a:cxn ang="0">
                    <a:pos x="15" y="14"/>
                  </a:cxn>
                </a:cxnLst>
                <a:rect l="0" t="0" r="r" b="b"/>
                <a:pathLst>
                  <a:path w="20" h="14">
                    <a:moveTo>
                      <a:pt x="15" y="14"/>
                    </a:moveTo>
                    <a:cubicBezTo>
                      <a:pt x="12" y="14"/>
                      <a:pt x="12" y="10"/>
                      <a:pt x="12" y="9"/>
                    </a:cubicBezTo>
                    <a:cubicBezTo>
                      <a:pt x="8" y="9"/>
                      <a:pt x="0" y="8"/>
                      <a:pt x="0" y="4"/>
                    </a:cubicBezTo>
                    <a:cubicBezTo>
                      <a:pt x="0" y="0"/>
                      <a:pt x="6" y="1"/>
                      <a:pt x="9" y="1"/>
                    </a:cubicBezTo>
                    <a:cubicBezTo>
                      <a:pt x="10" y="1"/>
                      <a:pt x="12" y="1"/>
                      <a:pt x="13" y="1"/>
                    </a:cubicBezTo>
                    <a:cubicBezTo>
                      <a:pt x="13" y="7"/>
                      <a:pt x="20" y="6"/>
                      <a:pt x="20" y="11"/>
                    </a:cubicBezTo>
                    <a:cubicBezTo>
                      <a:pt x="20" y="13"/>
                      <a:pt x="18" y="14"/>
                      <a:pt x="16" y="14"/>
                    </a:cubicBezTo>
                    <a:cubicBezTo>
                      <a:pt x="16" y="14"/>
                      <a:pt x="15" y="14"/>
                      <a:pt x="15" y="14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24" name="Полилиния 111">
                <a:extLst>
                  <a:ext uri="{FF2B5EF4-FFF2-40B4-BE49-F238E27FC236}">
                    <a16:creationId xmlns:a16="http://schemas.microsoft.com/office/drawing/2014/main" xmlns="" id="{4DB65547-DD5B-2E44-2DAA-A365EAA221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23013" y="3014663"/>
                <a:ext cx="11113" cy="111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8" y="3"/>
                  </a:cxn>
                  <a:cxn ang="0">
                    <a:pos x="3" y="8"/>
                  </a:cxn>
                  <a:cxn ang="0">
                    <a:pos x="0" y="5"/>
                  </a:cxn>
                  <a:cxn ang="0">
                    <a:pos x="0" y="0"/>
                  </a:cxn>
                </a:cxnLst>
                <a:rect l="0" t="0" r="r" b="b"/>
                <a:pathLst>
                  <a:path w="8" h="8">
                    <a:moveTo>
                      <a:pt x="0" y="0"/>
                    </a:moveTo>
                    <a:cubicBezTo>
                      <a:pt x="1" y="0"/>
                      <a:pt x="2" y="0"/>
                      <a:pt x="4" y="0"/>
                    </a:cubicBezTo>
                    <a:cubicBezTo>
                      <a:pt x="6" y="0"/>
                      <a:pt x="6" y="2"/>
                      <a:pt x="8" y="3"/>
                    </a:cubicBezTo>
                    <a:cubicBezTo>
                      <a:pt x="7" y="6"/>
                      <a:pt x="5" y="8"/>
                      <a:pt x="3" y="8"/>
                    </a:cubicBezTo>
                    <a:cubicBezTo>
                      <a:pt x="2" y="8"/>
                      <a:pt x="0" y="6"/>
                      <a:pt x="0" y="5"/>
                    </a:cubicBezTo>
                    <a:cubicBezTo>
                      <a:pt x="0" y="3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25" name="Полилиния 112">
                <a:extLst>
                  <a:ext uri="{FF2B5EF4-FFF2-40B4-BE49-F238E27FC236}">
                    <a16:creationId xmlns:a16="http://schemas.microsoft.com/office/drawing/2014/main" xmlns="" id="{5FFF8CFB-C180-FBD3-5652-A1A8868DB0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8425" y="3016250"/>
                <a:ext cx="58738" cy="34925"/>
              </a:xfrm>
              <a:custGeom>
                <a:avLst/>
                <a:gdLst/>
                <a:ahLst/>
                <a:cxnLst>
                  <a:cxn ang="0">
                    <a:pos x="19" y="13"/>
                  </a:cxn>
                  <a:cxn ang="0">
                    <a:pos x="17" y="19"/>
                  </a:cxn>
                  <a:cxn ang="0">
                    <a:pos x="3" y="26"/>
                  </a:cxn>
                  <a:cxn ang="0">
                    <a:pos x="0" y="22"/>
                  </a:cxn>
                  <a:cxn ang="0">
                    <a:pos x="15" y="10"/>
                  </a:cxn>
                  <a:cxn ang="0">
                    <a:pos x="17" y="6"/>
                  </a:cxn>
                  <a:cxn ang="0">
                    <a:pos x="45" y="3"/>
                  </a:cxn>
                  <a:cxn ang="0">
                    <a:pos x="19" y="13"/>
                  </a:cxn>
                </a:cxnLst>
                <a:rect l="0" t="0" r="r" b="b"/>
                <a:pathLst>
                  <a:path w="45" h="26">
                    <a:moveTo>
                      <a:pt x="19" y="13"/>
                    </a:moveTo>
                    <a:cubicBezTo>
                      <a:pt x="16" y="13"/>
                      <a:pt x="19" y="17"/>
                      <a:pt x="17" y="19"/>
                    </a:cubicBezTo>
                    <a:cubicBezTo>
                      <a:pt x="15" y="21"/>
                      <a:pt x="8" y="26"/>
                      <a:pt x="3" y="26"/>
                    </a:cubicBezTo>
                    <a:cubicBezTo>
                      <a:pt x="1" y="26"/>
                      <a:pt x="0" y="24"/>
                      <a:pt x="0" y="22"/>
                    </a:cubicBezTo>
                    <a:cubicBezTo>
                      <a:pt x="0" y="12"/>
                      <a:pt x="8" y="12"/>
                      <a:pt x="15" y="10"/>
                    </a:cubicBezTo>
                    <a:cubicBezTo>
                      <a:pt x="16" y="10"/>
                      <a:pt x="16" y="7"/>
                      <a:pt x="17" y="6"/>
                    </a:cubicBezTo>
                    <a:cubicBezTo>
                      <a:pt x="21" y="2"/>
                      <a:pt x="41" y="0"/>
                      <a:pt x="45" y="3"/>
                    </a:cubicBezTo>
                    <a:cubicBezTo>
                      <a:pt x="40" y="9"/>
                      <a:pt x="26" y="13"/>
                      <a:pt x="19" y="13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26" name="Полилиния 113">
                <a:extLst>
                  <a:ext uri="{FF2B5EF4-FFF2-40B4-BE49-F238E27FC236}">
                    <a16:creationId xmlns:a16="http://schemas.microsoft.com/office/drawing/2014/main" xmlns="" id="{D6D6DB36-3EE6-9268-D171-85509B802F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9700" y="2922588"/>
                <a:ext cx="17463" cy="19050"/>
              </a:xfrm>
              <a:custGeom>
                <a:avLst/>
                <a:gdLst/>
                <a:ahLst/>
                <a:cxnLst>
                  <a:cxn ang="0">
                    <a:pos x="13" y="8"/>
                  </a:cxn>
                  <a:cxn ang="0">
                    <a:pos x="8" y="14"/>
                  </a:cxn>
                  <a:cxn ang="0">
                    <a:pos x="0" y="5"/>
                  </a:cxn>
                  <a:cxn ang="0">
                    <a:pos x="13" y="8"/>
                  </a:cxn>
                </a:cxnLst>
                <a:rect l="0" t="0" r="r" b="b"/>
                <a:pathLst>
                  <a:path w="13" h="14">
                    <a:moveTo>
                      <a:pt x="13" y="8"/>
                    </a:moveTo>
                    <a:cubicBezTo>
                      <a:pt x="13" y="9"/>
                      <a:pt x="10" y="14"/>
                      <a:pt x="8" y="14"/>
                    </a:cubicBezTo>
                    <a:cubicBezTo>
                      <a:pt x="6" y="14"/>
                      <a:pt x="0" y="9"/>
                      <a:pt x="0" y="5"/>
                    </a:cubicBezTo>
                    <a:cubicBezTo>
                      <a:pt x="0" y="0"/>
                      <a:pt x="13" y="4"/>
                      <a:pt x="13" y="8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27" name="Полилиния 114">
                <a:extLst>
                  <a:ext uri="{FF2B5EF4-FFF2-40B4-BE49-F238E27FC236}">
                    <a16:creationId xmlns:a16="http://schemas.microsoft.com/office/drawing/2014/main" xmlns="" id="{30684D56-68B2-AC70-E705-0D0931613B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9863" y="2924175"/>
                <a:ext cx="47625" cy="14288"/>
              </a:xfrm>
              <a:custGeom>
                <a:avLst/>
                <a:gdLst/>
                <a:ahLst/>
                <a:cxnLst>
                  <a:cxn ang="0">
                    <a:pos x="31" y="2"/>
                  </a:cxn>
                  <a:cxn ang="0">
                    <a:pos x="36" y="10"/>
                  </a:cxn>
                  <a:cxn ang="0">
                    <a:pos x="34" y="10"/>
                  </a:cxn>
                  <a:cxn ang="0">
                    <a:pos x="18" y="6"/>
                  </a:cxn>
                  <a:cxn ang="0">
                    <a:pos x="8" y="6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23" y="0"/>
                  </a:cxn>
                  <a:cxn ang="0">
                    <a:pos x="30" y="2"/>
                  </a:cxn>
                  <a:cxn ang="0">
                    <a:pos x="31" y="2"/>
                  </a:cxn>
                </a:cxnLst>
                <a:rect l="0" t="0" r="r" b="b"/>
                <a:pathLst>
                  <a:path w="36" h="10">
                    <a:moveTo>
                      <a:pt x="31" y="2"/>
                    </a:moveTo>
                    <a:cubicBezTo>
                      <a:pt x="32" y="5"/>
                      <a:pt x="36" y="6"/>
                      <a:pt x="36" y="10"/>
                    </a:cubicBezTo>
                    <a:cubicBezTo>
                      <a:pt x="36" y="10"/>
                      <a:pt x="35" y="10"/>
                      <a:pt x="34" y="10"/>
                    </a:cubicBezTo>
                    <a:cubicBezTo>
                      <a:pt x="28" y="10"/>
                      <a:pt x="25" y="6"/>
                      <a:pt x="18" y="6"/>
                    </a:cubicBezTo>
                    <a:cubicBezTo>
                      <a:pt x="14" y="6"/>
                      <a:pt x="12" y="6"/>
                      <a:pt x="8" y="6"/>
                    </a:cubicBezTo>
                    <a:cubicBezTo>
                      <a:pt x="6" y="6"/>
                      <a:pt x="0" y="4"/>
                      <a:pt x="0" y="4"/>
                    </a:cubicBezTo>
                    <a:cubicBezTo>
                      <a:pt x="0" y="2"/>
                      <a:pt x="3" y="1"/>
                      <a:pt x="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4" y="3"/>
                      <a:pt x="27" y="2"/>
                      <a:pt x="30" y="2"/>
                    </a:cubicBezTo>
                    <a:lnTo>
                      <a:pt x="31" y="2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28" name="Полилиния 115">
                <a:extLst>
                  <a:ext uri="{FF2B5EF4-FFF2-40B4-BE49-F238E27FC236}">
                    <a16:creationId xmlns:a16="http://schemas.microsoft.com/office/drawing/2014/main" xmlns="" id="{6DB2B5DD-EF0B-CDC4-EF20-C69F101AF5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513" y="2836863"/>
                <a:ext cx="19050" cy="46038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5"/>
                  </a:cxn>
                  <a:cxn ang="0">
                    <a:pos x="14" y="24"/>
                  </a:cxn>
                  <a:cxn ang="0">
                    <a:pos x="11" y="17"/>
                  </a:cxn>
                  <a:cxn ang="0">
                    <a:pos x="15" y="12"/>
                  </a:cxn>
                  <a:cxn ang="0">
                    <a:pos x="4" y="0"/>
                  </a:cxn>
                  <a:cxn ang="0">
                    <a:pos x="0" y="9"/>
                  </a:cxn>
                  <a:cxn ang="0">
                    <a:pos x="3" y="21"/>
                  </a:cxn>
                  <a:cxn ang="0">
                    <a:pos x="3" y="27"/>
                  </a:cxn>
                  <a:cxn ang="0">
                    <a:pos x="9" y="35"/>
                  </a:cxn>
                  <a:cxn ang="0">
                    <a:pos x="4" y="28"/>
                  </a:cxn>
                </a:cxnLst>
                <a:rect l="0" t="0" r="r" b="b"/>
                <a:pathLst>
                  <a:path w="15" h="35">
                    <a:moveTo>
                      <a:pt x="4" y="28"/>
                    </a:moveTo>
                    <a:cubicBezTo>
                      <a:pt x="4" y="25"/>
                      <a:pt x="4" y="25"/>
                      <a:pt x="4" y="25"/>
                    </a:cubicBezTo>
                    <a:cubicBezTo>
                      <a:pt x="8" y="25"/>
                      <a:pt x="12" y="24"/>
                      <a:pt x="14" y="24"/>
                    </a:cubicBezTo>
                    <a:cubicBezTo>
                      <a:pt x="14" y="20"/>
                      <a:pt x="11" y="20"/>
                      <a:pt x="11" y="17"/>
                    </a:cubicBezTo>
                    <a:cubicBezTo>
                      <a:pt x="11" y="15"/>
                      <a:pt x="15" y="14"/>
                      <a:pt x="15" y="12"/>
                    </a:cubicBezTo>
                    <a:cubicBezTo>
                      <a:pt x="8" y="10"/>
                      <a:pt x="4" y="6"/>
                      <a:pt x="4" y="0"/>
                    </a:cubicBezTo>
                    <a:cubicBezTo>
                      <a:pt x="0" y="2"/>
                      <a:pt x="0" y="5"/>
                      <a:pt x="0" y="9"/>
                    </a:cubicBezTo>
                    <a:cubicBezTo>
                      <a:pt x="0" y="15"/>
                      <a:pt x="3" y="16"/>
                      <a:pt x="3" y="21"/>
                    </a:cubicBezTo>
                    <a:cubicBezTo>
                      <a:pt x="3" y="26"/>
                      <a:pt x="3" y="24"/>
                      <a:pt x="3" y="27"/>
                    </a:cubicBezTo>
                    <a:cubicBezTo>
                      <a:pt x="3" y="30"/>
                      <a:pt x="4" y="35"/>
                      <a:pt x="9" y="35"/>
                    </a:cubicBezTo>
                    <a:cubicBezTo>
                      <a:pt x="7" y="32"/>
                      <a:pt x="6" y="31"/>
                      <a:pt x="4" y="28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29" name="Полилиния 119">
                <a:extLst>
                  <a:ext uri="{FF2B5EF4-FFF2-40B4-BE49-F238E27FC236}">
                    <a16:creationId xmlns:a16="http://schemas.microsoft.com/office/drawing/2014/main" xmlns="" id="{6124A73F-F198-7C64-D456-85014A64FC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4613" y="2709863"/>
                <a:ext cx="76200" cy="71438"/>
              </a:xfrm>
              <a:custGeom>
                <a:avLst/>
                <a:gdLst/>
                <a:ahLst/>
                <a:cxnLst>
                  <a:cxn ang="0">
                    <a:pos x="48" y="38"/>
                  </a:cxn>
                  <a:cxn ang="0">
                    <a:pos x="46" y="35"/>
                  </a:cxn>
                  <a:cxn ang="0">
                    <a:pos x="42" y="40"/>
                  </a:cxn>
                  <a:cxn ang="0">
                    <a:pos x="47" y="48"/>
                  </a:cxn>
                  <a:cxn ang="0">
                    <a:pos x="42" y="53"/>
                  </a:cxn>
                  <a:cxn ang="0">
                    <a:pos x="40" y="50"/>
                  </a:cxn>
                  <a:cxn ang="0">
                    <a:pos x="36" y="51"/>
                  </a:cxn>
                  <a:cxn ang="0">
                    <a:pos x="26" y="37"/>
                  </a:cxn>
                  <a:cxn ang="0">
                    <a:pos x="28" y="32"/>
                  </a:cxn>
                  <a:cxn ang="0">
                    <a:pos x="27" y="29"/>
                  </a:cxn>
                  <a:cxn ang="0">
                    <a:pos x="21" y="28"/>
                  </a:cxn>
                  <a:cxn ang="0">
                    <a:pos x="21" y="32"/>
                  </a:cxn>
                  <a:cxn ang="0">
                    <a:pos x="17" y="30"/>
                  </a:cxn>
                  <a:cxn ang="0">
                    <a:pos x="16" y="32"/>
                  </a:cxn>
                  <a:cxn ang="0">
                    <a:pos x="12" y="28"/>
                  </a:cxn>
                  <a:cxn ang="0">
                    <a:pos x="4" y="45"/>
                  </a:cxn>
                  <a:cxn ang="0">
                    <a:pos x="4" y="36"/>
                  </a:cxn>
                  <a:cxn ang="0">
                    <a:pos x="2" y="32"/>
                  </a:cxn>
                  <a:cxn ang="0">
                    <a:pos x="5" y="22"/>
                  </a:cxn>
                  <a:cxn ang="0">
                    <a:pos x="19" y="14"/>
                  </a:cxn>
                  <a:cxn ang="0">
                    <a:pos x="26" y="20"/>
                  </a:cxn>
                  <a:cxn ang="0">
                    <a:pos x="28" y="20"/>
                  </a:cxn>
                  <a:cxn ang="0">
                    <a:pos x="32" y="15"/>
                  </a:cxn>
                  <a:cxn ang="0">
                    <a:pos x="41" y="9"/>
                  </a:cxn>
                  <a:cxn ang="0">
                    <a:pos x="42" y="0"/>
                  </a:cxn>
                  <a:cxn ang="0">
                    <a:pos x="48" y="4"/>
                  </a:cxn>
                  <a:cxn ang="0">
                    <a:pos x="58" y="33"/>
                  </a:cxn>
                  <a:cxn ang="0">
                    <a:pos x="53" y="46"/>
                  </a:cxn>
                  <a:cxn ang="0">
                    <a:pos x="48" y="36"/>
                  </a:cxn>
                  <a:cxn ang="0">
                    <a:pos x="48" y="38"/>
                  </a:cxn>
                </a:cxnLst>
                <a:rect l="0" t="0" r="r" b="b"/>
                <a:pathLst>
                  <a:path w="58" h="53">
                    <a:moveTo>
                      <a:pt x="48" y="38"/>
                    </a:moveTo>
                    <a:cubicBezTo>
                      <a:pt x="48" y="37"/>
                      <a:pt x="47" y="36"/>
                      <a:pt x="46" y="35"/>
                    </a:cubicBezTo>
                    <a:cubicBezTo>
                      <a:pt x="44" y="37"/>
                      <a:pt x="42" y="38"/>
                      <a:pt x="42" y="40"/>
                    </a:cubicBezTo>
                    <a:cubicBezTo>
                      <a:pt x="42" y="43"/>
                      <a:pt x="47" y="44"/>
                      <a:pt x="47" y="48"/>
                    </a:cubicBezTo>
                    <a:cubicBezTo>
                      <a:pt x="47" y="51"/>
                      <a:pt x="45" y="53"/>
                      <a:pt x="42" y="53"/>
                    </a:cubicBezTo>
                    <a:cubicBezTo>
                      <a:pt x="41" y="53"/>
                      <a:pt x="40" y="51"/>
                      <a:pt x="40" y="50"/>
                    </a:cubicBezTo>
                    <a:cubicBezTo>
                      <a:pt x="39" y="51"/>
                      <a:pt x="37" y="51"/>
                      <a:pt x="36" y="51"/>
                    </a:cubicBezTo>
                    <a:cubicBezTo>
                      <a:pt x="31" y="51"/>
                      <a:pt x="26" y="44"/>
                      <a:pt x="26" y="37"/>
                    </a:cubicBezTo>
                    <a:cubicBezTo>
                      <a:pt x="26" y="34"/>
                      <a:pt x="27" y="33"/>
                      <a:pt x="28" y="32"/>
                    </a:cubicBezTo>
                    <a:cubicBezTo>
                      <a:pt x="28" y="31"/>
                      <a:pt x="27" y="30"/>
                      <a:pt x="27" y="29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30"/>
                      <a:pt x="20" y="31"/>
                      <a:pt x="21" y="32"/>
                    </a:cubicBezTo>
                    <a:cubicBezTo>
                      <a:pt x="18" y="32"/>
                      <a:pt x="18" y="31"/>
                      <a:pt x="17" y="30"/>
                    </a:cubicBezTo>
                    <a:cubicBezTo>
                      <a:pt x="17" y="30"/>
                      <a:pt x="16" y="31"/>
                      <a:pt x="16" y="32"/>
                    </a:cubicBezTo>
                    <a:cubicBezTo>
                      <a:pt x="14" y="31"/>
                      <a:pt x="12" y="28"/>
                      <a:pt x="12" y="28"/>
                    </a:cubicBezTo>
                    <a:cubicBezTo>
                      <a:pt x="8" y="32"/>
                      <a:pt x="8" y="45"/>
                      <a:pt x="4" y="45"/>
                    </a:cubicBezTo>
                    <a:cubicBezTo>
                      <a:pt x="0" y="45"/>
                      <a:pt x="4" y="37"/>
                      <a:pt x="4" y="36"/>
                    </a:cubicBezTo>
                    <a:cubicBezTo>
                      <a:pt x="4" y="35"/>
                      <a:pt x="2" y="33"/>
                      <a:pt x="2" y="32"/>
                    </a:cubicBezTo>
                    <a:cubicBezTo>
                      <a:pt x="2" y="28"/>
                      <a:pt x="4" y="26"/>
                      <a:pt x="5" y="22"/>
                    </a:cubicBezTo>
                    <a:cubicBezTo>
                      <a:pt x="13" y="22"/>
                      <a:pt x="11" y="14"/>
                      <a:pt x="19" y="14"/>
                    </a:cubicBezTo>
                    <a:cubicBezTo>
                      <a:pt x="24" y="14"/>
                      <a:pt x="23" y="20"/>
                      <a:pt x="26" y="20"/>
                    </a:cubicBezTo>
                    <a:cubicBezTo>
                      <a:pt x="27" y="20"/>
                      <a:pt x="27" y="20"/>
                      <a:pt x="28" y="20"/>
                    </a:cubicBezTo>
                    <a:cubicBezTo>
                      <a:pt x="28" y="18"/>
                      <a:pt x="30" y="16"/>
                      <a:pt x="32" y="15"/>
                    </a:cubicBezTo>
                    <a:cubicBezTo>
                      <a:pt x="32" y="10"/>
                      <a:pt x="39" y="12"/>
                      <a:pt x="41" y="9"/>
                    </a:cubicBezTo>
                    <a:cubicBezTo>
                      <a:pt x="42" y="7"/>
                      <a:pt x="42" y="1"/>
                      <a:pt x="42" y="0"/>
                    </a:cubicBezTo>
                    <a:cubicBezTo>
                      <a:pt x="45" y="0"/>
                      <a:pt x="47" y="2"/>
                      <a:pt x="48" y="4"/>
                    </a:cubicBezTo>
                    <a:cubicBezTo>
                      <a:pt x="51" y="7"/>
                      <a:pt x="58" y="30"/>
                      <a:pt x="58" y="33"/>
                    </a:cubicBezTo>
                    <a:cubicBezTo>
                      <a:pt x="58" y="37"/>
                      <a:pt x="53" y="39"/>
                      <a:pt x="53" y="46"/>
                    </a:cubicBezTo>
                    <a:cubicBezTo>
                      <a:pt x="51" y="46"/>
                      <a:pt x="48" y="37"/>
                      <a:pt x="48" y="36"/>
                    </a:cubicBezTo>
                    <a:lnTo>
                      <a:pt x="48" y="38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30" name="Полилиния 120">
                <a:extLst>
                  <a:ext uri="{FF2B5EF4-FFF2-40B4-BE49-F238E27FC236}">
                    <a16:creationId xmlns:a16="http://schemas.microsoft.com/office/drawing/2014/main" xmlns="" id="{8461BFBF-DEA4-DD26-098C-8B5733E88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4763" y="2690813"/>
                <a:ext cx="36513" cy="39688"/>
              </a:xfrm>
              <a:custGeom>
                <a:avLst/>
                <a:gdLst/>
                <a:ahLst/>
                <a:cxnLst>
                  <a:cxn ang="0">
                    <a:pos x="3" y="29"/>
                  </a:cxn>
                  <a:cxn ang="0">
                    <a:pos x="0" y="29"/>
                  </a:cxn>
                  <a:cxn ang="0">
                    <a:pos x="22" y="5"/>
                  </a:cxn>
                  <a:cxn ang="0">
                    <a:pos x="25" y="0"/>
                  </a:cxn>
                  <a:cxn ang="0">
                    <a:pos x="28" y="6"/>
                  </a:cxn>
                  <a:cxn ang="0">
                    <a:pos x="24" y="9"/>
                  </a:cxn>
                  <a:cxn ang="0">
                    <a:pos x="17" y="13"/>
                  </a:cxn>
                  <a:cxn ang="0">
                    <a:pos x="3" y="29"/>
                  </a:cxn>
                </a:cxnLst>
                <a:rect l="0" t="0" r="r" b="b"/>
                <a:pathLst>
                  <a:path w="28" h="29">
                    <a:moveTo>
                      <a:pt x="3" y="29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4" y="18"/>
                      <a:pt x="18" y="13"/>
                      <a:pt x="22" y="5"/>
                    </a:cubicBezTo>
                    <a:cubicBezTo>
                      <a:pt x="23" y="3"/>
                      <a:pt x="23" y="1"/>
                      <a:pt x="25" y="0"/>
                    </a:cubicBezTo>
                    <a:cubicBezTo>
                      <a:pt x="24" y="4"/>
                      <a:pt x="26" y="5"/>
                      <a:pt x="28" y="6"/>
                    </a:cubicBezTo>
                    <a:cubicBezTo>
                      <a:pt x="26" y="8"/>
                      <a:pt x="26" y="9"/>
                      <a:pt x="24" y="9"/>
                    </a:cubicBezTo>
                    <a:cubicBezTo>
                      <a:pt x="23" y="12"/>
                      <a:pt x="20" y="13"/>
                      <a:pt x="17" y="13"/>
                    </a:cubicBezTo>
                    <a:cubicBezTo>
                      <a:pt x="15" y="22"/>
                      <a:pt x="8" y="26"/>
                      <a:pt x="3" y="29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31" name="Полилиния 121">
                <a:extLst>
                  <a:ext uri="{FF2B5EF4-FFF2-40B4-BE49-F238E27FC236}">
                    <a16:creationId xmlns:a16="http://schemas.microsoft.com/office/drawing/2014/main" xmlns="" id="{3F42043F-E661-EC6A-0727-8898843DC5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3338" y="2563813"/>
                <a:ext cx="71438" cy="101600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6" y="20"/>
                  </a:cxn>
                  <a:cxn ang="0">
                    <a:pos x="5" y="7"/>
                  </a:cxn>
                  <a:cxn ang="0">
                    <a:pos x="9" y="0"/>
                  </a:cxn>
                  <a:cxn ang="0">
                    <a:pos x="16" y="7"/>
                  </a:cxn>
                  <a:cxn ang="0">
                    <a:pos x="21" y="3"/>
                  </a:cxn>
                  <a:cxn ang="0">
                    <a:pos x="22" y="5"/>
                  </a:cxn>
                  <a:cxn ang="0">
                    <a:pos x="23" y="8"/>
                  </a:cxn>
                  <a:cxn ang="0">
                    <a:pos x="28" y="25"/>
                  </a:cxn>
                  <a:cxn ang="0">
                    <a:pos x="20" y="42"/>
                  </a:cxn>
                  <a:cxn ang="0">
                    <a:pos x="30" y="59"/>
                  </a:cxn>
                  <a:cxn ang="0">
                    <a:pos x="30" y="58"/>
                  </a:cxn>
                  <a:cxn ang="0">
                    <a:pos x="34" y="55"/>
                  </a:cxn>
                  <a:cxn ang="0">
                    <a:pos x="43" y="64"/>
                  </a:cxn>
                  <a:cxn ang="0">
                    <a:pos x="46" y="61"/>
                  </a:cxn>
                  <a:cxn ang="0">
                    <a:pos x="49" y="62"/>
                  </a:cxn>
                  <a:cxn ang="0">
                    <a:pos x="46" y="66"/>
                  </a:cxn>
                  <a:cxn ang="0">
                    <a:pos x="49" y="66"/>
                  </a:cxn>
                  <a:cxn ang="0">
                    <a:pos x="54" y="71"/>
                  </a:cxn>
                  <a:cxn ang="0">
                    <a:pos x="54" y="74"/>
                  </a:cxn>
                  <a:cxn ang="0">
                    <a:pos x="53" y="76"/>
                  </a:cxn>
                  <a:cxn ang="0">
                    <a:pos x="51" y="73"/>
                  </a:cxn>
                  <a:cxn ang="0">
                    <a:pos x="36" y="61"/>
                  </a:cxn>
                  <a:cxn ang="0">
                    <a:pos x="37" y="69"/>
                  </a:cxn>
                  <a:cxn ang="0">
                    <a:pos x="25" y="60"/>
                  </a:cxn>
                  <a:cxn ang="0">
                    <a:pos x="19" y="62"/>
                  </a:cxn>
                  <a:cxn ang="0">
                    <a:pos x="13" y="57"/>
                  </a:cxn>
                  <a:cxn ang="0">
                    <a:pos x="15" y="53"/>
                  </a:cxn>
                  <a:cxn ang="0">
                    <a:pos x="15" y="49"/>
                  </a:cxn>
                  <a:cxn ang="0">
                    <a:pos x="13" y="49"/>
                  </a:cxn>
                  <a:cxn ang="0">
                    <a:pos x="10" y="51"/>
                  </a:cxn>
                  <a:cxn ang="0">
                    <a:pos x="1" y="44"/>
                  </a:cxn>
                  <a:cxn ang="0">
                    <a:pos x="4" y="31"/>
                  </a:cxn>
                </a:cxnLst>
                <a:rect l="0" t="0" r="r" b="b"/>
                <a:pathLst>
                  <a:path w="54" h="76">
                    <a:moveTo>
                      <a:pt x="4" y="31"/>
                    </a:moveTo>
                    <a:cubicBezTo>
                      <a:pt x="6" y="28"/>
                      <a:pt x="6" y="23"/>
                      <a:pt x="6" y="20"/>
                    </a:cubicBezTo>
                    <a:cubicBezTo>
                      <a:pt x="7" y="15"/>
                      <a:pt x="5" y="12"/>
                      <a:pt x="5" y="7"/>
                    </a:cubicBezTo>
                    <a:cubicBezTo>
                      <a:pt x="5" y="3"/>
                      <a:pt x="6" y="0"/>
                      <a:pt x="9" y="0"/>
                    </a:cubicBezTo>
                    <a:cubicBezTo>
                      <a:pt x="13" y="0"/>
                      <a:pt x="12" y="7"/>
                      <a:pt x="16" y="7"/>
                    </a:cubicBezTo>
                    <a:cubicBezTo>
                      <a:pt x="18" y="7"/>
                      <a:pt x="20" y="4"/>
                      <a:pt x="21" y="3"/>
                    </a:cubicBezTo>
                    <a:cubicBezTo>
                      <a:pt x="21" y="3"/>
                      <a:pt x="22" y="4"/>
                      <a:pt x="22" y="5"/>
                    </a:cubicBezTo>
                    <a:cubicBezTo>
                      <a:pt x="22" y="6"/>
                      <a:pt x="23" y="7"/>
                      <a:pt x="23" y="8"/>
                    </a:cubicBezTo>
                    <a:cubicBezTo>
                      <a:pt x="23" y="13"/>
                      <a:pt x="28" y="18"/>
                      <a:pt x="28" y="25"/>
                    </a:cubicBezTo>
                    <a:cubicBezTo>
                      <a:pt x="28" y="33"/>
                      <a:pt x="20" y="34"/>
                      <a:pt x="20" y="42"/>
                    </a:cubicBezTo>
                    <a:cubicBezTo>
                      <a:pt x="20" y="48"/>
                      <a:pt x="26" y="57"/>
                      <a:pt x="30" y="59"/>
                    </a:cubicBezTo>
                    <a:cubicBezTo>
                      <a:pt x="30" y="59"/>
                      <a:pt x="30" y="58"/>
                      <a:pt x="30" y="58"/>
                    </a:cubicBezTo>
                    <a:cubicBezTo>
                      <a:pt x="30" y="56"/>
                      <a:pt x="32" y="54"/>
                      <a:pt x="34" y="55"/>
                    </a:cubicBezTo>
                    <a:cubicBezTo>
                      <a:pt x="39" y="55"/>
                      <a:pt x="40" y="63"/>
                      <a:pt x="43" y="64"/>
                    </a:cubicBezTo>
                    <a:cubicBezTo>
                      <a:pt x="44" y="64"/>
                      <a:pt x="45" y="61"/>
                      <a:pt x="46" y="61"/>
                    </a:cubicBezTo>
                    <a:cubicBezTo>
                      <a:pt x="47" y="61"/>
                      <a:pt x="48" y="62"/>
                      <a:pt x="49" y="62"/>
                    </a:cubicBezTo>
                    <a:cubicBezTo>
                      <a:pt x="48" y="64"/>
                      <a:pt x="46" y="64"/>
                      <a:pt x="46" y="66"/>
                    </a:cubicBezTo>
                    <a:cubicBezTo>
                      <a:pt x="46" y="67"/>
                      <a:pt x="48" y="67"/>
                      <a:pt x="49" y="66"/>
                    </a:cubicBezTo>
                    <a:cubicBezTo>
                      <a:pt x="49" y="69"/>
                      <a:pt x="51" y="71"/>
                      <a:pt x="54" y="71"/>
                    </a:cubicBezTo>
                    <a:cubicBezTo>
                      <a:pt x="54" y="72"/>
                      <a:pt x="54" y="73"/>
                      <a:pt x="54" y="74"/>
                    </a:cubicBezTo>
                    <a:cubicBezTo>
                      <a:pt x="54" y="75"/>
                      <a:pt x="53" y="76"/>
                      <a:pt x="53" y="76"/>
                    </a:cubicBezTo>
                    <a:cubicBezTo>
                      <a:pt x="51" y="76"/>
                      <a:pt x="51" y="74"/>
                      <a:pt x="51" y="73"/>
                    </a:cubicBezTo>
                    <a:cubicBezTo>
                      <a:pt x="48" y="69"/>
                      <a:pt x="39" y="65"/>
                      <a:pt x="36" y="61"/>
                    </a:cubicBezTo>
                    <a:cubicBezTo>
                      <a:pt x="34" y="64"/>
                      <a:pt x="35" y="66"/>
                      <a:pt x="37" y="69"/>
                    </a:cubicBezTo>
                    <a:cubicBezTo>
                      <a:pt x="31" y="69"/>
                      <a:pt x="31" y="60"/>
                      <a:pt x="25" y="60"/>
                    </a:cubicBezTo>
                    <a:cubicBezTo>
                      <a:pt x="23" y="60"/>
                      <a:pt x="21" y="62"/>
                      <a:pt x="19" y="62"/>
                    </a:cubicBezTo>
                    <a:cubicBezTo>
                      <a:pt x="16" y="62"/>
                      <a:pt x="13" y="59"/>
                      <a:pt x="13" y="57"/>
                    </a:cubicBezTo>
                    <a:cubicBezTo>
                      <a:pt x="13" y="55"/>
                      <a:pt x="14" y="53"/>
                      <a:pt x="15" y="53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3" y="49"/>
                      <a:pt x="13" y="49"/>
                      <a:pt x="13" y="49"/>
                    </a:cubicBezTo>
                    <a:cubicBezTo>
                      <a:pt x="12" y="50"/>
                      <a:pt x="11" y="51"/>
                      <a:pt x="10" y="51"/>
                    </a:cubicBezTo>
                    <a:cubicBezTo>
                      <a:pt x="8" y="51"/>
                      <a:pt x="1" y="47"/>
                      <a:pt x="1" y="44"/>
                    </a:cubicBezTo>
                    <a:cubicBezTo>
                      <a:pt x="1" y="38"/>
                      <a:pt x="0" y="30"/>
                      <a:pt x="4" y="31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32" name="Полилиния 122">
                <a:extLst>
                  <a:ext uri="{FF2B5EF4-FFF2-40B4-BE49-F238E27FC236}">
                    <a16:creationId xmlns:a16="http://schemas.microsoft.com/office/drawing/2014/main" xmlns="" id="{9C13340B-C843-F5CC-12AB-4DC43DCD9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7950" y="2665413"/>
                <a:ext cx="23813" cy="41275"/>
              </a:xfrm>
              <a:custGeom>
                <a:avLst/>
                <a:gdLst/>
                <a:ahLst/>
                <a:cxnLst>
                  <a:cxn ang="0">
                    <a:pos x="16" y="20"/>
                  </a:cxn>
                  <a:cxn ang="0">
                    <a:pos x="10" y="20"/>
                  </a:cxn>
                  <a:cxn ang="0">
                    <a:pos x="14" y="28"/>
                  </a:cxn>
                  <a:cxn ang="0">
                    <a:pos x="14" y="30"/>
                  </a:cxn>
                  <a:cxn ang="0">
                    <a:pos x="10" y="30"/>
                  </a:cxn>
                  <a:cxn ang="0">
                    <a:pos x="8" y="25"/>
                  </a:cxn>
                  <a:cxn ang="0">
                    <a:pos x="8" y="23"/>
                  </a:cxn>
                  <a:cxn ang="0">
                    <a:pos x="2" y="17"/>
                  </a:cxn>
                  <a:cxn ang="0">
                    <a:pos x="2" y="15"/>
                  </a:cxn>
                  <a:cxn ang="0">
                    <a:pos x="8" y="15"/>
                  </a:cxn>
                  <a:cxn ang="0">
                    <a:pos x="10" y="13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13" y="2"/>
                  </a:cxn>
                  <a:cxn ang="0">
                    <a:pos x="13" y="6"/>
                  </a:cxn>
                  <a:cxn ang="0">
                    <a:pos x="15" y="6"/>
                  </a:cxn>
                  <a:cxn ang="0">
                    <a:pos x="15" y="12"/>
                  </a:cxn>
                  <a:cxn ang="0">
                    <a:pos x="18" y="15"/>
                  </a:cxn>
                  <a:cxn ang="0">
                    <a:pos x="16" y="20"/>
                  </a:cxn>
                </a:cxnLst>
                <a:rect l="0" t="0" r="r" b="b"/>
                <a:pathLst>
                  <a:path w="18" h="30">
                    <a:moveTo>
                      <a:pt x="16" y="20"/>
                    </a:moveTo>
                    <a:cubicBezTo>
                      <a:pt x="10" y="20"/>
                      <a:pt x="10" y="20"/>
                      <a:pt x="10" y="20"/>
                    </a:cubicBezTo>
                    <a:cubicBezTo>
                      <a:pt x="11" y="23"/>
                      <a:pt x="12" y="27"/>
                      <a:pt x="14" y="28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3" y="30"/>
                      <a:pt x="11" y="30"/>
                      <a:pt x="10" y="30"/>
                    </a:cubicBezTo>
                    <a:cubicBezTo>
                      <a:pt x="7" y="30"/>
                      <a:pt x="7" y="27"/>
                      <a:pt x="8" y="25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5" y="23"/>
                      <a:pt x="3" y="19"/>
                      <a:pt x="2" y="17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4" y="15"/>
                      <a:pt x="7" y="15"/>
                      <a:pt x="8" y="15"/>
                    </a:cubicBezTo>
                    <a:cubicBezTo>
                      <a:pt x="8" y="15"/>
                      <a:pt x="10" y="14"/>
                      <a:pt x="10" y="13"/>
                    </a:cubicBezTo>
                    <a:cubicBezTo>
                      <a:pt x="10" y="8"/>
                      <a:pt x="1" y="5"/>
                      <a:pt x="0" y="2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7" y="0"/>
                      <a:pt x="9" y="2"/>
                      <a:pt x="13" y="2"/>
                    </a:cubicBezTo>
                    <a:cubicBezTo>
                      <a:pt x="13" y="3"/>
                      <a:pt x="13" y="5"/>
                      <a:pt x="13" y="6"/>
                    </a:cubicBezTo>
                    <a:cubicBezTo>
                      <a:pt x="13" y="6"/>
                      <a:pt x="14" y="6"/>
                      <a:pt x="15" y="6"/>
                    </a:cubicBezTo>
                    <a:cubicBezTo>
                      <a:pt x="15" y="8"/>
                      <a:pt x="15" y="12"/>
                      <a:pt x="15" y="12"/>
                    </a:cubicBezTo>
                    <a:cubicBezTo>
                      <a:pt x="15" y="12"/>
                      <a:pt x="18" y="15"/>
                      <a:pt x="18" y="15"/>
                    </a:cubicBezTo>
                    <a:cubicBezTo>
                      <a:pt x="18" y="18"/>
                      <a:pt x="17" y="19"/>
                      <a:pt x="16" y="2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33" name="Полилиния 123">
                <a:extLst>
                  <a:ext uri="{FF2B5EF4-FFF2-40B4-BE49-F238E27FC236}">
                    <a16:creationId xmlns:a16="http://schemas.microsoft.com/office/drawing/2014/main" xmlns="" id="{18F41A11-BEE9-DA22-980F-1EE6817DD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3025" y="2676525"/>
                <a:ext cx="19050" cy="25400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14" y="7"/>
                  </a:cxn>
                  <a:cxn ang="0">
                    <a:pos x="1" y="19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5" y="2"/>
                  </a:cxn>
                  <a:cxn ang="0">
                    <a:pos x="3" y="1"/>
                  </a:cxn>
                </a:cxnLst>
                <a:rect l="0" t="0" r="r" b="b"/>
                <a:pathLst>
                  <a:path w="14" h="19">
                    <a:moveTo>
                      <a:pt x="3" y="1"/>
                    </a:moveTo>
                    <a:cubicBezTo>
                      <a:pt x="4" y="3"/>
                      <a:pt x="14" y="4"/>
                      <a:pt x="14" y="7"/>
                    </a:cubicBezTo>
                    <a:cubicBezTo>
                      <a:pt x="14" y="14"/>
                      <a:pt x="5" y="17"/>
                      <a:pt x="1" y="19"/>
                    </a:cubicBezTo>
                    <a:cubicBezTo>
                      <a:pt x="1" y="13"/>
                      <a:pt x="0" y="6"/>
                      <a:pt x="0" y="2"/>
                    </a:cubicBezTo>
                    <a:cubicBezTo>
                      <a:pt x="0" y="1"/>
                      <a:pt x="2" y="0"/>
                      <a:pt x="2" y="0"/>
                    </a:cubicBezTo>
                    <a:cubicBezTo>
                      <a:pt x="3" y="0"/>
                      <a:pt x="4" y="2"/>
                      <a:pt x="5" y="2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34" name="Полилиния 124">
                <a:extLst>
                  <a:ext uri="{FF2B5EF4-FFF2-40B4-BE49-F238E27FC236}">
                    <a16:creationId xmlns:a16="http://schemas.microsoft.com/office/drawing/2014/main" xmlns="" id="{FCC24094-748C-BF60-67CC-B3F735AB03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0" y="2692400"/>
                <a:ext cx="19050" cy="31750"/>
              </a:xfrm>
              <a:custGeom>
                <a:avLst/>
                <a:gdLst/>
                <a:ahLst/>
                <a:cxnLst>
                  <a:cxn ang="0">
                    <a:pos x="14" y="5"/>
                  </a:cxn>
                  <a:cxn ang="0">
                    <a:pos x="9" y="17"/>
                  </a:cxn>
                  <a:cxn ang="0">
                    <a:pos x="11" y="22"/>
                  </a:cxn>
                  <a:cxn ang="0">
                    <a:pos x="9" y="24"/>
                  </a:cxn>
                  <a:cxn ang="0">
                    <a:pos x="0" y="14"/>
                  </a:cxn>
                  <a:cxn ang="0">
                    <a:pos x="4" y="12"/>
                  </a:cxn>
                  <a:cxn ang="0">
                    <a:pos x="8" y="1"/>
                  </a:cxn>
                  <a:cxn ang="0">
                    <a:pos x="14" y="5"/>
                  </a:cxn>
                </a:cxnLst>
                <a:rect l="0" t="0" r="r" b="b"/>
                <a:pathLst>
                  <a:path w="14" h="24">
                    <a:moveTo>
                      <a:pt x="14" y="5"/>
                    </a:moveTo>
                    <a:cubicBezTo>
                      <a:pt x="14" y="10"/>
                      <a:pt x="10" y="13"/>
                      <a:pt x="9" y="17"/>
                    </a:cubicBezTo>
                    <a:cubicBezTo>
                      <a:pt x="9" y="21"/>
                      <a:pt x="11" y="20"/>
                      <a:pt x="11" y="22"/>
                    </a:cubicBezTo>
                    <a:cubicBezTo>
                      <a:pt x="11" y="23"/>
                      <a:pt x="10" y="24"/>
                      <a:pt x="9" y="24"/>
                    </a:cubicBezTo>
                    <a:cubicBezTo>
                      <a:pt x="7" y="24"/>
                      <a:pt x="0" y="17"/>
                      <a:pt x="0" y="14"/>
                    </a:cubicBezTo>
                    <a:cubicBezTo>
                      <a:pt x="0" y="13"/>
                      <a:pt x="3" y="12"/>
                      <a:pt x="4" y="12"/>
                    </a:cubicBezTo>
                    <a:cubicBezTo>
                      <a:pt x="4" y="11"/>
                      <a:pt x="6" y="1"/>
                      <a:pt x="8" y="1"/>
                    </a:cubicBezTo>
                    <a:cubicBezTo>
                      <a:pt x="12" y="0"/>
                      <a:pt x="14" y="3"/>
                      <a:pt x="14" y="5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35" name="Полилиния 125">
                <a:extLst>
                  <a:ext uri="{FF2B5EF4-FFF2-40B4-BE49-F238E27FC236}">
                    <a16:creationId xmlns:a16="http://schemas.microsoft.com/office/drawing/2014/main" xmlns="" id="{EA6382DC-9AD2-597C-7DED-633290409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0013" y="2693988"/>
                <a:ext cx="7938" cy="20638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2" y="15"/>
                  </a:cxn>
                  <a:cxn ang="0">
                    <a:pos x="0" y="15"/>
                  </a:cxn>
                  <a:cxn ang="0">
                    <a:pos x="4" y="0"/>
                  </a:cxn>
                  <a:cxn ang="0">
                    <a:pos x="7" y="0"/>
                  </a:cxn>
                </a:cxnLst>
                <a:rect l="0" t="0" r="r" b="b"/>
                <a:pathLst>
                  <a:path w="7" h="15">
                    <a:moveTo>
                      <a:pt x="7" y="0"/>
                    </a:moveTo>
                    <a:cubicBezTo>
                      <a:pt x="7" y="7"/>
                      <a:pt x="2" y="9"/>
                      <a:pt x="2" y="15"/>
                    </a:cubicBezTo>
                    <a:cubicBezTo>
                      <a:pt x="2" y="15"/>
                      <a:pt x="0" y="15"/>
                      <a:pt x="0" y="15"/>
                    </a:cubicBezTo>
                    <a:cubicBezTo>
                      <a:pt x="1" y="10"/>
                      <a:pt x="4" y="7"/>
                      <a:pt x="4" y="0"/>
                    </a:cubicBezTo>
                    <a:cubicBezTo>
                      <a:pt x="5" y="0"/>
                      <a:pt x="6" y="0"/>
                      <a:pt x="7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36" name="Полилиния 126">
                <a:extLst>
                  <a:ext uri="{FF2B5EF4-FFF2-40B4-BE49-F238E27FC236}">
                    <a16:creationId xmlns:a16="http://schemas.microsoft.com/office/drawing/2014/main" xmlns="" id="{E67DDBA8-494A-D9C4-99EE-2D329E6CD4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4775" y="2706688"/>
                <a:ext cx="11113" cy="11113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3" y="0"/>
                  </a:cxn>
                  <a:cxn ang="0">
                    <a:pos x="8" y="0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cubicBezTo>
                      <a:pt x="8" y="4"/>
                      <a:pt x="6" y="8"/>
                      <a:pt x="2" y="8"/>
                    </a:cubicBezTo>
                    <a:cubicBezTo>
                      <a:pt x="1" y="8"/>
                      <a:pt x="0" y="6"/>
                      <a:pt x="0" y="6"/>
                    </a:cubicBezTo>
                    <a:cubicBezTo>
                      <a:pt x="0" y="3"/>
                      <a:pt x="2" y="2"/>
                      <a:pt x="3" y="0"/>
                    </a:cubicBezTo>
                    <a:cubicBezTo>
                      <a:pt x="5" y="1"/>
                      <a:pt x="7" y="1"/>
                      <a:pt x="8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37" name="Полилиния 127">
                <a:extLst>
                  <a:ext uri="{FF2B5EF4-FFF2-40B4-BE49-F238E27FC236}">
                    <a16:creationId xmlns:a16="http://schemas.microsoft.com/office/drawing/2014/main" xmlns="" id="{73D83D63-30C2-C2F6-8B53-FC6B5C82C0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2075" y="2665413"/>
                <a:ext cx="12700" cy="17463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0" y="10"/>
                  </a:cxn>
                  <a:cxn ang="0">
                    <a:pos x="6" y="6"/>
                  </a:cxn>
                  <a:cxn ang="0">
                    <a:pos x="0" y="6"/>
                  </a:cxn>
                </a:cxnLst>
                <a:rect l="0" t="0" r="r" b="b"/>
                <a:pathLst>
                  <a:path w="10" h="12">
                    <a:moveTo>
                      <a:pt x="0" y="6"/>
                    </a:moveTo>
                    <a:cubicBezTo>
                      <a:pt x="0" y="3"/>
                      <a:pt x="0" y="2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4"/>
                      <a:pt x="10" y="5"/>
                      <a:pt x="10" y="10"/>
                    </a:cubicBezTo>
                    <a:cubicBezTo>
                      <a:pt x="10" y="12"/>
                      <a:pt x="6" y="8"/>
                      <a:pt x="6" y="6"/>
                    </a:cubicBezTo>
                    <a:cubicBezTo>
                      <a:pt x="4" y="5"/>
                      <a:pt x="2" y="6"/>
                      <a:pt x="0" y="6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38" name="Полилиния 128">
                <a:extLst>
                  <a:ext uri="{FF2B5EF4-FFF2-40B4-BE49-F238E27FC236}">
                    <a16:creationId xmlns:a16="http://schemas.microsoft.com/office/drawing/2014/main" xmlns="" id="{6248D739-3DFD-4066-000F-DA6807083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625" y="2649538"/>
                <a:ext cx="19050" cy="20638"/>
              </a:xfrm>
              <a:custGeom>
                <a:avLst/>
                <a:gdLst/>
                <a:ahLst/>
                <a:cxnLst>
                  <a:cxn ang="0">
                    <a:pos x="11" y="15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14" y="7"/>
                  </a:cxn>
                  <a:cxn ang="0">
                    <a:pos x="11" y="15"/>
                  </a:cxn>
                </a:cxnLst>
                <a:rect l="0" t="0" r="r" b="b"/>
                <a:pathLst>
                  <a:path w="15" h="15">
                    <a:moveTo>
                      <a:pt x="11" y="15"/>
                    </a:moveTo>
                    <a:cubicBezTo>
                      <a:pt x="9" y="15"/>
                      <a:pt x="0" y="0"/>
                      <a:pt x="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8" y="3"/>
                      <a:pt x="13" y="2"/>
                      <a:pt x="14" y="7"/>
                    </a:cubicBezTo>
                    <a:cubicBezTo>
                      <a:pt x="15" y="10"/>
                      <a:pt x="13" y="15"/>
                      <a:pt x="11" y="15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39" name="Полилиния 129">
                <a:extLst>
                  <a:ext uri="{FF2B5EF4-FFF2-40B4-BE49-F238E27FC236}">
                    <a16:creationId xmlns:a16="http://schemas.microsoft.com/office/drawing/2014/main" xmlns="" id="{B243B558-B972-4C0D-4C1D-0944499FA5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6675" y="2652713"/>
                <a:ext cx="6350" cy="15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1"/>
                  </a:cxn>
                  <a:cxn ang="0">
                    <a:pos x="0" y="0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1" y="1"/>
                      <a:pt x="3" y="1"/>
                      <a:pt x="4" y="1"/>
                    </a:cubicBezTo>
                    <a:cubicBezTo>
                      <a:pt x="3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40" name="Полилиния 130">
                <a:extLst>
                  <a:ext uri="{FF2B5EF4-FFF2-40B4-BE49-F238E27FC236}">
                    <a16:creationId xmlns:a16="http://schemas.microsoft.com/office/drawing/2014/main" xmlns="" id="{4C5F1887-CEA4-1D5B-1F20-2B3815BC0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2441575"/>
                <a:ext cx="36513" cy="50800"/>
              </a:xfrm>
              <a:custGeom>
                <a:avLst/>
                <a:gdLst/>
                <a:ahLst/>
                <a:cxnLst>
                  <a:cxn ang="0">
                    <a:pos x="8" y="39"/>
                  </a:cxn>
                  <a:cxn ang="0">
                    <a:pos x="1" y="26"/>
                  </a:cxn>
                  <a:cxn ang="0">
                    <a:pos x="16" y="0"/>
                  </a:cxn>
                  <a:cxn ang="0">
                    <a:pos x="8" y="39"/>
                  </a:cxn>
                </a:cxnLst>
                <a:rect l="0" t="0" r="r" b="b"/>
                <a:pathLst>
                  <a:path w="27" h="39">
                    <a:moveTo>
                      <a:pt x="8" y="39"/>
                    </a:moveTo>
                    <a:cubicBezTo>
                      <a:pt x="0" y="39"/>
                      <a:pt x="1" y="33"/>
                      <a:pt x="1" y="26"/>
                    </a:cubicBezTo>
                    <a:cubicBezTo>
                      <a:pt x="1" y="17"/>
                      <a:pt x="10" y="0"/>
                      <a:pt x="16" y="0"/>
                    </a:cubicBezTo>
                    <a:cubicBezTo>
                      <a:pt x="27" y="0"/>
                      <a:pt x="18" y="39"/>
                      <a:pt x="8" y="39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41" name="Полилиния 131">
                <a:extLst>
                  <a:ext uri="{FF2B5EF4-FFF2-40B4-BE49-F238E27FC236}">
                    <a16:creationId xmlns:a16="http://schemas.microsoft.com/office/drawing/2014/main" xmlns="" id="{79A1E1A7-A6C7-5866-CEFF-CA4CA70DE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4425" y="2532063"/>
                <a:ext cx="41275" cy="34925"/>
              </a:xfrm>
              <a:custGeom>
                <a:avLst/>
                <a:gdLst/>
                <a:ahLst/>
                <a:cxnLst>
                  <a:cxn ang="0">
                    <a:pos x="2" y="11"/>
                  </a:cxn>
                  <a:cxn ang="0">
                    <a:pos x="26" y="0"/>
                  </a:cxn>
                  <a:cxn ang="0">
                    <a:pos x="31" y="7"/>
                  </a:cxn>
                  <a:cxn ang="0">
                    <a:pos x="11" y="27"/>
                  </a:cxn>
                  <a:cxn ang="0">
                    <a:pos x="2" y="18"/>
                  </a:cxn>
                  <a:cxn ang="0">
                    <a:pos x="2" y="11"/>
                  </a:cxn>
                </a:cxnLst>
                <a:rect l="0" t="0" r="r" b="b"/>
                <a:pathLst>
                  <a:path w="31" h="27">
                    <a:moveTo>
                      <a:pt x="2" y="11"/>
                    </a:moveTo>
                    <a:cubicBezTo>
                      <a:pt x="5" y="11"/>
                      <a:pt x="20" y="0"/>
                      <a:pt x="26" y="0"/>
                    </a:cubicBezTo>
                    <a:cubicBezTo>
                      <a:pt x="28" y="0"/>
                      <a:pt x="31" y="4"/>
                      <a:pt x="31" y="7"/>
                    </a:cubicBezTo>
                    <a:cubicBezTo>
                      <a:pt x="31" y="13"/>
                      <a:pt x="18" y="27"/>
                      <a:pt x="11" y="27"/>
                    </a:cubicBezTo>
                    <a:cubicBezTo>
                      <a:pt x="5" y="27"/>
                      <a:pt x="2" y="24"/>
                      <a:pt x="2" y="18"/>
                    </a:cubicBezTo>
                    <a:cubicBezTo>
                      <a:pt x="2" y="15"/>
                      <a:pt x="0" y="11"/>
                      <a:pt x="2" y="11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42" name="Полилиния 132">
                <a:extLst>
                  <a:ext uri="{FF2B5EF4-FFF2-40B4-BE49-F238E27FC236}">
                    <a16:creationId xmlns:a16="http://schemas.microsoft.com/office/drawing/2014/main" xmlns="" id="{C7A6FE1D-12E4-7FF4-29BE-15F932CD9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5038" y="2476500"/>
                <a:ext cx="195263" cy="374650"/>
              </a:xfrm>
              <a:custGeom>
                <a:avLst/>
                <a:gdLst/>
                <a:ahLst/>
                <a:cxnLst>
                  <a:cxn ang="0">
                    <a:pos x="12" y="172"/>
                  </a:cxn>
                  <a:cxn ang="0">
                    <a:pos x="21" y="152"/>
                  </a:cxn>
                  <a:cxn ang="0">
                    <a:pos x="25" y="147"/>
                  </a:cxn>
                  <a:cxn ang="0">
                    <a:pos x="15" y="119"/>
                  </a:cxn>
                  <a:cxn ang="0">
                    <a:pos x="8" y="109"/>
                  </a:cxn>
                  <a:cxn ang="0">
                    <a:pos x="8" y="105"/>
                  </a:cxn>
                  <a:cxn ang="0">
                    <a:pos x="8" y="106"/>
                  </a:cxn>
                  <a:cxn ang="0">
                    <a:pos x="12" y="96"/>
                  </a:cxn>
                  <a:cxn ang="0">
                    <a:pos x="9" y="77"/>
                  </a:cxn>
                  <a:cxn ang="0">
                    <a:pos x="0" y="65"/>
                  </a:cxn>
                  <a:cxn ang="0">
                    <a:pos x="8" y="47"/>
                  </a:cxn>
                  <a:cxn ang="0">
                    <a:pos x="19" y="43"/>
                  </a:cxn>
                  <a:cxn ang="0">
                    <a:pos x="45" y="19"/>
                  </a:cxn>
                  <a:cxn ang="0">
                    <a:pos x="47" y="19"/>
                  </a:cxn>
                  <a:cxn ang="0">
                    <a:pos x="50" y="24"/>
                  </a:cxn>
                  <a:cxn ang="0">
                    <a:pos x="52" y="20"/>
                  </a:cxn>
                  <a:cxn ang="0">
                    <a:pos x="52" y="9"/>
                  </a:cxn>
                  <a:cxn ang="0">
                    <a:pos x="64" y="6"/>
                  </a:cxn>
                  <a:cxn ang="0">
                    <a:pos x="78" y="6"/>
                  </a:cxn>
                  <a:cxn ang="0">
                    <a:pos x="96" y="0"/>
                  </a:cxn>
                  <a:cxn ang="0">
                    <a:pos x="115" y="5"/>
                  </a:cxn>
                  <a:cxn ang="0">
                    <a:pos x="130" y="22"/>
                  </a:cxn>
                  <a:cxn ang="0">
                    <a:pos x="100" y="58"/>
                  </a:cxn>
                  <a:cxn ang="0">
                    <a:pos x="104" y="64"/>
                  </a:cxn>
                  <a:cxn ang="0">
                    <a:pos x="129" y="93"/>
                  </a:cxn>
                  <a:cxn ang="0">
                    <a:pos x="147" y="134"/>
                  </a:cxn>
                  <a:cxn ang="0">
                    <a:pos x="142" y="156"/>
                  </a:cxn>
                  <a:cxn ang="0">
                    <a:pos x="115" y="170"/>
                  </a:cxn>
                  <a:cxn ang="0">
                    <a:pos x="105" y="180"/>
                  </a:cxn>
                  <a:cxn ang="0">
                    <a:pos x="104" y="176"/>
                  </a:cxn>
                  <a:cxn ang="0">
                    <a:pos x="104" y="181"/>
                  </a:cxn>
                  <a:cxn ang="0">
                    <a:pos x="93" y="192"/>
                  </a:cxn>
                  <a:cxn ang="0">
                    <a:pos x="90" y="183"/>
                  </a:cxn>
                  <a:cxn ang="0">
                    <a:pos x="91" y="177"/>
                  </a:cxn>
                  <a:cxn ang="0">
                    <a:pos x="88" y="170"/>
                  </a:cxn>
                  <a:cxn ang="0">
                    <a:pos x="73" y="161"/>
                  </a:cxn>
                  <a:cxn ang="0">
                    <a:pos x="63" y="149"/>
                  </a:cxn>
                  <a:cxn ang="0">
                    <a:pos x="43" y="141"/>
                  </a:cxn>
                  <a:cxn ang="0">
                    <a:pos x="41" y="135"/>
                  </a:cxn>
                  <a:cxn ang="0">
                    <a:pos x="30" y="129"/>
                  </a:cxn>
                  <a:cxn ang="0">
                    <a:pos x="27" y="134"/>
                  </a:cxn>
                  <a:cxn ang="0">
                    <a:pos x="29" y="142"/>
                  </a:cxn>
                  <a:cxn ang="0">
                    <a:pos x="16" y="171"/>
                  </a:cxn>
                  <a:cxn ang="0">
                    <a:pos x="31" y="192"/>
                  </a:cxn>
                  <a:cxn ang="0">
                    <a:pos x="30" y="192"/>
                  </a:cxn>
                  <a:cxn ang="0">
                    <a:pos x="35" y="206"/>
                  </a:cxn>
                  <a:cxn ang="0">
                    <a:pos x="73" y="243"/>
                  </a:cxn>
                  <a:cxn ang="0">
                    <a:pos x="71" y="251"/>
                  </a:cxn>
                  <a:cxn ang="0">
                    <a:pos x="80" y="267"/>
                  </a:cxn>
                  <a:cxn ang="0">
                    <a:pos x="84" y="280"/>
                  </a:cxn>
                  <a:cxn ang="0">
                    <a:pos x="78" y="280"/>
                  </a:cxn>
                  <a:cxn ang="0">
                    <a:pos x="75" y="282"/>
                  </a:cxn>
                  <a:cxn ang="0">
                    <a:pos x="68" y="278"/>
                  </a:cxn>
                  <a:cxn ang="0">
                    <a:pos x="37" y="246"/>
                  </a:cxn>
                  <a:cxn ang="0">
                    <a:pos x="27" y="214"/>
                  </a:cxn>
                  <a:cxn ang="0">
                    <a:pos x="14" y="192"/>
                  </a:cxn>
                  <a:cxn ang="0">
                    <a:pos x="8" y="192"/>
                  </a:cxn>
                  <a:cxn ang="0">
                    <a:pos x="8" y="189"/>
                  </a:cxn>
                  <a:cxn ang="0">
                    <a:pos x="10" y="172"/>
                  </a:cxn>
                  <a:cxn ang="0">
                    <a:pos x="11" y="172"/>
                  </a:cxn>
                  <a:cxn ang="0">
                    <a:pos x="12" y="172"/>
                  </a:cxn>
                </a:cxnLst>
                <a:rect l="0" t="0" r="r" b="b"/>
                <a:pathLst>
                  <a:path w="147" h="282">
                    <a:moveTo>
                      <a:pt x="12" y="172"/>
                    </a:moveTo>
                    <a:cubicBezTo>
                      <a:pt x="16" y="165"/>
                      <a:pt x="17" y="160"/>
                      <a:pt x="21" y="152"/>
                    </a:cubicBezTo>
                    <a:cubicBezTo>
                      <a:pt x="22" y="150"/>
                      <a:pt x="25" y="149"/>
                      <a:pt x="25" y="147"/>
                    </a:cubicBezTo>
                    <a:cubicBezTo>
                      <a:pt x="25" y="143"/>
                      <a:pt x="19" y="123"/>
                      <a:pt x="15" y="119"/>
                    </a:cubicBezTo>
                    <a:cubicBezTo>
                      <a:pt x="12" y="116"/>
                      <a:pt x="8" y="114"/>
                      <a:pt x="8" y="109"/>
                    </a:cubicBezTo>
                    <a:cubicBezTo>
                      <a:pt x="8" y="108"/>
                      <a:pt x="8" y="107"/>
                      <a:pt x="8" y="105"/>
                    </a:cubicBezTo>
                    <a:cubicBezTo>
                      <a:pt x="8" y="106"/>
                      <a:pt x="8" y="106"/>
                      <a:pt x="8" y="106"/>
                    </a:cubicBezTo>
                    <a:cubicBezTo>
                      <a:pt x="9" y="105"/>
                      <a:pt x="12" y="100"/>
                      <a:pt x="12" y="96"/>
                    </a:cubicBezTo>
                    <a:cubicBezTo>
                      <a:pt x="12" y="91"/>
                      <a:pt x="12" y="82"/>
                      <a:pt x="9" y="77"/>
                    </a:cubicBezTo>
                    <a:cubicBezTo>
                      <a:pt x="6" y="73"/>
                      <a:pt x="0" y="73"/>
                      <a:pt x="0" y="65"/>
                    </a:cubicBezTo>
                    <a:cubicBezTo>
                      <a:pt x="0" y="57"/>
                      <a:pt x="3" y="51"/>
                      <a:pt x="8" y="47"/>
                    </a:cubicBezTo>
                    <a:cubicBezTo>
                      <a:pt x="10" y="44"/>
                      <a:pt x="15" y="45"/>
                      <a:pt x="19" y="43"/>
                    </a:cubicBezTo>
                    <a:cubicBezTo>
                      <a:pt x="29" y="36"/>
                      <a:pt x="36" y="33"/>
                      <a:pt x="45" y="19"/>
                    </a:cubicBezTo>
                    <a:cubicBezTo>
                      <a:pt x="47" y="19"/>
                      <a:pt x="47" y="19"/>
                      <a:pt x="47" y="19"/>
                    </a:cubicBezTo>
                    <a:cubicBezTo>
                      <a:pt x="47" y="23"/>
                      <a:pt x="49" y="24"/>
                      <a:pt x="50" y="24"/>
                    </a:cubicBezTo>
                    <a:cubicBezTo>
                      <a:pt x="51" y="24"/>
                      <a:pt x="52" y="22"/>
                      <a:pt x="52" y="20"/>
                    </a:cubicBezTo>
                    <a:cubicBezTo>
                      <a:pt x="52" y="16"/>
                      <a:pt x="52" y="13"/>
                      <a:pt x="52" y="9"/>
                    </a:cubicBezTo>
                    <a:cubicBezTo>
                      <a:pt x="52" y="9"/>
                      <a:pt x="62" y="6"/>
                      <a:pt x="64" y="6"/>
                    </a:cubicBezTo>
                    <a:cubicBezTo>
                      <a:pt x="78" y="6"/>
                      <a:pt x="78" y="6"/>
                      <a:pt x="78" y="6"/>
                    </a:cubicBezTo>
                    <a:cubicBezTo>
                      <a:pt x="84" y="9"/>
                      <a:pt x="89" y="0"/>
                      <a:pt x="96" y="0"/>
                    </a:cubicBezTo>
                    <a:cubicBezTo>
                      <a:pt x="103" y="0"/>
                      <a:pt x="107" y="5"/>
                      <a:pt x="115" y="5"/>
                    </a:cubicBezTo>
                    <a:cubicBezTo>
                      <a:pt x="115" y="16"/>
                      <a:pt x="123" y="20"/>
                      <a:pt x="130" y="22"/>
                    </a:cubicBezTo>
                    <a:cubicBezTo>
                      <a:pt x="121" y="36"/>
                      <a:pt x="100" y="39"/>
                      <a:pt x="100" y="58"/>
                    </a:cubicBezTo>
                    <a:cubicBezTo>
                      <a:pt x="100" y="62"/>
                      <a:pt x="102" y="63"/>
                      <a:pt x="104" y="64"/>
                    </a:cubicBezTo>
                    <a:cubicBezTo>
                      <a:pt x="114" y="74"/>
                      <a:pt x="118" y="86"/>
                      <a:pt x="129" y="93"/>
                    </a:cubicBezTo>
                    <a:cubicBezTo>
                      <a:pt x="140" y="100"/>
                      <a:pt x="147" y="119"/>
                      <a:pt x="147" y="134"/>
                    </a:cubicBezTo>
                    <a:cubicBezTo>
                      <a:pt x="147" y="144"/>
                      <a:pt x="142" y="148"/>
                      <a:pt x="142" y="156"/>
                    </a:cubicBezTo>
                    <a:cubicBezTo>
                      <a:pt x="127" y="160"/>
                      <a:pt x="126" y="164"/>
                      <a:pt x="115" y="170"/>
                    </a:cubicBezTo>
                    <a:cubicBezTo>
                      <a:pt x="109" y="173"/>
                      <a:pt x="110" y="180"/>
                      <a:pt x="105" y="180"/>
                    </a:cubicBezTo>
                    <a:cubicBezTo>
                      <a:pt x="104" y="180"/>
                      <a:pt x="104" y="177"/>
                      <a:pt x="104" y="176"/>
                    </a:cubicBezTo>
                    <a:cubicBezTo>
                      <a:pt x="104" y="179"/>
                      <a:pt x="104" y="180"/>
                      <a:pt x="104" y="181"/>
                    </a:cubicBezTo>
                    <a:cubicBezTo>
                      <a:pt x="104" y="185"/>
                      <a:pt x="95" y="192"/>
                      <a:pt x="93" y="192"/>
                    </a:cubicBezTo>
                    <a:cubicBezTo>
                      <a:pt x="91" y="192"/>
                      <a:pt x="90" y="186"/>
                      <a:pt x="90" y="183"/>
                    </a:cubicBezTo>
                    <a:cubicBezTo>
                      <a:pt x="90" y="179"/>
                      <a:pt x="90" y="178"/>
                      <a:pt x="91" y="177"/>
                    </a:cubicBezTo>
                    <a:cubicBezTo>
                      <a:pt x="90" y="176"/>
                      <a:pt x="89" y="172"/>
                      <a:pt x="88" y="170"/>
                    </a:cubicBezTo>
                    <a:cubicBezTo>
                      <a:pt x="82" y="170"/>
                      <a:pt x="73" y="168"/>
                      <a:pt x="73" y="161"/>
                    </a:cubicBezTo>
                    <a:cubicBezTo>
                      <a:pt x="63" y="161"/>
                      <a:pt x="68" y="155"/>
                      <a:pt x="63" y="149"/>
                    </a:cubicBezTo>
                    <a:cubicBezTo>
                      <a:pt x="56" y="143"/>
                      <a:pt x="50" y="143"/>
                      <a:pt x="43" y="141"/>
                    </a:cubicBezTo>
                    <a:cubicBezTo>
                      <a:pt x="42" y="141"/>
                      <a:pt x="41" y="135"/>
                      <a:pt x="41" y="135"/>
                    </a:cubicBezTo>
                    <a:cubicBezTo>
                      <a:pt x="40" y="130"/>
                      <a:pt x="34" y="129"/>
                      <a:pt x="30" y="129"/>
                    </a:cubicBezTo>
                    <a:cubicBezTo>
                      <a:pt x="26" y="129"/>
                      <a:pt x="27" y="132"/>
                      <a:pt x="27" y="134"/>
                    </a:cubicBezTo>
                    <a:cubicBezTo>
                      <a:pt x="27" y="138"/>
                      <a:pt x="29" y="139"/>
                      <a:pt x="29" y="142"/>
                    </a:cubicBezTo>
                    <a:cubicBezTo>
                      <a:pt x="29" y="156"/>
                      <a:pt x="16" y="159"/>
                      <a:pt x="16" y="171"/>
                    </a:cubicBezTo>
                    <a:cubicBezTo>
                      <a:pt x="16" y="185"/>
                      <a:pt x="31" y="179"/>
                      <a:pt x="31" y="192"/>
                    </a:cubicBezTo>
                    <a:cubicBezTo>
                      <a:pt x="30" y="192"/>
                      <a:pt x="30" y="192"/>
                      <a:pt x="30" y="192"/>
                    </a:cubicBezTo>
                    <a:cubicBezTo>
                      <a:pt x="32" y="195"/>
                      <a:pt x="32" y="203"/>
                      <a:pt x="35" y="206"/>
                    </a:cubicBezTo>
                    <a:cubicBezTo>
                      <a:pt x="47" y="218"/>
                      <a:pt x="73" y="221"/>
                      <a:pt x="73" y="243"/>
                    </a:cubicBezTo>
                    <a:cubicBezTo>
                      <a:pt x="73" y="247"/>
                      <a:pt x="71" y="247"/>
                      <a:pt x="71" y="251"/>
                    </a:cubicBezTo>
                    <a:cubicBezTo>
                      <a:pt x="71" y="259"/>
                      <a:pt x="78" y="262"/>
                      <a:pt x="80" y="267"/>
                    </a:cubicBezTo>
                    <a:cubicBezTo>
                      <a:pt x="82" y="273"/>
                      <a:pt x="82" y="275"/>
                      <a:pt x="84" y="280"/>
                    </a:cubicBezTo>
                    <a:cubicBezTo>
                      <a:pt x="80" y="280"/>
                      <a:pt x="80" y="280"/>
                      <a:pt x="78" y="280"/>
                    </a:cubicBezTo>
                    <a:cubicBezTo>
                      <a:pt x="77" y="280"/>
                      <a:pt x="76" y="282"/>
                      <a:pt x="75" y="282"/>
                    </a:cubicBezTo>
                    <a:cubicBezTo>
                      <a:pt x="71" y="282"/>
                      <a:pt x="70" y="279"/>
                      <a:pt x="68" y="278"/>
                    </a:cubicBezTo>
                    <a:cubicBezTo>
                      <a:pt x="54" y="274"/>
                      <a:pt x="41" y="261"/>
                      <a:pt x="37" y="246"/>
                    </a:cubicBezTo>
                    <a:cubicBezTo>
                      <a:pt x="33" y="233"/>
                      <a:pt x="32" y="224"/>
                      <a:pt x="27" y="214"/>
                    </a:cubicBezTo>
                    <a:cubicBezTo>
                      <a:pt x="24" y="208"/>
                      <a:pt x="21" y="192"/>
                      <a:pt x="14" y="192"/>
                    </a:cubicBezTo>
                    <a:cubicBezTo>
                      <a:pt x="9" y="192"/>
                      <a:pt x="12" y="194"/>
                      <a:pt x="8" y="192"/>
                    </a:cubicBezTo>
                    <a:cubicBezTo>
                      <a:pt x="7" y="192"/>
                      <a:pt x="8" y="190"/>
                      <a:pt x="8" y="189"/>
                    </a:cubicBezTo>
                    <a:cubicBezTo>
                      <a:pt x="8" y="183"/>
                      <a:pt x="9" y="179"/>
                      <a:pt x="10" y="172"/>
                    </a:cubicBezTo>
                    <a:cubicBezTo>
                      <a:pt x="11" y="172"/>
                      <a:pt x="11" y="172"/>
                      <a:pt x="11" y="172"/>
                    </a:cubicBezTo>
                    <a:lnTo>
                      <a:pt x="12" y="172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43" name="Полилиния 133">
                <a:extLst>
                  <a:ext uri="{FF2B5EF4-FFF2-40B4-BE49-F238E27FC236}">
                    <a16:creationId xmlns:a16="http://schemas.microsoft.com/office/drawing/2014/main" xmlns="" id="{42D90216-9E31-CC31-2065-96536C3CE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2038" y="2898775"/>
                <a:ext cx="26988" cy="25400"/>
              </a:xfrm>
              <a:custGeom>
                <a:avLst/>
                <a:gdLst/>
                <a:ahLst/>
                <a:cxnLst>
                  <a:cxn ang="0">
                    <a:pos x="12" y="17"/>
                  </a:cxn>
                  <a:cxn ang="0">
                    <a:pos x="9" y="11"/>
                  </a:cxn>
                  <a:cxn ang="0">
                    <a:pos x="0" y="6"/>
                  </a:cxn>
                  <a:cxn ang="0">
                    <a:pos x="9" y="0"/>
                  </a:cxn>
                  <a:cxn ang="0">
                    <a:pos x="20" y="15"/>
                  </a:cxn>
                  <a:cxn ang="0">
                    <a:pos x="21" y="19"/>
                  </a:cxn>
                  <a:cxn ang="0">
                    <a:pos x="17" y="19"/>
                  </a:cxn>
                  <a:cxn ang="0">
                    <a:pos x="12" y="17"/>
                  </a:cxn>
                </a:cxnLst>
                <a:rect l="0" t="0" r="r" b="b"/>
                <a:pathLst>
                  <a:path w="21" h="19">
                    <a:moveTo>
                      <a:pt x="12" y="17"/>
                    </a:moveTo>
                    <a:cubicBezTo>
                      <a:pt x="11" y="17"/>
                      <a:pt x="9" y="12"/>
                      <a:pt x="9" y="11"/>
                    </a:cubicBezTo>
                    <a:cubicBezTo>
                      <a:pt x="7" y="7"/>
                      <a:pt x="0" y="9"/>
                      <a:pt x="0" y="6"/>
                    </a:cubicBezTo>
                    <a:cubicBezTo>
                      <a:pt x="0" y="3"/>
                      <a:pt x="6" y="0"/>
                      <a:pt x="9" y="0"/>
                    </a:cubicBezTo>
                    <a:cubicBezTo>
                      <a:pt x="11" y="7"/>
                      <a:pt x="14" y="15"/>
                      <a:pt x="20" y="15"/>
                    </a:cubicBezTo>
                    <a:cubicBezTo>
                      <a:pt x="20" y="16"/>
                      <a:pt x="20" y="18"/>
                      <a:pt x="21" y="19"/>
                    </a:cubicBezTo>
                    <a:cubicBezTo>
                      <a:pt x="20" y="19"/>
                      <a:pt x="18" y="19"/>
                      <a:pt x="17" y="19"/>
                    </a:cubicBezTo>
                    <a:cubicBezTo>
                      <a:pt x="15" y="19"/>
                      <a:pt x="14" y="17"/>
                      <a:pt x="12" y="17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44" name="Полилиния 134">
                <a:extLst>
                  <a:ext uri="{FF2B5EF4-FFF2-40B4-BE49-F238E27FC236}">
                    <a16:creationId xmlns:a16="http://schemas.microsoft.com/office/drawing/2014/main" xmlns="" id="{7BCA3DCD-913C-9C7D-DCE2-7FAF8DEF7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3313" y="2917825"/>
                <a:ext cx="11113" cy="11113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5" y="0"/>
                  </a:cxn>
                  <a:cxn ang="0">
                    <a:pos x="9" y="3"/>
                  </a:cxn>
                  <a:cxn ang="0">
                    <a:pos x="4" y="8"/>
                  </a:cxn>
                  <a:cxn ang="0">
                    <a:pos x="1" y="3"/>
                  </a:cxn>
                  <a:cxn ang="0">
                    <a:pos x="1" y="0"/>
                  </a:cxn>
                </a:cxnLst>
                <a:rect l="0" t="0" r="r" b="b"/>
                <a:pathLst>
                  <a:path w="9" h="8">
                    <a:moveTo>
                      <a:pt x="1" y="0"/>
                    </a:moveTo>
                    <a:cubicBezTo>
                      <a:pt x="2" y="0"/>
                      <a:pt x="4" y="0"/>
                      <a:pt x="5" y="0"/>
                    </a:cubicBezTo>
                    <a:cubicBezTo>
                      <a:pt x="6" y="0"/>
                      <a:pt x="8" y="2"/>
                      <a:pt x="9" y="3"/>
                    </a:cubicBezTo>
                    <a:cubicBezTo>
                      <a:pt x="9" y="5"/>
                      <a:pt x="7" y="8"/>
                      <a:pt x="4" y="8"/>
                    </a:cubicBezTo>
                    <a:cubicBezTo>
                      <a:pt x="1" y="8"/>
                      <a:pt x="1" y="5"/>
                      <a:pt x="1" y="3"/>
                    </a:cubicBezTo>
                    <a:cubicBezTo>
                      <a:pt x="1" y="2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45" name="Полилиния 135">
                <a:extLst>
                  <a:ext uri="{FF2B5EF4-FFF2-40B4-BE49-F238E27FC236}">
                    <a16:creationId xmlns:a16="http://schemas.microsoft.com/office/drawing/2014/main" xmlns="" id="{C833FCF2-9FB3-AB31-219C-3622776383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35675" y="2892425"/>
                <a:ext cx="9525" cy="158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8" y="12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1" y="0"/>
                  </a:cxn>
                </a:cxnLst>
                <a:rect l="0" t="0" r="r" b="b"/>
                <a:pathLst>
                  <a:path w="8" h="12">
                    <a:moveTo>
                      <a:pt x="1" y="0"/>
                    </a:moveTo>
                    <a:cubicBezTo>
                      <a:pt x="5" y="4"/>
                      <a:pt x="8" y="7"/>
                      <a:pt x="8" y="12"/>
                    </a:cubicBezTo>
                    <a:cubicBezTo>
                      <a:pt x="5" y="12"/>
                      <a:pt x="0" y="5"/>
                      <a:pt x="0" y="2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3" y="2"/>
                      <a:pt x="3" y="2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46" name="Полилиния 136">
                <a:extLst>
                  <a:ext uri="{FF2B5EF4-FFF2-40B4-BE49-F238E27FC236}">
                    <a16:creationId xmlns:a16="http://schemas.microsoft.com/office/drawing/2014/main" xmlns="" id="{C25A56B3-3078-C646-7F74-EA4E477D3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3450" y="2855913"/>
                <a:ext cx="15875" cy="158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8" y="11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2" y="0"/>
                  </a:cxn>
                </a:cxnLst>
                <a:rect l="0" t="0" r="r" b="b"/>
                <a:pathLst>
                  <a:path w="12" h="11">
                    <a:moveTo>
                      <a:pt x="2" y="0"/>
                    </a:moveTo>
                    <a:cubicBezTo>
                      <a:pt x="5" y="2"/>
                      <a:pt x="12" y="11"/>
                      <a:pt x="8" y="11"/>
                    </a:cubicBezTo>
                    <a:cubicBezTo>
                      <a:pt x="6" y="11"/>
                      <a:pt x="1" y="4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2" y="0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47" name="Полилиния 137">
                <a:extLst>
                  <a:ext uri="{FF2B5EF4-FFF2-40B4-BE49-F238E27FC236}">
                    <a16:creationId xmlns:a16="http://schemas.microsoft.com/office/drawing/2014/main" xmlns="" id="{A46BEB1C-4757-FC58-2D4D-CD79988577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8438" y="2284413"/>
                <a:ext cx="41275" cy="49213"/>
              </a:xfrm>
              <a:custGeom>
                <a:avLst/>
                <a:gdLst/>
                <a:ahLst/>
                <a:cxnLst>
                  <a:cxn ang="0">
                    <a:pos x="12" y="22"/>
                  </a:cxn>
                  <a:cxn ang="0">
                    <a:pos x="14" y="16"/>
                  </a:cxn>
                  <a:cxn ang="0">
                    <a:pos x="10" y="10"/>
                  </a:cxn>
                  <a:cxn ang="0">
                    <a:pos x="10" y="14"/>
                  </a:cxn>
                  <a:cxn ang="0">
                    <a:pos x="5" y="16"/>
                  </a:cxn>
                  <a:cxn ang="0">
                    <a:pos x="0" y="11"/>
                  </a:cxn>
                  <a:cxn ang="0">
                    <a:pos x="14" y="0"/>
                  </a:cxn>
                  <a:cxn ang="0">
                    <a:pos x="26" y="3"/>
                  </a:cxn>
                  <a:cxn ang="0">
                    <a:pos x="26" y="8"/>
                  </a:cxn>
                  <a:cxn ang="0">
                    <a:pos x="30" y="11"/>
                  </a:cxn>
                  <a:cxn ang="0">
                    <a:pos x="30" y="16"/>
                  </a:cxn>
                  <a:cxn ang="0">
                    <a:pos x="26" y="16"/>
                  </a:cxn>
                  <a:cxn ang="0">
                    <a:pos x="15" y="37"/>
                  </a:cxn>
                  <a:cxn ang="0">
                    <a:pos x="14" y="33"/>
                  </a:cxn>
                  <a:cxn ang="0">
                    <a:pos x="14" y="36"/>
                  </a:cxn>
                  <a:cxn ang="0">
                    <a:pos x="7" y="29"/>
                  </a:cxn>
                  <a:cxn ang="0">
                    <a:pos x="12" y="22"/>
                  </a:cxn>
                </a:cxnLst>
                <a:rect l="0" t="0" r="r" b="b"/>
                <a:pathLst>
                  <a:path w="30" h="37">
                    <a:moveTo>
                      <a:pt x="12" y="22"/>
                    </a:moveTo>
                    <a:cubicBezTo>
                      <a:pt x="14" y="16"/>
                      <a:pt x="14" y="16"/>
                      <a:pt x="14" y="16"/>
                    </a:cubicBezTo>
                    <a:cubicBezTo>
                      <a:pt x="11" y="15"/>
                      <a:pt x="11" y="12"/>
                      <a:pt x="10" y="10"/>
                    </a:cubicBezTo>
                    <a:cubicBezTo>
                      <a:pt x="10" y="11"/>
                      <a:pt x="9" y="13"/>
                      <a:pt x="10" y="14"/>
                    </a:cubicBezTo>
                    <a:cubicBezTo>
                      <a:pt x="8" y="14"/>
                      <a:pt x="6" y="16"/>
                      <a:pt x="5" y="16"/>
                    </a:cubicBezTo>
                    <a:cubicBezTo>
                      <a:pt x="3" y="16"/>
                      <a:pt x="0" y="13"/>
                      <a:pt x="0" y="11"/>
                    </a:cubicBezTo>
                    <a:cubicBezTo>
                      <a:pt x="0" y="8"/>
                      <a:pt x="13" y="0"/>
                      <a:pt x="14" y="0"/>
                    </a:cubicBezTo>
                    <a:cubicBezTo>
                      <a:pt x="18" y="0"/>
                      <a:pt x="20" y="3"/>
                      <a:pt x="26" y="3"/>
                    </a:cubicBezTo>
                    <a:cubicBezTo>
                      <a:pt x="26" y="5"/>
                      <a:pt x="25" y="8"/>
                      <a:pt x="26" y="8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30" y="13"/>
                      <a:pt x="29" y="14"/>
                      <a:pt x="30" y="16"/>
                    </a:cubicBezTo>
                    <a:cubicBezTo>
                      <a:pt x="29" y="16"/>
                      <a:pt x="27" y="16"/>
                      <a:pt x="26" y="16"/>
                    </a:cubicBezTo>
                    <a:cubicBezTo>
                      <a:pt x="25" y="24"/>
                      <a:pt x="21" y="37"/>
                      <a:pt x="15" y="37"/>
                    </a:cubicBezTo>
                    <a:cubicBezTo>
                      <a:pt x="14" y="37"/>
                      <a:pt x="14" y="35"/>
                      <a:pt x="14" y="33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0" y="36"/>
                      <a:pt x="7" y="31"/>
                      <a:pt x="7" y="29"/>
                    </a:cubicBezTo>
                    <a:cubicBezTo>
                      <a:pt x="7" y="28"/>
                      <a:pt x="12" y="22"/>
                      <a:pt x="12" y="22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48" name="Полилиния 138">
                <a:extLst>
                  <a:ext uri="{FF2B5EF4-FFF2-40B4-BE49-F238E27FC236}">
                    <a16:creationId xmlns:a16="http://schemas.microsoft.com/office/drawing/2014/main" xmlns="" id="{6FFD3136-AA8D-071A-5133-7E5F610B10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96063" y="2271713"/>
                <a:ext cx="42863" cy="30163"/>
              </a:xfrm>
              <a:custGeom>
                <a:avLst/>
                <a:gdLst/>
                <a:ahLst/>
                <a:cxnLst>
                  <a:cxn ang="0">
                    <a:pos x="23" y="15"/>
                  </a:cxn>
                  <a:cxn ang="0">
                    <a:pos x="17" y="12"/>
                  </a:cxn>
                  <a:cxn ang="0">
                    <a:pos x="6" y="23"/>
                  </a:cxn>
                  <a:cxn ang="0">
                    <a:pos x="3" y="17"/>
                  </a:cxn>
                  <a:cxn ang="0">
                    <a:pos x="0" y="12"/>
                  </a:cxn>
                  <a:cxn ang="0">
                    <a:pos x="8" y="5"/>
                  </a:cxn>
                  <a:cxn ang="0">
                    <a:pos x="23" y="0"/>
                  </a:cxn>
                  <a:cxn ang="0">
                    <a:pos x="23" y="15"/>
                  </a:cxn>
                </a:cxnLst>
                <a:rect l="0" t="0" r="r" b="b"/>
                <a:pathLst>
                  <a:path w="33" h="23">
                    <a:moveTo>
                      <a:pt x="23" y="15"/>
                    </a:moveTo>
                    <a:cubicBezTo>
                      <a:pt x="20" y="15"/>
                      <a:pt x="18" y="13"/>
                      <a:pt x="17" y="12"/>
                    </a:cubicBezTo>
                    <a:cubicBezTo>
                      <a:pt x="13" y="16"/>
                      <a:pt x="12" y="23"/>
                      <a:pt x="6" y="23"/>
                    </a:cubicBezTo>
                    <a:cubicBezTo>
                      <a:pt x="4" y="23"/>
                      <a:pt x="3" y="19"/>
                      <a:pt x="3" y="17"/>
                    </a:cubicBezTo>
                    <a:cubicBezTo>
                      <a:pt x="1" y="15"/>
                      <a:pt x="0" y="14"/>
                      <a:pt x="0" y="12"/>
                    </a:cubicBezTo>
                    <a:cubicBezTo>
                      <a:pt x="0" y="12"/>
                      <a:pt x="8" y="6"/>
                      <a:pt x="8" y="5"/>
                    </a:cubicBezTo>
                    <a:cubicBezTo>
                      <a:pt x="16" y="7"/>
                      <a:pt x="17" y="0"/>
                      <a:pt x="23" y="0"/>
                    </a:cubicBezTo>
                    <a:cubicBezTo>
                      <a:pt x="33" y="0"/>
                      <a:pt x="28" y="15"/>
                      <a:pt x="23" y="15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49" name="Полилиния 139">
                <a:extLst>
                  <a:ext uri="{FF2B5EF4-FFF2-40B4-BE49-F238E27FC236}">
                    <a16:creationId xmlns:a16="http://schemas.microsoft.com/office/drawing/2014/main" xmlns="" id="{809D45AD-CC7A-21D9-77B0-8292836EC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2250" y="2136775"/>
                <a:ext cx="185738" cy="153988"/>
              </a:xfrm>
              <a:custGeom>
                <a:avLst/>
                <a:gdLst/>
                <a:ahLst/>
                <a:cxnLst>
                  <a:cxn ang="0">
                    <a:pos x="55" y="110"/>
                  </a:cxn>
                  <a:cxn ang="0">
                    <a:pos x="55" y="107"/>
                  </a:cxn>
                  <a:cxn ang="0">
                    <a:pos x="56" y="99"/>
                  </a:cxn>
                  <a:cxn ang="0">
                    <a:pos x="43" y="95"/>
                  </a:cxn>
                  <a:cxn ang="0">
                    <a:pos x="39" y="99"/>
                  </a:cxn>
                  <a:cxn ang="0">
                    <a:pos x="29" y="100"/>
                  </a:cxn>
                  <a:cxn ang="0">
                    <a:pos x="6" y="106"/>
                  </a:cxn>
                  <a:cxn ang="0">
                    <a:pos x="0" y="104"/>
                  </a:cxn>
                  <a:cxn ang="0">
                    <a:pos x="5" y="101"/>
                  </a:cxn>
                  <a:cxn ang="0">
                    <a:pos x="30" y="84"/>
                  </a:cxn>
                  <a:cxn ang="0">
                    <a:pos x="57" y="84"/>
                  </a:cxn>
                  <a:cxn ang="0">
                    <a:pos x="72" y="70"/>
                  </a:cxn>
                  <a:cxn ang="0">
                    <a:pos x="79" y="59"/>
                  </a:cxn>
                  <a:cxn ang="0">
                    <a:pos x="77" y="64"/>
                  </a:cxn>
                  <a:cxn ang="0">
                    <a:pos x="79" y="66"/>
                  </a:cxn>
                  <a:cxn ang="0">
                    <a:pos x="92" y="60"/>
                  </a:cxn>
                  <a:cxn ang="0">
                    <a:pos x="116" y="25"/>
                  </a:cxn>
                  <a:cxn ang="0">
                    <a:pos x="114" y="19"/>
                  </a:cxn>
                  <a:cxn ang="0">
                    <a:pos x="125" y="3"/>
                  </a:cxn>
                  <a:cxn ang="0">
                    <a:pos x="130" y="4"/>
                  </a:cxn>
                  <a:cxn ang="0">
                    <a:pos x="129" y="4"/>
                  </a:cxn>
                  <a:cxn ang="0">
                    <a:pos x="128" y="0"/>
                  </a:cxn>
                  <a:cxn ang="0">
                    <a:pos x="133" y="2"/>
                  </a:cxn>
                  <a:cxn ang="0">
                    <a:pos x="134" y="11"/>
                  </a:cxn>
                  <a:cxn ang="0">
                    <a:pos x="140" y="26"/>
                  </a:cxn>
                  <a:cxn ang="0">
                    <a:pos x="134" y="40"/>
                  </a:cxn>
                  <a:cxn ang="0">
                    <a:pos x="134" y="43"/>
                  </a:cxn>
                  <a:cxn ang="0">
                    <a:pos x="130" y="44"/>
                  </a:cxn>
                  <a:cxn ang="0">
                    <a:pos x="127" y="63"/>
                  </a:cxn>
                  <a:cxn ang="0">
                    <a:pos x="122" y="76"/>
                  </a:cxn>
                  <a:cxn ang="0">
                    <a:pos x="125" y="84"/>
                  </a:cxn>
                  <a:cxn ang="0">
                    <a:pos x="114" y="93"/>
                  </a:cxn>
                  <a:cxn ang="0">
                    <a:pos x="114" y="86"/>
                  </a:cxn>
                  <a:cxn ang="0">
                    <a:pos x="102" y="96"/>
                  </a:cxn>
                  <a:cxn ang="0">
                    <a:pos x="100" y="94"/>
                  </a:cxn>
                  <a:cxn ang="0">
                    <a:pos x="96" y="94"/>
                  </a:cxn>
                  <a:cxn ang="0">
                    <a:pos x="87" y="100"/>
                  </a:cxn>
                  <a:cxn ang="0">
                    <a:pos x="74" y="92"/>
                  </a:cxn>
                  <a:cxn ang="0">
                    <a:pos x="72" y="96"/>
                  </a:cxn>
                  <a:cxn ang="0">
                    <a:pos x="76" y="103"/>
                  </a:cxn>
                  <a:cxn ang="0">
                    <a:pos x="72" y="103"/>
                  </a:cxn>
                  <a:cxn ang="0">
                    <a:pos x="61" y="115"/>
                  </a:cxn>
                  <a:cxn ang="0">
                    <a:pos x="55" y="110"/>
                  </a:cxn>
                </a:cxnLst>
                <a:rect l="0" t="0" r="r" b="b"/>
                <a:pathLst>
                  <a:path w="140" h="115">
                    <a:moveTo>
                      <a:pt x="55" y="110"/>
                    </a:moveTo>
                    <a:cubicBezTo>
                      <a:pt x="53" y="110"/>
                      <a:pt x="55" y="108"/>
                      <a:pt x="55" y="107"/>
                    </a:cubicBezTo>
                    <a:cubicBezTo>
                      <a:pt x="55" y="104"/>
                      <a:pt x="56" y="101"/>
                      <a:pt x="56" y="99"/>
                    </a:cubicBezTo>
                    <a:cubicBezTo>
                      <a:pt x="51" y="98"/>
                      <a:pt x="48" y="95"/>
                      <a:pt x="43" y="95"/>
                    </a:cubicBezTo>
                    <a:cubicBezTo>
                      <a:pt x="40" y="95"/>
                      <a:pt x="40" y="98"/>
                      <a:pt x="39" y="99"/>
                    </a:cubicBezTo>
                    <a:cubicBezTo>
                      <a:pt x="35" y="100"/>
                      <a:pt x="32" y="98"/>
                      <a:pt x="29" y="100"/>
                    </a:cubicBezTo>
                    <a:cubicBezTo>
                      <a:pt x="23" y="103"/>
                      <a:pt x="15" y="106"/>
                      <a:pt x="6" y="106"/>
                    </a:cubicBezTo>
                    <a:cubicBezTo>
                      <a:pt x="3" y="106"/>
                      <a:pt x="0" y="106"/>
                      <a:pt x="0" y="104"/>
                    </a:cubicBezTo>
                    <a:cubicBezTo>
                      <a:pt x="0" y="103"/>
                      <a:pt x="4" y="102"/>
                      <a:pt x="5" y="101"/>
                    </a:cubicBezTo>
                    <a:cubicBezTo>
                      <a:pt x="15" y="95"/>
                      <a:pt x="19" y="84"/>
                      <a:pt x="30" y="84"/>
                    </a:cubicBezTo>
                    <a:cubicBezTo>
                      <a:pt x="43" y="84"/>
                      <a:pt x="47" y="84"/>
                      <a:pt x="57" y="84"/>
                    </a:cubicBezTo>
                    <a:cubicBezTo>
                      <a:pt x="65" y="84"/>
                      <a:pt x="68" y="70"/>
                      <a:pt x="72" y="70"/>
                    </a:cubicBezTo>
                    <a:cubicBezTo>
                      <a:pt x="72" y="70"/>
                      <a:pt x="78" y="60"/>
                      <a:pt x="79" y="59"/>
                    </a:cubicBezTo>
                    <a:cubicBezTo>
                      <a:pt x="78" y="61"/>
                      <a:pt x="77" y="62"/>
                      <a:pt x="77" y="64"/>
                    </a:cubicBezTo>
                    <a:cubicBezTo>
                      <a:pt x="77" y="65"/>
                      <a:pt x="78" y="66"/>
                      <a:pt x="79" y="66"/>
                    </a:cubicBezTo>
                    <a:cubicBezTo>
                      <a:pt x="86" y="66"/>
                      <a:pt x="87" y="62"/>
                      <a:pt x="92" y="60"/>
                    </a:cubicBezTo>
                    <a:cubicBezTo>
                      <a:pt x="101" y="57"/>
                      <a:pt x="116" y="39"/>
                      <a:pt x="116" y="25"/>
                    </a:cubicBezTo>
                    <a:cubicBezTo>
                      <a:pt x="116" y="22"/>
                      <a:pt x="114" y="22"/>
                      <a:pt x="114" y="19"/>
                    </a:cubicBezTo>
                    <a:cubicBezTo>
                      <a:pt x="114" y="14"/>
                      <a:pt x="119" y="3"/>
                      <a:pt x="125" y="3"/>
                    </a:cubicBezTo>
                    <a:cubicBezTo>
                      <a:pt x="125" y="3"/>
                      <a:pt x="125" y="9"/>
                      <a:pt x="130" y="4"/>
                    </a:cubicBezTo>
                    <a:cubicBezTo>
                      <a:pt x="130" y="4"/>
                      <a:pt x="129" y="4"/>
                      <a:pt x="129" y="4"/>
                    </a:cubicBezTo>
                    <a:cubicBezTo>
                      <a:pt x="128" y="4"/>
                      <a:pt x="127" y="0"/>
                      <a:pt x="128" y="0"/>
                    </a:cubicBezTo>
                    <a:cubicBezTo>
                      <a:pt x="131" y="0"/>
                      <a:pt x="133" y="1"/>
                      <a:pt x="133" y="2"/>
                    </a:cubicBezTo>
                    <a:cubicBezTo>
                      <a:pt x="135" y="5"/>
                      <a:pt x="134" y="8"/>
                      <a:pt x="134" y="11"/>
                    </a:cubicBezTo>
                    <a:cubicBezTo>
                      <a:pt x="134" y="17"/>
                      <a:pt x="140" y="20"/>
                      <a:pt x="140" y="26"/>
                    </a:cubicBezTo>
                    <a:cubicBezTo>
                      <a:pt x="140" y="33"/>
                      <a:pt x="134" y="34"/>
                      <a:pt x="134" y="40"/>
                    </a:cubicBezTo>
                    <a:cubicBezTo>
                      <a:pt x="134" y="41"/>
                      <a:pt x="134" y="42"/>
                      <a:pt x="134" y="43"/>
                    </a:cubicBezTo>
                    <a:cubicBezTo>
                      <a:pt x="133" y="44"/>
                      <a:pt x="132" y="43"/>
                      <a:pt x="130" y="44"/>
                    </a:cubicBezTo>
                    <a:cubicBezTo>
                      <a:pt x="126" y="45"/>
                      <a:pt x="127" y="59"/>
                      <a:pt x="127" y="63"/>
                    </a:cubicBezTo>
                    <a:cubicBezTo>
                      <a:pt x="127" y="67"/>
                      <a:pt x="122" y="70"/>
                      <a:pt x="122" y="76"/>
                    </a:cubicBezTo>
                    <a:cubicBezTo>
                      <a:pt x="122" y="80"/>
                      <a:pt x="124" y="81"/>
                      <a:pt x="125" y="84"/>
                    </a:cubicBezTo>
                    <a:cubicBezTo>
                      <a:pt x="119" y="87"/>
                      <a:pt x="119" y="91"/>
                      <a:pt x="114" y="93"/>
                    </a:cubicBezTo>
                    <a:cubicBezTo>
                      <a:pt x="112" y="89"/>
                      <a:pt x="114" y="89"/>
                      <a:pt x="114" y="86"/>
                    </a:cubicBezTo>
                    <a:cubicBezTo>
                      <a:pt x="108" y="90"/>
                      <a:pt x="104" y="90"/>
                      <a:pt x="102" y="96"/>
                    </a:cubicBezTo>
                    <a:cubicBezTo>
                      <a:pt x="102" y="96"/>
                      <a:pt x="100" y="95"/>
                      <a:pt x="100" y="94"/>
                    </a:cubicBezTo>
                    <a:cubicBezTo>
                      <a:pt x="96" y="94"/>
                      <a:pt x="96" y="94"/>
                      <a:pt x="96" y="94"/>
                    </a:cubicBezTo>
                    <a:cubicBezTo>
                      <a:pt x="93" y="97"/>
                      <a:pt x="91" y="100"/>
                      <a:pt x="87" y="100"/>
                    </a:cubicBezTo>
                    <a:cubicBezTo>
                      <a:pt x="78" y="100"/>
                      <a:pt x="78" y="92"/>
                      <a:pt x="74" y="92"/>
                    </a:cubicBezTo>
                    <a:cubicBezTo>
                      <a:pt x="73" y="92"/>
                      <a:pt x="72" y="94"/>
                      <a:pt x="72" y="96"/>
                    </a:cubicBezTo>
                    <a:cubicBezTo>
                      <a:pt x="72" y="97"/>
                      <a:pt x="76" y="103"/>
                      <a:pt x="76" y="103"/>
                    </a:cubicBezTo>
                    <a:cubicBezTo>
                      <a:pt x="75" y="103"/>
                      <a:pt x="73" y="103"/>
                      <a:pt x="72" y="103"/>
                    </a:cubicBezTo>
                    <a:cubicBezTo>
                      <a:pt x="68" y="103"/>
                      <a:pt x="63" y="110"/>
                      <a:pt x="61" y="115"/>
                    </a:cubicBezTo>
                    <a:cubicBezTo>
                      <a:pt x="57" y="114"/>
                      <a:pt x="58" y="110"/>
                      <a:pt x="55" y="11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50" name="Полилиния 140">
                <a:extLst>
                  <a:ext uri="{FF2B5EF4-FFF2-40B4-BE49-F238E27FC236}">
                    <a16:creationId xmlns:a16="http://schemas.microsoft.com/office/drawing/2014/main" xmlns="" id="{1E53A414-1721-0C4C-54D8-2C790A22A2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1475" y="2054225"/>
                <a:ext cx="96838" cy="80963"/>
              </a:xfrm>
              <a:custGeom>
                <a:avLst/>
                <a:gdLst/>
                <a:ahLst/>
                <a:cxnLst>
                  <a:cxn ang="0">
                    <a:pos x="11" y="33"/>
                  </a:cxn>
                  <a:cxn ang="0">
                    <a:pos x="15" y="33"/>
                  </a:cxn>
                  <a:cxn ang="0">
                    <a:pos x="26" y="10"/>
                  </a:cxn>
                  <a:cxn ang="0">
                    <a:pos x="23" y="6"/>
                  </a:cxn>
                  <a:cxn ang="0">
                    <a:pos x="26" y="0"/>
                  </a:cxn>
                  <a:cxn ang="0">
                    <a:pos x="60" y="22"/>
                  </a:cxn>
                  <a:cxn ang="0">
                    <a:pos x="70" y="21"/>
                  </a:cxn>
                  <a:cxn ang="0">
                    <a:pos x="67" y="26"/>
                  </a:cxn>
                  <a:cxn ang="0">
                    <a:pos x="72" y="32"/>
                  </a:cxn>
                  <a:cxn ang="0">
                    <a:pos x="59" y="36"/>
                  </a:cxn>
                  <a:cxn ang="0">
                    <a:pos x="43" y="51"/>
                  </a:cxn>
                  <a:cxn ang="0">
                    <a:pos x="24" y="41"/>
                  </a:cxn>
                  <a:cxn ang="0">
                    <a:pos x="21" y="45"/>
                  </a:cxn>
                  <a:cxn ang="0">
                    <a:pos x="8" y="48"/>
                  </a:cxn>
                  <a:cxn ang="0">
                    <a:pos x="16" y="54"/>
                  </a:cxn>
                  <a:cxn ang="0">
                    <a:pos x="5" y="61"/>
                  </a:cxn>
                  <a:cxn ang="0">
                    <a:pos x="3" y="61"/>
                  </a:cxn>
                  <a:cxn ang="0">
                    <a:pos x="3" y="51"/>
                  </a:cxn>
                  <a:cxn ang="0">
                    <a:pos x="0" y="46"/>
                  </a:cxn>
                  <a:cxn ang="0">
                    <a:pos x="8" y="35"/>
                  </a:cxn>
                  <a:cxn ang="0">
                    <a:pos x="8" y="32"/>
                  </a:cxn>
                  <a:cxn ang="0">
                    <a:pos x="12" y="34"/>
                  </a:cxn>
                  <a:cxn ang="0">
                    <a:pos x="11" y="33"/>
                  </a:cxn>
                </a:cxnLst>
                <a:rect l="0" t="0" r="r" b="b"/>
                <a:pathLst>
                  <a:path w="72" h="61">
                    <a:moveTo>
                      <a:pt x="11" y="33"/>
                    </a:moveTo>
                    <a:cubicBezTo>
                      <a:pt x="12" y="33"/>
                      <a:pt x="14" y="33"/>
                      <a:pt x="15" y="33"/>
                    </a:cubicBezTo>
                    <a:cubicBezTo>
                      <a:pt x="23" y="33"/>
                      <a:pt x="26" y="16"/>
                      <a:pt x="26" y="10"/>
                    </a:cubicBezTo>
                    <a:cubicBezTo>
                      <a:pt x="26" y="8"/>
                      <a:pt x="23" y="7"/>
                      <a:pt x="23" y="6"/>
                    </a:cubicBezTo>
                    <a:cubicBezTo>
                      <a:pt x="23" y="2"/>
                      <a:pt x="25" y="1"/>
                      <a:pt x="26" y="0"/>
                    </a:cubicBezTo>
                    <a:cubicBezTo>
                      <a:pt x="38" y="8"/>
                      <a:pt x="43" y="22"/>
                      <a:pt x="60" y="22"/>
                    </a:cubicBezTo>
                    <a:cubicBezTo>
                      <a:pt x="64" y="22"/>
                      <a:pt x="67" y="19"/>
                      <a:pt x="70" y="21"/>
                    </a:cubicBezTo>
                    <a:cubicBezTo>
                      <a:pt x="69" y="23"/>
                      <a:pt x="67" y="24"/>
                      <a:pt x="67" y="26"/>
                    </a:cubicBezTo>
                    <a:cubicBezTo>
                      <a:pt x="67" y="29"/>
                      <a:pt x="71" y="32"/>
                      <a:pt x="72" y="32"/>
                    </a:cubicBezTo>
                    <a:cubicBezTo>
                      <a:pt x="68" y="35"/>
                      <a:pt x="65" y="36"/>
                      <a:pt x="59" y="36"/>
                    </a:cubicBezTo>
                    <a:cubicBezTo>
                      <a:pt x="49" y="36"/>
                      <a:pt x="46" y="46"/>
                      <a:pt x="43" y="51"/>
                    </a:cubicBezTo>
                    <a:cubicBezTo>
                      <a:pt x="36" y="47"/>
                      <a:pt x="31" y="46"/>
                      <a:pt x="24" y="41"/>
                    </a:cubicBezTo>
                    <a:cubicBezTo>
                      <a:pt x="23" y="42"/>
                      <a:pt x="21" y="43"/>
                      <a:pt x="21" y="45"/>
                    </a:cubicBezTo>
                    <a:cubicBezTo>
                      <a:pt x="15" y="45"/>
                      <a:pt x="8" y="40"/>
                      <a:pt x="8" y="48"/>
                    </a:cubicBezTo>
                    <a:cubicBezTo>
                      <a:pt x="8" y="52"/>
                      <a:pt x="14" y="52"/>
                      <a:pt x="16" y="54"/>
                    </a:cubicBezTo>
                    <a:cubicBezTo>
                      <a:pt x="12" y="59"/>
                      <a:pt x="9" y="57"/>
                      <a:pt x="5" y="61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3" y="58"/>
                      <a:pt x="3" y="51"/>
                      <a:pt x="3" y="51"/>
                    </a:cubicBezTo>
                    <a:cubicBezTo>
                      <a:pt x="3" y="49"/>
                      <a:pt x="0" y="48"/>
                      <a:pt x="0" y="46"/>
                    </a:cubicBezTo>
                    <a:cubicBezTo>
                      <a:pt x="0" y="41"/>
                      <a:pt x="8" y="38"/>
                      <a:pt x="8" y="35"/>
                    </a:cubicBezTo>
                    <a:cubicBezTo>
                      <a:pt x="8" y="32"/>
                      <a:pt x="8" y="32"/>
                      <a:pt x="8" y="32"/>
                    </a:cubicBezTo>
                    <a:cubicBezTo>
                      <a:pt x="9" y="32"/>
                      <a:pt x="10" y="33"/>
                      <a:pt x="12" y="34"/>
                    </a:cubicBezTo>
                    <a:lnTo>
                      <a:pt x="11" y="33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51" name="Полилиния 141">
                <a:extLst>
                  <a:ext uri="{FF2B5EF4-FFF2-40B4-BE49-F238E27FC236}">
                    <a16:creationId xmlns:a16="http://schemas.microsoft.com/office/drawing/2014/main" xmlns="" id="{346BA984-B464-7941-9ED9-595C7EB892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6725" y="2073275"/>
                <a:ext cx="15875" cy="1428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2" y="2"/>
                  </a:cxn>
                  <a:cxn ang="0">
                    <a:pos x="1" y="11"/>
                  </a:cxn>
                  <a:cxn ang="0">
                    <a:pos x="1" y="7"/>
                  </a:cxn>
                  <a:cxn ang="0">
                    <a:pos x="11" y="0"/>
                  </a:cxn>
                  <a:cxn ang="0">
                    <a:pos x="10" y="0"/>
                  </a:cxn>
                </a:cxnLst>
                <a:rect l="0" t="0" r="r" b="b"/>
                <a:pathLst>
                  <a:path w="12" h="11">
                    <a:moveTo>
                      <a:pt x="10" y="0"/>
                    </a:moveTo>
                    <a:cubicBezTo>
                      <a:pt x="12" y="2"/>
                      <a:pt x="12" y="2"/>
                      <a:pt x="12" y="2"/>
                    </a:cubicBezTo>
                    <a:cubicBezTo>
                      <a:pt x="10" y="4"/>
                      <a:pt x="5" y="11"/>
                      <a:pt x="1" y="11"/>
                    </a:cubicBezTo>
                    <a:cubicBezTo>
                      <a:pt x="0" y="11"/>
                      <a:pt x="0" y="8"/>
                      <a:pt x="1" y="7"/>
                    </a:cubicBezTo>
                    <a:cubicBezTo>
                      <a:pt x="3" y="4"/>
                      <a:pt x="8" y="0"/>
                      <a:pt x="11" y="0"/>
                    </a:cubicBezTo>
                    <a:lnTo>
                      <a:pt x="10" y="0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52" name="Полилиния 142">
                <a:extLst>
                  <a:ext uri="{FF2B5EF4-FFF2-40B4-BE49-F238E27FC236}">
                    <a16:creationId xmlns:a16="http://schemas.microsoft.com/office/drawing/2014/main" xmlns="" id="{B3F569C9-FEAD-3001-1A32-CD1CD2EBC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8475" y="2052638"/>
                <a:ext cx="22225" cy="15875"/>
              </a:xfrm>
              <a:custGeom>
                <a:avLst/>
                <a:gdLst/>
                <a:ahLst/>
                <a:cxnLst>
                  <a:cxn ang="0">
                    <a:pos x="17" y="3"/>
                  </a:cxn>
                  <a:cxn ang="0">
                    <a:pos x="1" y="12"/>
                  </a:cxn>
                  <a:cxn ang="0">
                    <a:pos x="1" y="10"/>
                  </a:cxn>
                  <a:cxn ang="0">
                    <a:pos x="10" y="0"/>
                  </a:cxn>
                  <a:cxn ang="0">
                    <a:pos x="17" y="0"/>
                  </a:cxn>
                  <a:cxn ang="0">
                    <a:pos x="17" y="3"/>
                  </a:cxn>
                </a:cxnLst>
                <a:rect l="0" t="0" r="r" b="b"/>
                <a:pathLst>
                  <a:path w="17" h="12">
                    <a:moveTo>
                      <a:pt x="17" y="3"/>
                    </a:moveTo>
                    <a:cubicBezTo>
                      <a:pt x="7" y="3"/>
                      <a:pt x="7" y="12"/>
                      <a:pt x="1" y="12"/>
                    </a:cubicBezTo>
                    <a:cubicBezTo>
                      <a:pt x="0" y="12"/>
                      <a:pt x="1" y="10"/>
                      <a:pt x="1" y="10"/>
                    </a:cubicBezTo>
                    <a:cubicBezTo>
                      <a:pt x="1" y="10"/>
                      <a:pt x="5" y="0"/>
                      <a:pt x="10" y="0"/>
                    </a:cubicBezTo>
                    <a:cubicBezTo>
                      <a:pt x="13" y="0"/>
                      <a:pt x="15" y="0"/>
                      <a:pt x="17" y="0"/>
                    </a:cubicBezTo>
                    <a:lnTo>
                      <a:pt x="17" y="3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53" name="Полилиния 143">
                <a:extLst>
                  <a:ext uri="{FF2B5EF4-FFF2-40B4-BE49-F238E27FC236}">
                    <a16:creationId xmlns:a16="http://schemas.microsoft.com/office/drawing/2014/main" xmlns="" id="{93690903-CB5C-DBC6-63AC-F012969194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8163" y="2035175"/>
                <a:ext cx="12700" cy="11113"/>
              </a:xfrm>
              <a:custGeom>
                <a:avLst/>
                <a:gdLst/>
                <a:ahLst/>
                <a:cxnLst>
                  <a:cxn ang="0">
                    <a:pos x="1" y="6"/>
                  </a:cxn>
                  <a:cxn ang="0">
                    <a:pos x="2" y="3"/>
                  </a:cxn>
                  <a:cxn ang="0">
                    <a:pos x="9" y="0"/>
                  </a:cxn>
                  <a:cxn ang="0">
                    <a:pos x="1" y="9"/>
                  </a:cxn>
                  <a:cxn ang="0">
                    <a:pos x="1" y="6"/>
                  </a:cxn>
                </a:cxnLst>
                <a:rect l="0" t="0" r="r" b="b"/>
                <a:pathLst>
                  <a:path w="9" h="9">
                    <a:moveTo>
                      <a:pt x="1" y="6"/>
                    </a:moveTo>
                    <a:cubicBezTo>
                      <a:pt x="3" y="6"/>
                      <a:pt x="1" y="4"/>
                      <a:pt x="2" y="3"/>
                    </a:cubicBezTo>
                    <a:cubicBezTo>
                      <a:pt x="3" y="0"/>
                      <a:pt x="8" y="0"/>
                      <a:pt x="9" y="0"/>
                    </a:cubicBezTo>
                    <a:cubicBezTo>
                      <a:pt x="8" y="3"/>
                      <a:pt x="5" y="9"/>
                      <a:pt x="1" y="9"/>
                    </a:cubicBezTo>
                    <a:cubicBezTo>
                      <a:pt x="0" y="9"/>
                      <a:pt x="0" y="6"/>
                      <a:pt x="1" y="6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54" name="Полилиния 144">
                <a:extLst>
                  <a:ext uri="{FF2B5EF4-FFF2-40B4-BE49-F238E27FC236}">
                    <a16:creationId xmlns:a16="http://schemas.microsoft.com/office/drawing/2014/main" xmlns="" id="{9C262A29-080D-CF71-0537-C9ABEE6EDA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3225" y="1855788"/>
                <a:ext cx="47625" cy="184150"/>
              </a:xfrm>
              <a:custGeom>
                <a:avLst/>
                <a:gdLst/>
                <a:ahLst/>
                <a:cxnLst>
                  <a:cxn ang="0">
                    <a:pos x="26" y="84"/>
                  </a:cxn>
                  <a:cxn ang="0">
                    <a:pos x="13" y="109"/>
                  </a:cxn>
                  <a:cxn ang="0">
                    <a:pos x="26" y="132"/>
                  </a:cxn>
                  <a:cxn ang="0">
                    <a:pos x="25" y="132"/>
                  </a:cxn>
                  <a:cxn ang="0">
                    <a:pos x="20" y="128"/>
                  </a:cxn>
                  <a:cxn ang="0">
                    <a:pos x="16" y="128"/>
                  </a:cxn>
                  <a:cxn ang="0">
                    <a:pos x="5" y="138"/>
                  </a:cxn>
                  <a:cxn ang="0">
                    <a:pos x="5" y="125"/>
                  </a:cxn>
                  <a:cxn ang="0">
                    <a:pos x="7" y="105"/>
                  </a:cxn>
                  <a:cxn ang="0">
                    <a:pos x="4" y="93"/>
                  </a:cxn>
                  <a:cxn ang="0">
                    <a:pos x="7" y="79"/>
                  </a:cxn>
                  <a:cxn ang="0">
                    <a:pos x="7" y="53"/>
                  </a:cxn>
                  <a:cxn ang="0">
                    <a:pos x="0" y="37"/>
                  </a:cxn>
                  <a:cxn ang="0">
                    <a:pos x="9" y="15"/>
                  </a:cxn>
                  <a:cxn ang="0">
                    <a:pos x="11" y="9"/>
                  </a:cxn>
                  <a:cxn ang="0">
                    <a:pos x="11" y="0"/>
                  </a:cxn>
                  <a:cxn ang="0">
                    <a:pos x="14" y="0"/>
                  </a:cxn>
                  <a:cxn ang="0">
                    <a:pos x="19" y="20"/>
                  </a:cxn>
                  <a:cxn ang="0">
                    <a:pos x="21" y="37"/>
                  </a:cxn>
                  <a:cxn ang="0">
                    <a:pos x="21" y="47"/>
                  </a:cxn>
                  <a:cxn ang="0">
                    <a:pos x="24" y="59"/>
                  </a:cxn>
                  <a:cxn ang="0">
                    <a:pos x="36" y="90"/>
                  </a:cxn>
                  <a:cxn ang="0">
                    <a:pos x="26" y="84"/>
                  </a:cxn>
                </a:cxnLst>
                <a:rect l="0" t="0" r="r" b="b"/>
                <a:pathLst>
                  <a:path w="36" h="138">
                    <a:moveTo>
                      <a:pt x="26" y="84"/>
                    </a:moveTo>
                    <a:cubicBezTo>
                      <a:pt x="15" y="84"/>
                      <a:pt x="13" y="98"/>
                      <a:pt x="13" y="109"/>
                    </a:cubicBezTo>
                    <a:cubicBezTo>
                      <a:pt x="13" y="120"/>
                      <a:pt x="22" y="124"/>
                      <a:pt x="26" y="132"/>
                    </a:cubicBezTo>
                    <a:cubicBezTo>
                      <a:pt x="26" y="132"/>
                      <a:pt x="25" y="132"/>
                      <a:pt x="25" y="132"/>
                    </a:cubicBezTo>
                    <a:cubicBezTo>
                      <a:pt x="23" y="133"/>
                      <a:pt x="21" y="130"/>
                      <a:pt x="20" y="128"/>
                    </a:cubicBezTo>
                    <a:cubicBezTo>
                      <a:pt x="19" y="128"/>
                      <a:pt x="17" y="128"/>
                      <a:pt x="16" y="128"/>
                    </a:cubicBezTo>
                    <a:cubicBezTo>
                      <a:pt x="11" y="128"/>
                      <a:pt x="11" y="138"/>
                      <a:pt x="5" y="138"/>
                    </a:cubicBezTo>
                    <a:cubicBezTo>
                      <a:pt x="4" y="138"/>
                      <a:pt x="5" y="127"/>
                      <a:pt x="5" y="125"/>
                    </a:cubicBezTo>
                    <a:cubicBezTo>
                      <a:pt x="5" y="117"/>
                      <a:pt x="7" y="112"/>
                      <a:pt x="7" y="105"/>
                    </a:cubicBezTo>
                    <a:cubicBezTo>
                      <a:pt x="7" y="99"/>
                      <a:pt x="4" y="98"/>
                      <a:pt x="4" y="93"/>
                    </a:cubicBezTo>
                    <a:cubicBezTo>
                      <a:pt x="4" y="86"/>
                      <a:pt x="7" y="84"/>
                      <a:pt x="7" y="79"/>
                    </a:cubicBezTo>
                    <a:cubicBezTo>
                      <a:pt x="7" y="68"/>
                      <a:pt x="7" y="64"/>
                      <a:pt x="7" y="53"/>
                    </a:cubicBezTo>
                    <a:cubicBezTo>
                      <a:pt x="7" y="46"/>
                      <a:pt x="0" y="44"/>
                      <a:pt x="0" y="37"/>
                    </a:cubicBezTo>
                    <a:cubicBezTo>
                      <a:pt x="0" y="28"/>
                      <a:pt x="3" y="16"/>
                      <a:pt x="9" y="15"/>
                    </a:cubicBezTo>
                    <a:cubicBezTo>
                      <a:pt x="9" y="12"/>
                      <a:pt x="11" y="11"/>
                      <a:pt x="11" y="9"/>
                    </a:cubicBezTo>
                    <a:cubicBezTo>
                      <a:pt x="11" y="4"/>
                      <a:pt x="11" y="3"/>
                      <a:pt x="11" y="0"/>
                    </a:cubicBezTo>
                    <a:cubicBezTo>
                      <a:pt x="12" y="0"/>
                      <a:pt x="13" y="0"/>
                      <a:pt x="14" y="0"/>
                    </a:cubicBezTo>
                    <a:cubicBezTo>
                      <a:pt x="14" y="8"/>
                      <a:pt x="18" y="14"/>
                      <a:pt x="19" y="20"/>
                    </a:cubicBezTo>
                    <a:cubicBezTo>
                      <a:pt x="21" y="26"/>
                      <a:pt x="18" y="30"/>
                      <a:pt x="21" y="37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20" y="52"/>
                      <a:pt x="23" y="57"/>
                      <a:pt x="24" y="59"/>
                    </a:cubicBezTo>
                    <a:cubicBezTo>
                      <a:pt x="27" y="70"/>
                      <a:pt x="33" y="79"/>
                      <a:pt x="36" y="90"/>
                    </a:cubicBezTo>
                    <a:cubicBezTo>
                      <a:pt x="34" y="86"/>
                      <a:pt x="30" y="84"/>
                      <a:pt x="26" y="84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55" name="Полилиния 145">
                <a:extLst>
                  <a:ext uri="{FF2B5EF4-FFF2-40B4-BE49-F238E27FC236}">
                    <a16:creationId xmlns:a16="http://schemas.microsoft.com/office/drawing/2014/main" xmlns="" id="{4CEB83D9-7F32-EA16-D4E9-91E88360C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1925" y="1219200"/>
                <a:ext cx="292100" cy="214313"/>
              </a:xfrm>
              <a:custGeom>
                <a:avLst/>
                <a:gdLst/>
                <a:ahLst/>
                <a:cxnLst>
                  <a:cxn ang="0">
                    <a:pos x="76" y="161"/>
                  </a:cxn>
                  <a:cxn ang="0">
                    <a:pos x="50" y="131"/>
                  </a:cxn>
                  <a:cxn ang="0">
                    <a:pos x="103" y="67"/>
                  </a:cxn>
                  <a:cxn ang="0">
                    <a:pos x="125" y="55"/>
                  </a:cxn>
                  <a:cxn ang="0">
                    <a:pos x="134" y="45"/>
                  </a:cxn>
                  <a:cxn ang="0">
                    <a:pos x="175" y="34"/>
                  </a:cxn>
                  <a:cxn ang="0">
                    <a:pos x="220" y="11"/>
                  </a:cxn>
                  <a:cxn ang="0">
                    <a:pos x="203" y="0"/>
                  </a:cxn>
                  <a:cxn ang="0">
                    <a:pos x="136" y="25"/>
                  </a:cxn>
                  <a:cxn ang="0">
                    <a:pos x="123" y="19"/>
                  </a:cxn>
                  <a:cxn ang="0">
                    <a:pos x="109" y="25"/>
                  </a:cxn>
                  <a:cxn ang="0">
                    <a:pos x="69" y="46"/>
                  </a:cxn>
                  <a:cxn ang="0">
                    <a:pos x="52" y="49"/>
                  </a:cxn>
                  <a:cxn ang="0">
                    <a:pos x="47" y="53"/>
                  </a:cxn>
                  <a:cxn ang="0">
                    <a:pos x="50" y="61"/>
                  </a:cxn>
                  <a:cxn ang="0">
                    <a:pos x="27" y="88"/>
                  </a:cxn>
                  <a:cxn ang="0">
                    <a:pos x="34" y="98"/>
                  </a:cxn>
                  <a:cxn ang="0">
                    <a:pos x="13" y="110"/>
                  </a:cxn>
                  <a:cxn ang="0">
                    <a:pos x="13" y="117"/>
                  </a:cxn>
                  <a:cxn ang="0">
                    <a:pos x="0" y="134"/>
                  </a:cxn>
                  <a:cxn ang="0">
                    <a:pos x="8" y="143"/>
                  </a:cxn>
                  <a:cxn ang="0">
                    <a:pos x="21" y="143"/>
                  </a:cxn>
                  <a:cxn ang="0">
                    <a:pos x="27" y="158"/>
                  </a:cxn>
                  <a:cxn ang="0">
                    <a:pos x="39" y="158"/>
                  </a:cxn>
                  <a:cxn ang="0">
                    <a:pos x="42" y="161"/>
                  </a:cxn>
                  <a:cxn ang="0">
                    <a:pos x="76" y="161"/>
                  </a:cxn>
                  <a:cxn ang="0">
                    <a:pos x="72" y="156"/>
                  </a:cxn>
                  <a:cxn ang="0">
                    <a:pos x="76" y="161"/>
                  </a:cxn>
                </a:cxnLst>
                <a:rect l="0" t="0" r="r" b="b"/>
                <a:pathLst>
                  <a:path w="220" h="161">
                    <a:moveTo>
                      <a:pt x="76" y="161"/>
                    </a:moveTo>
                    <a:cubicBezTo>
                      <a:pt x="66" y="151"/>
                      <a:pt x="50" y="147"/>
                      <a:pt x="50" y="131"/>
                    </a:cubicBezTo>
                    <a:cubicBezTo>
                      <a:pt x="50" y="102"/>
                      <a:pt x="81" y="73"/>
                      <a:pt x="103" y="67"/>
                    </a:cubicBezTo>
                    <a:cubicBezTo>
                      <a:pt x="111" y="64"/>
                      <a:pt x="113" y="55"/>
                      <a:pt x="125" y="55"/>
                    </a:cubicBezTo>
                    <a:cubicBezTo>
                      <a:pt x="130" y="55"/>
                      <a:pt x="132" y="46"/>
                      <a:pt x="134" y="45"/>
                    </a:cubicBezTo>
                    <a:cubicBezTo>
                      <a:pt x="149" y="38"/>
                      <a:pt x="160" y="41"/>
                      <a:pt x="175" y="34"/>
                    </a:cubicBezTo>
                    <a:cubicBezTo>
                      <a:pt x="186" y="28"/>
                      <a:pt x="220" y="26"/>
                      <a:pt x="220" y="11"/>
                    </a:cubicBezTo>
                    <a:cubicBezTo>
                      <a:pt x="220" y="6"/>
                      <a:pt x="208" y="0"/>
                      <a:pt x="203" y="0"/>
                    </a:cubicBezTo>
                    <a:cubicBezTo>
                      <a:pt x="181" y="0"/>
                      <a:pt x="160" y="25"/>
                      <a:pt x="136" y="25"/>
                    </a:cubicBezTo>
                    <a:cubicBezTo>
                      <a:pt x="131" y="25"/>
                      <a:pt x="128" y="19"/>
                      <a:pt x="123" y="19"/>
                    </a:cubicBezTo>
                    <a:cubicBezTo>
                      <a:pt x="115" y="19"/>
                      <a:pt x="115" y="25"/>
                      <a:pt x="109" y="25"/>
                    </a:cubicBezTo>
                    <a:cubicBezTo>
                      <a:pt x="93" y="25"/>
                      <a:pt x="80" y="46"/>
                      <a:pt x="69" y="46"/>
                    </a:cubicBezTo>
                    <a:cubicBezTo>
                      <a:pt x="63" y="46"/>
                      <a:pt x="58" y="49"/>
                      <a:pt x="52" y="49"/>
                    </a:cubicBezTo>
                    <a:cubicBezTo>
                      <a:pt x="49" y="49"/>
                      <a:pt x="47" y="52"/>
                      <a:pt x="47" y="53"/>
                    </a:cubicBezTo>
                    <a:cubicBezTo>
                      <a:pt x="47" y="56"/>
                      <a:pt x="50" y="58"/>
                      <a:pt x="50" y="61"/>
                    </a:cubicBezTo>
                    <a:cubicBezTo>
                      <a:pt x="50" y="74"/>
                      <a:pt x="27" y="80"/>
                      <a:pt x="27" y="88"/>
                    </a:cubicBezTo>
                    <a:cubicBezTo>
                      <a:pt x="27" y="91"/>
                      <a:pt x="34" y="92"/>
                      <a:pt x="34" y="98"/>
                    </a:cubicBezTo>
                    <a:cubicBezTo>
                      <a:pt x="27" y="99"/>
                      <a:pt x="13" y="102"/>
                      <a:pt x="13" y="110"/>
                    </a:cubicBezTo>
                    <a:cubicBezTo>
                      <a:pt x="13" y="115"/>
                      <a:pt x="13" y="117"/>
                      <a:pt x="13" y="117"/>
                    </a:cubicBezTo>
                    <a:cubicBezTo>
                      <a:pt x="13" y="124"/>
                      <a:pt x="0" y="124"/>
                      <a:pt x="0" y="134"/>
                    </a:cubicBezTo>
                    <a:cubicBezTo>
                      <a:pt x="0" y="139"/>
                      <a:pt x="8" y="143"/>
                      <a:pt x="8" y="143"/>
                    </a:cubicBezTo>
                    <a:cubicBezTo>
                      <a:pt x="8" y="143"/>
                      <a:pt x="20" y="143"/>
                      <a:pt x="21" y="143"/>
                    </a:cubicBezTo>
                    <a:cubicBezTo>
                      <a:pt x="28" y="145"/>
                      <a:pt x="24" y="152"/>
                      <a:pt x="27" y="158"/>
                    </a:cubicBezTo>
                    <a:cubicBezTo>
                      <a:pt x="28" y="161"/>
                      <a:pt x="35" y="158"/>
                      <a:pt x="39" y="158"/>
                    </a:cubicBezTo>
                    <a:cubicBezTo>
                      <a:pt x="40" y="158"/>
                      <a:pt x="41" y="161"/>
                      <a:pt x="42" y="161"/>
                    </a:cubicBezTo>
                    <a:cubicBezTo>
                      <a:pt x="76" y="161"/>
                      <a:pt x="76" y="161"/>
                      <a:pt x="76" y="161"/>
                    </a:cubicBezTo>
                    <a:cubicBezTo>
                      <a:pt x="75" y="159"/>
                      <a:pt x="73" y="157"/>
                      <a:pt x="72" y="156"/>
                    </a:cubicBezTo>
                    <a:lnTo>
                      <a:pt x="76" y="161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56" name="Полилиния 146">
                <a:extLst>
                  <a:ext uri="{FF2B5EF4-FFF2-40B4-BE49-F238E27FC236}">
                    <a16:creationId xmlns:a16="http://schemas.microsoft.com/office/drawing/2014/main" xmlns="" id="{36A3B2DC-65EC-A888-6660-AC0DAECBC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3288" y="1196974"/>
                <a:ext cx="2847975" cy="1058864"/>
              </a:xfrm>
              <a:custGeom>
                <a:avLst/>
                <a:gdLst/>
                <a:ahLst/>
                <a:cxnLst>
                  <a:cxn ang="0">
                    <a:pos x="1515" y="585"/>
                  </a:cxn>
                  <a:cxn ang="0">
                    <a:pos x="1460" y="485"/>
                  </a:cxn>
                  <a:cxn ang="0">
                    <a:pos x="1665" y="408"/>
                  </a:cxn>
                  <a:cxn ang="0">
                    <a:pos x="1804" y="346"/>
                  </a:cxn>
                  <a:cxn ang="0">
                    <a:pos x="1709" y="465"/>
                  </a:cxn>
                  <a:cxn ang="0">
                    <a:pos x="1793" y="452"/>
                  </a:cxn>
                  <a:cxn ang="0">
                    <a:pos x="1989" y="313"/>
                  </a:cxn>
                  <a:cxn ang="0">
                    <a:pos x="2112" y="287"/>
                  </a:cxn>
                  <a:cxn ang="0">
                    <a:pos x="1892" y="194"/>
                  </a:cxn>
                  <a:cxn ang="0">
                    <a:pos x="1660" y="159"/>
                  </a:cxn>
                  <a:cxn ang="0">
                    <a:pos x="1435" y="157"/>
                  </a:cxn>
                  <a:cxn ang="0">
                    <a:pos x="1314" y="97"/>
                  </a:cxn>
                  <a:cxn ang="0">
                    <a:pos x="1102" y="104"/>
                  </a:cxn>
                  <a:cxn ang="0">
                    <a:pos x="1016" y="27"/>
                  </a:cxn>
                  <a:cxn ang="0">
                    <a:pos x="758" y="117"/>
                  </a:cxn>
                  <a:cxn ang="0">
                    <a:pos x="668" y="148"/>
                  </a:cxn>
                  <a:cxn ang="0">
                    <a:pos x="644" y="121"/>
                  </a:cxn>
                  <a:cxn ang="0">
                    <a:pos x="511" y="207"/>
                  </a:cxn>
                  <a:cxn ang="0">
                    <a:pos x="322" y="247"/>
                  </a:cxn>
                  <a:cxn ang="0">
                    <a:pos x="214" y="296"/>
                  </a:cxn>
                  <a:cxn ang="0">
                    <a:pos x="229" y="227"/>
                  </a:cxn>
                  <a:cxn ang="0">
                    <a:pos x="127" y="236"/>
                  </a:cxn>
                  <a:cxn ang="0">
                    <a:pos x="136" y="312"/>
                  </a:cxn>
                  <a:cxn ang="0">
                    <a:pos x="117" y="395"/>
                  </a:cxn>
                  <a:cxn ang="0">
                    <a:pos x="50" y="446"/>
                  </a:cxn>
                  <a:cxn ang="0">
                    <a:pos x="16" y="495"/>
                  </a:cxn>
                  <a:cxn ang="0">
                    <a:pos x="54" y="558"/>
                  </a:cxn>
                  <a:cxn ang="0">
                    <a:pos x="88" y="597"/>
                  </a:cxn>
                  <a:cxn ang="0">
                    <a:pos x="112" y="644"/>
                  </a:cxn>
                  <a:cxn ang="0">
                    <a:pos x="208" y="647"/>
                  </a:cxn>
                  <a:cxn ang="0">
                    <a:pos x="225" y="626"/>
                  </a:cxn>
                  <a:cxn ang="0">
                    <a:pos x="284" y="701"/>
                  </a:cxn>
                  <a:cxn ang="0">
                    <a:pos x="350" y="732"/>
                  </a:cxn>
                  <a:cxn ang="0">
                    <a:pos x="366" y="742"/>
                  </a:cxn>
                  <a:cxn ang="0">
                    <a:pos x="349" y="634"/>
                  </a:cxn>
                  <a:cxn ang="0">
                    <a:pos x="412" y="645"/>
                  </a:cxn>
                  <a:cxn ang="0">
                    <a:pos x="427" y="700"/>
                  </a:cxn>
                  <a:cxn ang="0">
                    <a:pos x="428" y="746"/>
                  </a:cxn>
                  <a:cxn ang="0">
                    <a:pos x="447" y="755"/>
                  </a:cxn>
                  <a:cxn ang="0">
                    <a:pos x="522" y="777"/>
                  </a:cxn>
                  <a:cxn ang="0">
                    <a:pos x="559" y="781"/>
                  </a:cxn>
                  <a:cxn ang="0">
                    <a:pos x="608" y="770"/>
                  </a:cxn>
                  <a:cxn ang="0">
                    <a:pos x="654" y="772"/>
                  </a:cxn>
                  <a:cxn ang="0">
                    <a:pos x="677" y="748"/>
                  </a:cxn>
                  <a:cxn ang="0">
                    <a:pos x="829" y="593"/>
                  </a:cxn>
                  <a:cxn ang="0">
                    <a:pos x="994" y="534"/>
                  </a:cxn>
                  <a:cxn ang="0">
                    <a:pos x="1224" y="569"/>
                  </a:cxn>
                  <a:cxn ang="0">
                    <a:pos x="1411" y="607"/>
                  </a:cxn>
                  <a:cxn ang="0">
                    <a:pos x="1400" y="655"/>
                  </a:cxn>
                </a:cxnLst>
                <a:rect l="0" t="0" r="r" b="b"/>
                <a:pathLst>
                  <a:path w="2139" h="795">
                    <a:moveTo>
                      <a:pt x="1398" y="684"/>
                    </a:moveTo>
                    <a:cubicBezTo>
                      <a:pt x="1398" y="684"/>
                      <a:pt x="1415" y="688"/>
                      <a:pt x="1429" y="688"/>
                    </a:cubicBezTo>
                    <a:cubicBezTo>
                      <a:pt x="1454" y="688"/>
                      <a:pt x="1478" y="635"/>
                      <a:pt x="1495" y="618"/>
                    </a:cubicBezTo>
                    <a:cubicBezTo>
                      <a:pt x="1502" y="610"/>
                      <a:pt x="1512" y="596"/>
                      <a:pt x="1515" y="585"/>
                    </a:cubicBezTo>
                    <a:cubicBezTo>
                      <a:pt x="1518" y="572"/>
                      <a:pt x="1513" y="564"/>
                      <a:pt x="1520" y="551"/>
                    </a:cubicBezTo>
                    <a:cubicBezTo>
                      <a:pt x="1522" y="547"/>
                      <a:pt x="1527" y="537"/>
                      <a:pt x="1527" y="527"/>
                    </a:cubicBezTo>
                    <a:cubicBezTo>
                      <a:pt x="1527" y="515"/>
                      <a:pt x="1508" y="492"/>
                      <a:pt x="1499" y="499"/>
                    </a:cubicBezTo>
                    <a:cubicBezTo>
                      <a:pt x="1473" y="518"/>
                      <a:pt x="1460" y="488"/>
                      <a:pt x="1460" y="485"/>
                    </a:cubicBezTo>
                    <a:cubicBezTo>
                      <a:pt x="1460" y="473"/>
                      <a:pt x="1483" y="459"/>
                      <a:pt x="1493" y="450"/>
                    </a:cubicBezTo>
                    <a:cubicBezTo>
                      <a:pt x="1506" y="436"/>
                      <a:pt x="1524" y="413"/>
                      <a:pt x="1543" y="408"/>
                    </a:cubicBezTo>
                    <a:cubicBezTo>
                      <a:pt x="1560" y="404"/>
                      <a:pt x="1613" y="399"/>
                      <a:pt x="1627" y="399"/>
                    </a:cubicBezTo>
                    <a:cubicBezTo>
                      <a:pt x="1645" y="399"/>
                      <a:pt x="1654" y="408"/>
                      <a:pt x="1665" y="408"/>
                    </a:cubicBezTo>
                    <a:cubicBezTo>
                      <a:pt x="1671" y="408"/>
                      <a:pt x="1675" y="408"/>
                      <a:pt x="1689" y="408"/>
                    </a:cubicBezTo>
                    <a:cubicBezTo>
                      <a:pt x="1696" y="379"/>
                      <a:pt x="1709" y="362"/>
                      <a:pt x="1740" y="362"/>
                    </a:cubicBezTo>
                    <a:cubicBezTo>
                      <a:pt x="1748" y="362"/>
                      <a:pt x="1751" y="360"/>
                      <a:pt x="1766" y="362"/>
                    </a:cubicBezTo>
                    <a:cubicBezTo>
                      <a:pt x="1759" y="368"/>
                      <a:pt x="1756" y="406"/>
                      <a:pt x="1804" y="346"/>
                    </a:cubicBezTo>
                    <a:cubicBezTo>
                      <a:pt x="1809" y="346"/>
                      <a:pt x="1832" y="355"/>
                      <a:pt x="1797" y="377"/>
                    </a:cubicBezTo>
                    <a:cubicBezTo>
                      <a:pt x="1785" y="385"/>
                      <a:pt x="1774" y="381"/>
                      <a:pt x="1766" y="393"/>
                    </a:cubicBezTo>
                    <a:cubicBezTo>
                      <a:pt x="1757" y="406"/>
                      <a:pt x="1749" y="423"/>
                      <a:pt x="1735" y="430"/>
                    </a:cubicBezTo>
                    <a:cubicBezTo>
                      <a:pt x="1724" y="436"/>
                      <a:pt x="1709" y="447"/>
                      <a:pt x="1709" y="465"/>
                    </a:cubicBezTo>
                    <a:cubicBezTo>
                      <a:pt x="1709" y="482"/>
                      <a:pt x="1714" y="535"/>
                      <a:pt x="1726" y="545"/>
                    </a:cubicBezTo>
                    <a:cubicBezTo>
                      <a:pt x="1735" y="532"/>
                      <a:pt x="1741" y="507"/>
                      <a:pt x="1760" y="503"/>
                    </a:cubicBezTo>
                    <a:cubicBezTo>
                      <a:pt x="1757" y="491"/>
                      <a:pt x="1777" y="488"/>
                      <a:pt x="1777" y="479"/>
                    </a:cubicBezTo>
                    <a:cubicBezTo>
                      <a:pt x="1777" y="464"/>
                      <a:pt x="1793" y="460"/>
                      <a:pt x="1793" y="452"/>
                    </a:cubicBezTo>
                    <a:cubicBezTo>
                      <a:pt x="1793" y="447"/>
                      <a:pt x="1788" y="442"/>
                      <a:pt x="1793" y="432"/>
                    </a:cubicBezTo>
                    <a:cubicBezTo>
                      <a:pt x="1828" y="356"/>
                      <a:pt x="1861" y="397"/>
                      <a:pt x="1874" y="397"/>
                    </a:cubicBezTo>
                    <a:cubicBezTo>
                      <a:pt x="1914" y="397"/>
                      <a:pt x="1941" y="347"/>
                      <a:pt x="1976" y="346"/>
                    </a:cubicBezTo>
                    <a:cubicBezTo>
                      <a:pt x="2041" y="345"/>
                      <a:pt x="1989" y="320"/>
                      <a:pt x="1989" y="313"/>
                    </a:cubicBezTo>
                    <a:cubicBezTo>
                      <a:pt x="1989" y="294"/>
                      <a:pt x="2015" y="297"/>
                      <a:pt x="2020" y="287"/>
                    </a:cubicBezTo>
                    <a:cubicBezTo>
                      <a:pt x="2022" y="282"/>
                      <a:pt x="2018" y="271"/>
                      <a:pt x="2026" y="271"/>
                    </a:cubicBezTo>
                    <a:cubicBezTo>
                      <a:pt x="2054" y="271"/>
                      <a:pt x="2077" y="309"/>
                      <a:pt x="2097" y="309"/>
                    </a:cubicBezTo>
                    <a:cubicBezTo>
                      <a:pt x="2106" y="309"/>
                      <a:pt x="2108" y="293"/>
                      <a:pt x="2112" y="287"/>
                    </a:cubicBezTo>
                    <a:cubicBezTo>
                      <a:pt x="2120" y="278"/>
                      <a:pt x="2127" y="279"/>
                      <a:pt x="2139" y="275"/>
                    </a:cubicBezTo>
                    <a:cubicBezTo>
                      <a:pt x="2123" y="254"/>
                      <a:pt x="2071" y="242"/>
                      <a:pt x="2046" y="227"/>
                    </a:cubicBezTo>
                    <a:cubicBezTo>
                      <a:pt x="2011" y="207"/>
                      <a:pt x="1965" y="185"/>
                      <a:pt x="1914" y="185"/>
                    </a:cubicBezTo>
                    <a:cubicBezTo>
                      <a:pt x="1900" y="185"/>
                      <a:pt x="1890" y="188"/>
                      <a:pt x="1892" y="194"/>
                    </a:cubicBezTo>
                    <a:cubicBezTo>
                      <a:pt x="1906" y="237"/>
                      <a:pt x="1872" y="194"/>
                      <a:pt x="1863" y="194"/>
                    </a:cubicBezTo>
                    <a:cubicBezTo>
                      <a:pt x="1762" y="192"/>
                      <a:pt x="1762" y="192"/>
                      <a:pt x="1762" y="192"/>
                    </a:cubicBezTo>
                    <a:cubicBezTo>
                      <a:pt x="1756" y="169"/>
                      <a:pt x="1741" y="161"/>
                      <a:pt x="1711" y="161"/>
                    </a:cubicBezTo>
                    <a:cubicBezTo>
                      <a:pt x="1695" y="161"/>
                      <a:pt x="1670" y="167"/>
                      <a:pt x="1660" y="159"/>
                    </a:cubicBezTo>
                    <a:cubicBezTo>
                      <a:pt x="1652" y="151"/>
                      <a:pt x="1651" y="141"/>
                      <a:pt x="1638" y="137"/>
                    </a:cubicBezTo>
                    <a:cubicBezTo>
                      <a:pt x="1611" y="128"/>
                      <a:pt x="1582" y="121"/>
                      <a:pt x="1548" y="121"/>
                    </a:cubicBezTo>
                    <a:cubicBezTo>
                      <a:pt x="1513" y="121"/>
                      <a:pt x="1509" y="140"/>
                      <a:pt x="1506" y="157"/>
                    </a:cubicBezTo>
                    <a:cubicBezTo>
                      <a:pt x="1473" y="157"/>
                      <a:pt x="1457" y="157"/>
                      <a:pt x="1435" y="157"/>
                    </a:cubicBezTo>
                    <a:cubicBezTo>
                      <a:pt x="1423" y="157"/>
                      <a:pt x="1421" y="147"/>
                      <a:pt x="1407" y="146"/>
                    </a:cubicBezTo>
                    <a:cubicBezTo>
                      <a:pt x="1405" y="152"/>
                      <a:pt x="1403" y="166"/>
                      <a:pt x="1396" y="166"/>
                    </a:cubicBezTo>
                    <a:cubicBezTo>
                      <a:pt x="1377" y="166"/>
                      <a:pt x="1369" y="143"/>
                      <a:pt x="1369" y="130"/>
                    </a:cubicBezTo>
                    <a:cubicBezTo>
                      <a:pt x="1369" y="127"/>
                      <a:pt x="1405" y="105"/>
                      <a:pt x="1314" y="97"/>
                    </a:cubicBezTo>
                    <a:cubicBezTo>
                      <a:pt x="1303" y="96"/>
                      <a:pt x="1296" y="101"/>
                      <a:pt x="1296" y="115"/>
                    </a:cubicBezTo>
                    <a:cubicBezTo>
                      <a:pt x="1248" y="115"/>
                      <a:pt x="1248" y="115"/>
                      <a:pt x="1248" y="115"/>
                    </a:cubicBezTo>
                    <a:cubicBezTo>
                      <a:pt x="1233" y="111"/>
                      <a:pt x="1157" y="102"/>
                      <a:pt x="1147" y="86"/>
                    </a:cubicBezTo>
                    <a:cubicBezTo>
                      <a:pt x="1089" y="133"/>
                      <a:pt x="1102" y="104"/>
                      <a:pt x="1102" y="104"/>
                    </a:cubicBezTo>
                    <a:cubicBezTo>
                      <a:pt x="1116" y="87"/>
                      <a:pt x="1249" y="51"/>
                      <a:pt x="1140" y="24"/>
                    </a:cubicBezTo>
                    <a:cubicBezTo>
                      <a:pt x="1094" y="24"/>
                      <a:pt x="1094" y="24"/>
                      <a:pt x="1094" y="24"/>
                    </a:cubicBezTo>
                    <a:cubicBezTo>
                      <a:pt x="1089" y="12"/>
                      <a:pt x="1079" y="0"/>
                      <a:pt x="1060" y="0"/>
                    </a:cubicBezTo>
                    <a:cubicBezTo>
                      <a:pt x="1038" y="0"/>
                      <a:pt x="1028" y="17"/>
                      <a:pt x="1016" y="27"/>
                    </a:cubicBezTo>
                    <a:cubicBezTo>
                      <a:pt x="1008" y="33"/>
                      <a:pt x="951" y="56"/>
                      <a:pt x="956" y="35"/>
                    </a:cubicBezTo>
                    <a:cubicBezTo>
                      <a:pt x="941" y="40"/>
                      <a:pt x="879" y="44"/>
                      <a:pt x="847" y="73"/>
                    </a:cubicBezTo>
                    <a:cubicBezTo>
                      <a:pt x="840" y="79"/>
                      <a:pt x="838" y="97"/>
                      <a:pt x="828" y="97"/>
                    </a:cubicBezTo>
                    <a:cubicBezTo>
                      <a:pt x="813" y="97"/>
                      <a:pt x="758" y="92"/>
                      <a:pt x="758" y="117"/>
                    </a:cubicBezTo>
                    <a:cubicBezTo>
                      <a:pt x="758" y="122"/>
                      <a:pt x="763" y="128"/>
                      <a:pt x="765" y="135"/>
                    </a:cubicBezTo>
                    <a:cubicBezTo>
                      <a:pt x="755" y="141"/>
                      <a:pt x="752" y="135"/>
                      <a:pt x="721" y="135"/>
                    </a:cubicBezTo>
                    <a:cubicBezTo>
                      <a:pt x="695" y="170"/>
                      <a:pt x="697" y="129"/>
                      <a:pt x="691" y="121"/>
                    </a:cubicBezTo>
                    <a:cubicBezTo>
                      <a:pt x="689" y="136"/>
                      <a:pt x="679" y="142"/>
                      <a:pt x="668" y="148"/>
                    </a:cubicBezTo>
                    <a:cubicBezTo>
                      <a:pt x="671" y="160"/>
                      <a:pt x="690" y="173"/>
                      <a:pt x="677" y="188"/>
                    </a:cubicBezTo>
                    <a:cubicBezTo>
                      <a:pt x="667" y="198"/>
                      <a:pt x="695" y="230"/>
                      <a:pt x="680" y="230"/>
                    </a:cubicBezTo>
                    <a:cubicBezTo>
                      <a:pt x="662" y="230"/>
                      <a:pt x="657" y="164"/>
                      <a:pt x="657" y="150"/>
                    </a:cubicBezTo>
                    <a:cubicBezTo>
                      <a:pt x="657" y="135"/>
                      <a:pt x="681" y="129"/>
                      <a:pt x="644" y="121"/>
                    </a:cubicBezTo>
                    <a:cubicBezTo>
                      <a:pt x="625" y="118"/>
                      <a:pt x="589" y="149"/>
                      <a:pt x="589" y="166"/>
                    </a:cubicBezTo>
                    <a:cubicBezTo>
                      <a:pt x="589" y="186"/>
                      <a:pt x="598" y="199"/>
                      <a:pt x="608" y="210"/>
                    </a:cubicBezTo>
                    <a:cubicBezTo>
                      <a:pt x="633" y="248"/>
                      <a:pt x="574" y="205"/>
                      <a:pt x="552" y="200"/>
                    </a:cubicBezTo>
                    <a:cubicBezTo>
                      <a:pt x="492" y="184"/>
                      <a:pt x="512" y="204"/>
                      <a:pt x="511" y="207"/>
                    </a:cubicBezTo>
                    <a:cubicBezTo>
                      <a:pt x="509" y="241"/>
                      <a:pt x="495" y="214"/>
                      <a:pt x="487" y="214"/>
                    </a:cubicBezTo>
                    <a:cubicBezTo>
                      <a:pt x="473" y="214"/>
                      <a:pt x="445" y="233"/>
                      <a:pt x="425" y="223"/>
                    </a:cubicBezTo>
                    <a:cubicBezTo>
                      <a:pt x="415" y="197"/>
                      <a:pt x="349" y="256"/>
                      <a:pt x="333" y="256"/>
                    </a:cubicBezTo>
                    <a:cubicBezTo>
                      <a:pt x="327" y="256"/>
                      <a:pt x="320" y="252"/>
                      <a:pt x="322" y="247"/>
                    </a:cubicBezTo>
                    <a:cubicBezTo>
                      <a:pt x="329" y="229"/>
                      <a:pt x="319" y="191"/>
                      <a:pt x="300" y="249"/>
                    </a:cubicBezTo>
                    <a:cubicBezTo>
                      <a:pt x="298" y="253"/>
                      <a:pt x="306" y="255"/>
                      <a:pt x="306" y="263"/>
                    </a:cubicBezTo>
                    <a:cubicBezTo>
                      <a:pt x="306" y="278"/>
                      <a:pt x="283" y="267"/>
                      <a:pt x="271" y="271"/>
                    </a:cubicBezTo>
                    <a:cubicBezTo>
                      <a:pt x="259" y="275"/>
                      <a:pt x="265" y="318"/>
                      <a:pt x="214" y="296"/>
                    </a:cubicBezTo>
                    <a:cubicBezTo>
                      <a:pt x="214" y="313"/>
                      <a:pt x="214" y="313"/>
                      <a:pt x="214" y="313"/>
                    </a:cubicBezTo>
                    <a:cubicBezTo>
                      <a:pt x="189" y="311"/>
                      <a:pt x="192" y="284"/>
                      <a:pt x="183" y="271"/>
                    </a:cubicBezTo>
                    <a:cubicBezTo>
                      <a:pt x="202" y="271"/>
                      <a:pt x="212" y="271"/>
                      <a:pt x="230" y="276"/>
                    </a:cubicBezTo>
                    <a:cubicBezTo>
                      <a:pt x="255" y="282"/>
                      <a:pt x="304" y="251"/>
                      <a:pt x="229" y="227"/>
                    </a:cubicBezTo>
                    <a:cubicBezTo>
                      <a:pt x="208" y="220"/>
                      <a:pt x="160" y="196"/>
                      <a:pt x="145" y="196"/>
                    </a:cubicBezTo>
                    <a:cubicBezTo>
                      <a:pt x="144" y="196"/>
                      <a:pt x="144" y="195"/>
                      <a:pt x="133" y="196"/>
                    </a:cubicBezTo>
                    <a:cubicBezTo>
                      <a:pt x="127" y="200"/>
                      <a:pt x="111" y="208"/>
                      <a:pt x="111" y="219"/>
                    </a:cubicBezTo>
                    <a:cubicBezTo>
                      <a:pt x="111" y="227"/>
                      <a:pt x="127" y="226"/>
                      <a:pt x="127" y="236"/>
                    </a:cubicBezTo>
                    <a:cubicBezTo>
                      <a:pt x="127" y="244"/>
                      <a:pt x="119" y="247"/>
                      <a:pt x="119" y="255"/>
                    </a:cubicBezTo>
                    <a:cubicBezTo>
                      <a:pt x="119" y="263"/>
                      <a:pt x="128" y="268"/>
                      <a:pt x="128" y="277"/>
                    </a:cubicBezTo>
                    <a:cubicBezTo>
                      <a:pt x="128" y="282"/>
                      <a:pt x="123" y="285"/>
                      <a:pt x="123" y="290"/>
                    </a:cubicBezTo>
                    <a:cubicBezTo>
                      <a:pt x="123" y="300"/>
                      <a:pt x="136" y="302"/>
                      <a:pt x="136" y="312"/>
                    </a:cubicBezTo>
                    <a:cubicBezTo>
                      <a:pt x="136" y="315"/>
                      <a:pt x="132" y="317"/>
                      <a:pt x="131" y="318"/>
                    </a:cubicBezTo>
                    <a:cubicBezTo>
                      <a:pt x="135" y="325"/>
                      <a:pt x="145" y="327"/>
                      <a:pt x="145" y="336"/>
                    </a:cubicBezTo>
                    <a:cubicBezTo>
                      <a:pt x="145" y="351"/>
                      <a:pt x="115" y="367"/>
                      <a:pt x="106" y="379"/>
                    </a:cubicBezTo>
                    <a:cubicBezTo>
                      <a:pt x="109" y="384"/>
                      <a:pt x="114" y="387"/>
                      <a:pt x="117" y="395"/>
                    </a:cubicBezTo>
                    <a:cubicBezTo>
                      <a:pt x="111" y="398"/>
                      <a:pt x="98" y="405"/>
                      <a:pt x="92" y="405"/>
                    </a:cubicBezTo>
                    <a:cubicBezTo>
                      <a:pt x="85" y="405"/>
                      <a:pt x="80" y="402"/>
                      <a:pt x="70" y="402"/>
                    </a:cubicBezTo>
                    <a:cubicBezTo>
                      <a:pt x="61" y="402"/>
                      <a:pt x="38" y="410"/>
                      <a:pt x="45" y="417"/>
                    </a:cubicBezTo>
                    <a:cubicBezTo>
                      <a:pt x="67" y="438"/>
                      <a:pt x="56" y="446"/>
                      <a:pt x="50" y="446"/>
                    </a:cubicBezTo>
                    <a:cubicBezTo>
                      <a:pt x="42" y="446"/>
                      <a:pt x="40" y="435"/>
                      <a:pt x="33" y="435"/>
                    </a:cubicBezTo>
                    <a:cubicBezTo>
                      <a:pt x="25" y="435"/>
                      <a:pt x="15" y="455"/>
                      <a:pt x="15" y="465"/>
                    </a:cubicBezTo>
                    <a:cubicBezTo>
                      <a:pt x="15" y="483"/>
                      <a:pt x="1" y="480"/>
                      <a:pt x="0" y="496"/>
                    </a:cubicBezTo>
                    <a:cubicBezTo>
                      <a:pt x="6" y="495"/>
                      <a:pt x="11" y="495"/>
                      <a:pt x="16" y="495"/>
                    </a:cubicBezTo>
                    <a:cubicBezTo>
                      <a:pt x="24" y="495"/>
                      <a:pt x="30" y="494"/>
                      <a:pt x="39" y="494"/>
                    </a:cubicBezTo>
                    <a:cubicBezTo>
                      <a:pt x="48" y="494"/>
                      <a:pt x="52" y="510"/>
                      <a:pt x="52" y="520"/>
                    </a:cubicBezTo>
                    <a:cubicBezTo>
                      <a:pt x="52" y="526"/>
                      <a:pt x="46" y="529"/>
                      <a:pt x="46" y="535"/>
                    </a:cubicBezTo>
                    <a:cubicBezTo>
                      <a:pt x="46" y="544"/>
                      <a:pt x="54" y="550"/>
                      <a:pt x="54" y="558"/>
                    </a:cubicBezTo>
                    <a:cubicBezTo>
                      <a:pt x="54" y="563"/>
                      <a:pt x="46" y="565"/>
                      <a:pt x="44" y="568"/>
                    </a:cubicBezTo>
                    <a:cubicBezTo>
                      <a:pt x="39" y="576"/>
                      <a:pt x="37" y="583"/>
                      <a:pt x="37" y="593"/>
                    </a:cubicBezTo>
                    <a:cubicBezTo>
                      <a:pt x="37" y="606"/>
                      <a:pt x="46" y="603"/>
                      <a:pt x="56" y="603"/>
                    </a:cubicBezTo>
                    <a:cubicBezTo>
                      <a:pt x="70" y="603"/>
                      <a:pt x="77" y="597"/>
                      <a:pt x="88" y="597"/>
                    </a:cubicBezTo>
                    <a:cubicBezTo>
                      <a:pt x="99" y="597"/>
                      <a:pt x="97" y="620"/>
                      <a:pt x="108" y="620"/>
                    </a:cubicBezTo>
                    <a:cubicBezTo>
                      <a:pt x="108" y="638"/>
                      <a:pt x="108" y="638"/>
                      <a:pt x="108" y="638"/>
                    </a:cubicBezTo>
                    <a:cubicBezTo>
                      <a:pt x="108" y="640"/>
                      <a:pt x="109" y="641"/>
                      <a:pt x="110" y="641"/>
                    </a:cubicBezTo>
                    <a:cubicBezTo>
                      <a:pt x="112" y="644"/>
                      <a:pt x="112" y="644"/>
                      <a:pt x="112" y="644"/>
                    </a:cubicBezTo>
                    <a:cubicBezTo>
                      <a:pt x="114" y="644"/>
                      <a:pt x="120" y="642"/>
                      <a:pt x="123" y="641"/>
                    </a:cubicBezTo>
                    <a:cubicBezTo>
                      <a:pt x="132" y="639"/>
                      <a:pt x="133" y="627"/>
                      <a:pt x="143" y="627"/>
                    </a:cubicBezTo>
                    <a:cubicBezTo>
                      <a:pt x="151" y="627"/>
                      <a:pt x="171" y="660"/>
                      <a:pt x="177" y="660"/>
                    </a:cubicBezTo>
                    <a:cubicBezTo>
                      <a:pt x="184" y="660"/>
                      <a:pt x="205" y="651"/>
                      <a:pt x="208" y="647"/>
                    </a:cubicBezTo>
                    <a:cubicBezTo>
                      <a:pt x="207" y="647"/>
                      <a:pt x="196" y="645"/>
                      <a:pt x="196" y="645"/>
                    </a:cubicBezTo>
                    <a:cubicBezTo>
                      <a:pt x="194" y="645"/>
                      <a:pt x="189" y="644"/>
                      <a:pt x="189" y="638"/>
                    </a:cubicBezTo>
                    <a:cubicBezTo>
                      <a:pt x="189" y="635"/>
                      <a:pt x="221" y="623"/>
                      <a:pt x="233" y="619"/>
                    </a:cubicBezTo>
                    <a:cubicBezTo>
                      <a:pt x="233" y="619"/>
                      <a:pt x="227" y="625"/>
                      <a:pt x="225" y="626"/>
                    </a:cubicBezTo>
                    <a:cubicBezTo>
                      <a:pt x="226" y="629"/>
                      <a:pt x="237" y="641"/>
                      <a:pt x="211" y="647"/>
                    </a:cubicBezTo>
                    <a:cubicBezTo>
                      <a:pt x="223" y="673"/>
                      <a:pt x="273" y="669"/>
                      <a:pt x="273" y="704"/>
                    </a:cubicBezTo>
                    <a:cubicBezTo>
                      <a:pt x="275" y="703"/>
                      <a:pt x="275" y="703"/>
                      <a:pt x="275" y="703"/>
                    </a:cubicBezTo>
                    <a:cubicBezTo>
                      <a:pt x="278" y="702"/>
                      <a:pt x="280" y="701"/>
                      <a:pt x="284" y="701"/>
                    </a:cubicBezTo>
                    <a:cubicBezTo>
                      <a:pt x="298" y="701"/>
                      <a:pt x="297" y="710"/>
                      <a:pt x="302" y="719"/>
                    </a:cubicBezTo>
                    <a:cubicBezTo>
                      <a:pt x="303" y="721"/>
                      <a:pt x="312" y="726"/>
                      <a:pt x="312" y="726"/>
                    </a:cubicBezTo>
                    <a:cubicBezTo>
                      <a:pt x="320" y="729"/>
                      <a:pt x="322" y="742"/>
                      <a:pt x="335" y="742"/>
                    </a:cubicBezTo>
                    <a:cubicBezTo>
                      <a:pt x="344" y="742"/>
                      <a:pt x="344" y="734"/>
                      <a:pt x="350" y="732"/>
                    </a:cubicBezTo>
                    <a:cubicBezTo>
                      <a:pt x="354" y="731"/>
                      <a:pt x="353" y="731"/>
                      <a:pt x="357" y="731"/>
                    </a:cubicBezTo>
                    <a:cubicBezTo>
                      <a:pt x="358" y="733"/>
                      <a:pt x="358" y="737"/>
                      <a:pt x="360" y="739"/>
                    </a:cubicBezTo>
                    <a:cubicBezTo>
                      <a:pt x="359" y="739"/>
                      <a:pt x="360" y="740"/>
                      <a:pt x="360" y="741"/>
                    </a:cubicBezTo>
                    <a:cubicBezTo>
                      <a:pt x="366" y="742"/>
                      <a:pt x="366" y="742"/>
                      <a:pt x="366" y="742"/>
                    </a:cubicBezTo>
                    <a:cubicBezTo>
                      <a:pt x="371" y="735"/>
                      <a:pt x="371" y="724"/>
                      <a:pt x="378" y="721"/>
                    </a:cubicBezTo>
                    <a:cubicBezTo>
                      <a:pt x="366" y="714"/>
                      <a:pt x="348" y="688"/>
                      <a:pt x="348" y="673"/>
                    </a:cubicBezTo>
                    <a:cubicBezTo>
                      <a:pt x="348" y="668"/>
                      <a:pt x="338" y="662"/>
                      <a:pt x="338" y="655"/>
                    </a:cubicBezTo>
                    <a:cubicBezTo>
                      <a:pt x="338" y="653"/>
                      <a:pt x="347" y="637"/>
                      <a:pt x="349" y="634"/>
                    </a:cubicBezTo>
                    <a:cubicBezTo>
                      <a:pt x="351" y="635"/>
                      <a:pt x="365" y="628"/>
                      <a:pt x="366" y="627"/>
                    </a:cubicBezTo>
                    <a:cubicBezTo>
                      <a:pt x="377" y="623"/>
                      <a:pt x="384" y="620"/>
                      <a:pt x="399" y="620"/>
                    </a:cubicBezTo>
                    <a:cubicBezTo>
                      <a:pt x="423" y="620"/>
                      <a:pt x="427" y="631"/>
                      <a:pt x="436" y="645"/>
                    </a:cubicBezTo>
                    <a:cubicBezTo>
                      <a:pt x="429" y="650"/>
                      <a:pt x="420" y="645"/>
                      <a:pt x="412" y="645"/>
                    </a:cubicBezTo>
                    <a:cubicBezTo>
                      <a:pt x="400" y="645"/>
                      <a:pt x="383" y="656"/>
                      <a:pt x="381" y="656"/>
                    </a:cubicBezTo>
                    <a:cubicBezTo>
                      <a:pt x="382" y="665"/>
                      <a:pt x="389" y="664"/>
                      <a:pt x="391" y="669"/>
                    </a:cubicBezTo>
                    <a:cubicBezTo>
                      <a:pt x="400" y="684"/>
                      <a:pt x="412" y="690"/>
                      <a:pt x="412" y="707"/>
                    </a:cubicBezTo>
                    <a:cubicBezTo>
                      <a:pt x="415" y="705"/>
                      <a:pt x="424" y="701"/>
                      <a:pt x="427" y="700"/>
                    </a:cubicBezTo>
                    <a:cubicBezTo>
                      <a:pt x="427" y="707"/>
                      <a:pt x="434" y="710"/>
                      <a:pt x="434" y="717"/>
                    </a:cubicBezTo>
                    <a:cubicBezTo>
                      <a:pt x="421" y="717"/>
                      <a:pt x="421" y="717"/>
                      <a:pt x="421" y="717"/>
                    </a:cubicBezTo>
                    <a:cubicBezTo>
                      <a:pt x="417" y="717"/>
                      <a:pt x="413" y="721"/>
                      <a:pt x="412" y="728"/>
                    </a:cubicBezTo>
                    <a:cubicBezTo>
                      <a:pt x="421" y="729"/>
                      <a:pt x="428" y="738"/>
                      <a:pt x="428" y="746"/>
                    </a:cubicBezTo>
                    <a:cubicBezTo>
                      <a:pt x="428" y="751"/>
                      <a:pt x="424" y="753"/>
                      <a:pt x="424" y="757"/>
                    </a:cubicBezTo>
                    <a:cubicBezTo>
                      <a:pt x="424" y="761"/>
                      <a:pt x="428" y="765"/>
                      <a:pt x="429" y="766"/>
                    </a:cubicBezTo>
                    <a:cubicBezTo>
                      <a:pt x="429" y="762"/>
                      <a:pt x="434" y="762"/>
                      <a:pt x="438" y="761"/>
                    </a:cubicBezTo>
                    <a:cubicBezTo>
                      <a:pt x="443" y="759"/>
                      <a:pt x="442" y="757"/>
                      <a:pt x="447" y="755"/>
                    </a:cubicBezTo>
                    <a:cubicBezTo>
                      <a:pt x="455" y="752"/>
                      <a:pt x="460" y="754"/>
                      <a:pt x="466" y="749"/>
                    </a:cubicBezTo>
                    <a:cubicBezTo>
                      <a:pt x="476" y="755"/>
                      <a:pt x="482" y="755"/>
                      <a:pt x="491" y="758"/>
                    </a:cubicBezTo>
                    <a:cubicBezTo>
                      <a:pt x="502" y="762"/>
                      <a:pt x="505" y="772"/>
                      <a:pt x="518" y="772"/>
                    </a:cubicBezTo>
                    <a:cubicBezTo>
                      <a:pt x="518" y="774"/>
                      <a:pt x="521" y="775"/>
                      <a:pt x="522" y="777"/>
                    </a:cubicBezTo>
                    <a:cubicBezTo>
                      <a:pt x="523" y="781"/>
                      <a:pt x="522" y="787"/>
                      <a:pt x="524" y="793"/>
                    </a:cubicBezTo>
                    <a:cubicBezTo>
                      <a:pt x="529" y="787"/>
                      <a:pt x="533" y="795"/>
                      <a:pt x="537" y="795"/>
                    </a:cubicBezTo>
                    <a:cubicBezTo>
                      <a:pt x="542" y="795"/>
                      <a:pt x="544" y="791"/>
                      <a:pt x="547" y="788"/>
                    </a:cubicBezTo>
                    <a:cubicBezTo>
                      <a:pt x="551" y="784"/>
                      <a:pt x="556" y="784"/>
                      <a:pt x="559" y="781"/>
                    </a:cubicBezTo>
                    <a:cubicBezTo>
                      <a:pt x="567" y="773"/>
                      <a:pt x="568" y="762"/>
                      <a:pt x="579" y="762"/>
                    </a:cubicBezTo>
                    <a:cubicBezTo>
                      <a:pt x="583" y="762"/>
                      <a:pt x="582" y="764"/>
                      <a:pt x="586" y="764"/>
                    </a:cubicBezTo>
                    <a:cubicBezTo>
                      <a:pt x="587" y="769"/>
                      <a:pt x="597" y="765"/>
                      <a:pt x="600" y="765"/>
                    </a:cubicBezTo>
                    <a:cubicBezTo>
                      <a:pt x="604" y="765"/>
                      <a:pt x="605" y="770"/>
                      <a:pt x="608" y="770"/>
                    </a:cubicBezTo>
                    <a:cubicBezTo>
                      <a:pt x="617" y="770"/>
                      <a:pt x="624" y="765"/>
                      <a:pt x="627" y="759"/>
                    </a:cubicBezTo>
                    <a:cubicBezTo>
                      <a:pt x="628" y="760"/>
                      <a:pt x="629" y="759"/>
                      <a:pt x="630" y="759"/>
                    </a:cubicBezTo>
                    <a:cubicBezTo>
                      <a:pt x="634" y="759"/>
                      <a:pt x="636" y="749"/>
                      <a:pt x="645" y="749"/>
                    </a:cubicBezTo>
                    <a:cubicBezTo>
                      <a:pt x="654" y="749"/>
                      <a:pt x="644" y="772"/>
                      <a:pt x="654" y="772"/>
                    </a:cubicBezTo>
                    <a:cubicBezTo>
                      <a:pt x="664" y="772"/>
                      <a:pt x="668" y="764"/>
                      <a:pt x="677" y="764"/>
                    </a:cubicBezTo>
                    <a:cubicBezTo>
                      <a:pt x="682" y="764"/>
                      <a:pt x="686" y="764"/>
                      <a:pt x="692" y="765"/>
                    </a:cubicBezTo>
                    <a:cubicBezTo>
                      <a:pt x="692" y="763"/>
                      <a:pt x="692" y="763"/>
                      <a:pt x="692" y="763"/>
                    </a:cubicBezTo>
                    <a:cubicBezTo>
                      <a:pt x="690" y="753"/>
                      <a:pt x="688" y="750"/>
                      <a:pt x="677" y="748"/>
                    </a:cubicBezTo>
                    <a:cubicBezTo>
                      <a:pt x="678" y="739"/>
                      <a:pt x="687" y="719"/>
                      <a:pt x="694" y="719"/>
                    </a:cubicBezTo>
                    <a:cubicBezTo>
                      <a:pt x="735" y="719"/>
                      <a:pt x="763" y="698"/>
                      <a:pt x="763" y="649"/>
                    </a:cubicBezTo>
                    <a:cubicBezTo>
                      <a:pt x="785" y="645"/>
                      <a:pt x="787" y="618"/>
                      <a:pt x="800" y="620"/>
                    </a:cubicBezTo>
                    <a:cubicBezTo>
                      <a:pt x="836" y="624"/>
                      <a:pt x="822" y="600"/>
                      <a:pt x="829" y="593"/>
                    </a:cubicBezTo>
                    <a:cubicBezTo>
                      <a:pt x="847" y="578"/>
                      <a:pt x="873" y="578"/>
                      <a:pt x="895" y="565"/>
                    </a:cubicBezTo>
                    <a:cubicBezTo>
                      <a:pt x="898" y="563"/>
                      <a:pt x="906" y="554"/>
                      <a:pt x="913" y="554"/>
                    </a:cubicBezTo>
                    <a:cubicBezTo>
                      <a:pt x="924" y="554"/>
                      <a:pt x="943" y="567"/>
                      <a:pt x="961" y="567"/>
                    </a:cubicBezTo>
                    <a:cubicBezTo>
                      <a:pt x="986" y="567"/>
                      <a:pt x="981" y="534"/>
                      <a:pt x="994" y="534"/>
                    </a:cubicBezTo>
                    <a:cubicBezTo>
                      <a:pt x="1002" y="534"/>
                      <a:pt x="1029" y="538"/>
                      <a:pt x="1032" y="545"/>
                    </a:cubicBezTo>
                    <a:cubicBezTo>
                      <a:pt x="1042" y="573"/>
                      <a:pt x="1060" y="558"/>
                      <a:pt x="1072" y="558"/>
                    </a:cubicBezTo>
                    <a:cubicBezTo>
                      <a:pt x="1099" y="558"/>
                      <a:pt x="1107" y="580"/>
                      <a:pt x="1135" y="580"/>
                    </a:cubicBezTo>
                    <a:cubicBezTo>
                      <a:pt x="1160" y="580"/>
                      <a:pt x="1192" y="557"/>
                      <a:pt x="1224" y="569"/>
                    </a:cubicBezTo>
                    <a:cubicBezTo>
                      <a:pt x="1266" y="586"/>
                      <a:pt x="1245" y="512"/>
                      <a:pt x="1301" y="512"/>
                    </a:cubicBezTo>
                    <a:cubicBezTo>
                      <a:pt x="1340" y="512"/>
                      <a:pt x="1339" y="543"/>
                      <a:pt x="1354" y="567"/>
                    </a:cubicBezTo>
                    <a:cubicBezTo>
                      <a:pt x="1360" y="576"/>
                      <a:pt x="1379" y="577"/>
                      <a:pt x="1387" y="585"/>
                    </a:cubicBezTo>
                    <a:cubicBezTo>
                      <a:pt x="1393" y="590"/>
                      <a:pt x="1398" y="607"/>
                      <a:pt x="1411" y="607"/>
                    </a:cubicBezTo>
                    <a:cubicBezTo>
                      <a:pt x="1426" y="607"/>
                      <a:pt x="1428" y="593"/>
                      <a:pt x="1446" y="593"/>
                    </a:cubicBezTo>
                    <a:cubicBezTo>
                      <a:pt x="1446" y="604"/>
                      <a:pt x="1446" y="604"/>
                      <a:pt x="1446" y="604"/>
                    </a:cubicBezTo>
                    <a:cubicBezTo>
                      <a:pt x="1437" y="614"/>
                      <a:pt x="1433" y="638"/>
                      <a:pt x="1422" y="644"/>
                    </a:cubicBezTo>
                    <a:cubicBezTo>
                      <a:pt x="1412" y="650"/>
                      <a:pt x="1394" y="651"/>
                      <a:pt x="1400" y="655"/>
                    </a:cubicBezTo>
                    <a:cubicBezTo>
                      <a:pt x="1415" y="665"/>
                      <a:pt x="1398" y="684"/>
                      <a:pt x="1398" y="684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57" name="Полилиния 147">
                <a:extLst>
                  <a:ext uri="{FF2B5EF4-FFF2-40B4-BE49-F238E27FC236}">
                    <a16:creationId xmlns:a16="http://schemas.microsoft.com/office/drawing/2014/main" xmlns="" id="{85DF6DBB-4725-1EFA-DBA7-F4A9F347D4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4988" y="1879600"/>
                <a:ext cx="1023938" cy="646113"/>
              </a:xfrm>
              <a:custGeom>
                <a:avLst/>
                <a:gdLst/>
                <a:ahLst/>
                <a:cxnLst>
                  <a:cxn ang="0">
                    <a:pos x="585" y="307"/>
                  </a:cxn>
                  <a:cxn ang="0">
                    <a:pos x="573" y="287"/>
                  </a:cxn>
                  <a:cxn ang="0">
                    <a:pos x="614" y="256"/>
                  </a:cxn>
                  <a:cxn ang="0">
                    <a:pos x="588" y="246"/>
                  </a:cxn>
                  <a:cxn ang="0">
                    <a:pos x="570" y="255"/>
                  </a:cxn>
                  <a:cxn ang="0">
                    <a:pos x="552" y="236"/>
                  </a:cxn>
                  <a:cxn ang="0">
                    <a:pos x="590" y="209"/>
                  </a:cxn>
                  <a:cxn ang="0">
                    <a:pos x="606" y="212"/>
                  </a:cxn>
                  <a:cxn ang="0">
                    <a:pos x="634" y="216"/>
                  </a:cxn>
                  <a:cxn ang="0">
                    <a:pos x="648" y="231"/>
                  </a:cxn>
                  <a:cxn ang="0">
                    <a:pos x="648" y="248"/>
                  </a:cxn>
                  <a:cxn ang="0">
                    <a:pos x="666" y="254"/>
                  </a:cxn>
                  <a:cxn ang="0">
                    <a:pos x="659" y="264"/>
                  </a:cxn>
                  <a:cxn ang="0">
                    <a:pos x="665" y="275"/>
                  </a:cxn>
                  <a:cxn ang="0">
                    <a:pos x="664" y="290"/>
                  </a:cxn>
                  <a:cxn ang="0">
                    <a:pos x="668" y="295"/>
                  </a:cxn>
                  <a:cxn ang="0">
                    <a:pos x="690" y="286"/>
                  </a:cxn>
                  <a:cxn ang="0">
                    <a:pos x="683" y="232"/>
                  </a:cxn>
                  <a:cxn ang="0">
                    <a:pos x="688" y="210"/>
                  </a:cxn>
                  <a:cxn ang="0">
                    <a:pos x="721" y="172"/>
                  </a:cxn>
                  <a:cxn ang="0">
                    <a:pos x="745" y="132"/>
                  </a:cxn>
                  <a:cxn ang="0">
                    <a:pos x="769" y="81"/>
                  </a:cxn>
                  <a:cxn ang="0">
                    <a:pos x="710" y="73"/>
                  </a:cxn>
                  <a:cxn ang="0">
                    <a:pos x="624" y="0"/>
                  </a:cxn>
                  <a:cxn ang="0">
                    <a:pos x="458" y="68"/>
                  </a:cxn>
                  <a:cxn ang="0">
                    <a:pos x="355" y="33"/>
                  </a:cxn>
                  <a:cxn ang="0">
                    <a:pos x="284" y="55"/>
                  </a:cxn>
                  <a:cxn ang="0">
                    <a:pos x="218" y="53"/>
                  </a:cxn>
                  <a:cxn ang="0">
                    <a:pos x="123" y="108"/>
                  </a:cxn>
                  <a:cxn ang="0">
                    <a:pos x="17" y="207"/>
                  </a:cxn>
                  <a:cxn ang="0">
                    <a:pos x="15" y="251"/>
                  </a:cxn>
                  <a:cxn ang="0">
                    <a:pos x="25" y="261"/>
                  </a:cxn>
                  <a:cxn ang="0">
                    <a:pos x="50" y="280"/>
                  </a:cxn>
                  <a:cxn ang="0">
                    <a:pos x="83" y="284"/>
                  </a:cxn>
                  <a:cxn ang="0">
                    <a:pos x="73" y="317"/>
                  </a:cxn>
                  <a:cxn ang="0">
                    <a:pos x="63" y="326"/>
                  </a:cxn>
                  <a:cxn ang="0">
                    <a:pos x="73" y="343"/>
                  </a:cxn>
                  <a:cxn ang="0">
                    <a:pos x="110" y="357"/>
                  </a:cxn>
                  <a:cxn ang="0">
                    <a:pos x="132" y="373"/>
                  </a:cxn>
                  <a:cxn ang="0">
                    <a:pos x="160" y="384"/>
                  </a:cxn>
                  <a:cxn ang="0">
                    <a:pos x="186" y="382"/>
                  </a:cxn>
                  <a:cxn ang="0">
                    <a:pos x="210" y="381"/>
                  </a:cxn>
                  <a:cxn ang="0">
                    <a:pos x="255" y="372"/>
                  </a:cxn>
                  <a:cxn ang="0">
                    <a:pos x="275" y="366"/>
                  </a:cxn>
                  <a:cxn ang="0">
                    <a:pos x="282" y="362"/>
                  </a:cxn>
                  <a:cxn ang="0">
                    <a:pos x="316" y="400"/>
                  </a:cxn>
                  <a:cxn ang="0">
                    <a:pos x="306" y="439"/>
                  </a:cxn>
                  <a:cxn ang="0">
                    <a:pos x="324" y="450"/>
                  </a:cxn>
                  <a:cxn ang="0">
                    <a:pos x="346" y="467"/>
                  </a:cxn>
                  <a:cxn ang="0">
                    <a:pos x="351" y="472"/>
                  </a:cxn>
                  <a:cxn ang="0">
                    <a:pos x="353" y="457"/>
                  </a:cxn>
                  <a:cxn ang="0">
                    <a:pos x="379" y="454"/>
                  </a:cxn>
                  <a:cxn ang="0">
                    <a:pos x="416" y="453"/>
                  </a:cxn>
                  <a:cxn ang="0">
                    <a:pos x="431" y="470"/>
                  </a:cxn>
                  <a:cxn ang="0">
                    <a:pos x="454" y="486"/>
                  </a:cxn>
                  <a:cxn ang="0">
                    <a:pos x="476" y="470"/>
                  </a:cxn>
                  <a:cxn ang="0">
                    <a:pos x="503" y="455"/>
                  </a:cxn>
                  <a:cxn ang="0">
                    <a:pos x="552" y="439"/>
                  </a:cxn>
                  <a:cxn ang="0">
                    <a:pos x="576" y="406"/>
                  </a:cxn>
                  <a:cxn ang="0">
                    <a:pos x="604" y="355"/>
                  </a:cxn>
                  <a:cxn ang="0">
                    <a:pos x="586" y="307"/>
                  </a:cxn>
                </a:cxnLst>
                <a:rect l="0" t="0" r="r" b="b"/>
                <a:pathLst>
                  <a:path w="769" h="486">
                    <a:moveTo>
                      <a:pt x="586" y="307"/>
                    </a:moveTo>
                    <a:cubicBezTo>
                      <a:pt x="585" y="307"/>
                      <a:pt x="585" y="307"/>
                      <a:pt x="585" y="307"/>
                    </a:cubicBezTo>
                    <a:cubicBezTo>
                      <a:pt x="585" y="307"/>
                      <a:pt x="585" y="300"/>
                      <a:pt x="585" y="298"/>
                    </a:cubicBezTo>
                    <a:cubicBezTo>
                      <a:pt x="582" y="298"/>
                      <a:pt x="573" y="294"/>
                      <a:pt x="573" y="287"/>
                    </a:cubicBezTo>
                    <a:cubicBezTo>
                      <a:pt x="573" y="282"/>
                      <a:pt x="581" y="282"/>
                      <a:pt x="582" y="276"/>
                    </a:cubicBezTo>
                    <a:cubicBezTo>
                      <a:pt x="586" y="264"/>
                      <a:pt x="605" y="264"/>
                      <a:pt x="614" y="256"/>
                    </a:cubicBezTo>
                    <a:cubicBezTo>
                      <a:pt x="611" y="251"/>
                      <a:pt x="604" y="256"/>
                      <a:pt x="598" y="252"/>
                    </a:cubicBezTo>
                    <a:cubicBezTo>
                      <a:pt x="595" y="250"/>
                      <a:pt x="593" y="246"/>
                      <a:pt x="588" y="246"/>
                    </a:cubicBezTo>
                    <a:cubicBezTo>
                      <a:pt x="585" y="246"/>
                      <a:pt x="585" y="256"/>
                      <a:pt x="582" y="256"/>
                    </a:cubicBezTo>
                    <a:cubicBezTo>
                      <a:pt x="578" y="256"/>
                      <a:pt x="574" y="257"/>
                      <a:pt x="570" y="255"/>
                    </a:cubicBezTo>
                    <a:cubicBezTo>
                      <a:pt x="565" y="252"/>
                      <a:pt x="567" y="247"/>
                      <a:pt x="562" y="243"/>
                    </a:cubicBezTo>
                    <a:cubicBezTo>
                      <a:pt x="560" y="242"/>
                      <a:pt x="552" y="240"/>
                      <a:pt x="552" y="236"/>
                    </a:cubicBezTo>
                    <a:cubicBezTo>
                      <a:pt x="552" y="227"/>
                      <a:pt x="565" y="230"/>
                      <a:pt x="571" y="225"/>
                    </a:cubicBezTo>
                    <a:cubicBezTo>
                      <a:pt x="577" y="221"/>
                      <a:pt x="587" y="215"/>
                      <a:pt x="590" y="209"/>
                    </a:cubicBezTo>
                    <a:cubicBezTo>
                      <a:pt x="591" y="208"/>
                      <a:pt x="593" y="203"/>
                      <a:pt x="597" y="203"/>
                    </a:cubicBezTo>
                    <a:cubicBezTo>
                      <a:pt x="601" y="203"/>
                      <a:pt x="606" y="209"/>
                      <a:pt x="606" y="212"/>
                    </a:cubicBezTo>
                    <a:cubicBezTo>
                      <a:pt x="606" y="219"/>
                      <a:pt x="597" y="222"/>
                      <a:pt x="597" y="230"/>
                    </a:cubicBezTo>
                    <a:cubicBezTo>
                      <a:pt x="610" y="230"/>
                      <a:pt x="620" y="216"/>
                      <a:pt x="634" y="216"/>
                    </a:cubicBezTo>
                    <a:cubicBezTo>
                      <a:pt x="639" y="216"/>
                      <a:pt x="641" y="221"/>
                      <a:pt x="648" y="221"/>
                    </a:cubicBezTo>
                    <a:cubicBezTo>
                      <a:pt x="646" y="226"/>
                      <a:pt x="648" y="226"/>
                      <a:pt x="648" y="231"/>
                    </a:cubicBezTo>
                    <a:cubicBezTo>
                      <a:pt x="648" y="235"/>
                      <a:pt x="643" y="235"/>
                      <a:pt x="643" y="240"/>
                    </a:cubicBezTo>
                    <a:cubicBezTo>
                      <a:pt x="643" y="242"/>
                      <a:pt x="645" y="248"/>
                      <a:pt x="648" y="248"/>
                    </a:cubicBezTo>
                    <a:cubicBezTo>
                      <a:pt x="649" y="248"/>
                      <a:pt x="651" y="245"/>
                      <a:pt x="654" y="245"/>
                    </a:cubicBezTo>
                    <a:cubicBezTo>
                      <a:pt x="659" y="245"/>
                      <a:pt x="666" y="249"/>
                      <a:pt x="666" y="254"/>
                    </a:cubicBezTo>
                    <a:cubicBezTo>
                      <a:pt x="666" y="257"/>
                      <a:pt x="662" y="260"/>
                      <a:pt x="659" y="260"/>
                    </a:cubicBezTo>
                    <a:cubicBezTo>
                      <a:pt x="659" y="264"/>
                      <a:pt x="659" y="264"/>
                      <a:pt x="659" y="264"/>
                    </a:cubicBezTo>
                    <a:cubicBezTo>
                      <a:pt x="660" y="265"/>
                      <a:pt x="660" y="267"/>
                      <a:pt x="663" y="268"/>
                    </a:cubicBezTo>
                    <a:cubicBezTo>
                      <a:pt x="663" y="270"/>
                      <a:pt x="665" y="272"/>
                      <a:pt x="665" y="275"/>
                    </a:cubicBezTo>
                    <a:cubicBezTo>
                      <a:pt x="665" y="276"/>
                      <a:pt x="661" y="282"/>
                      <a:pt x="661" y="285"/>
                    </a:cubicBezTo>
                    <a:cubicBezTo>
                      <a:pt x="661" y="287"/>
                      <a:pt x="661" y="289"/>
                      <a:pt x="664" y="290"/>
                    </a:cubicBezTo>
                    <a:cubicBezTo>
                      <a:pt x="663" y="292"/>
                      <a:pt x="661" y="293"/>
                      <a:pt x="661" y="295"/>
                    </a:cubicBezTo>
                    <a:cubicBezTo>
                      <a:pt x="668" y="295"/>
                      <a:pt x="668" y="295"/>
                      <a:pt x="668" y="295"/>
                    </a:cubicBezTo>
                    <a:cubicBezTo>
                      <a:pt x="670" y="293"/>
                      <a:pt x="671" y="293"/>
                      <a:pt x="676" y="291"/>
                    </a:cubicBezTo>
                    <a:cubicBezTo>
                      <a:pt x="676" y="287"/>
                      <a:pt x="687" y="287"/>
                      <a:pt x="690" y="286"/>
                    </a:cubicBezTo>
                    <a:cubicBezTo>
                      <a:pt x="696" y="284"/>
                      <a:pt x="699" y="279"/>
                      <a:pt x="699" y="269"/>
                    </a:cubicBezTo>
                    <a:cubicBezTo>
                      <a:pt x="699" y="252"/>
                      <a:pt x="692" y="242"/>
                      <a:pt x="683" y="232"/>
                    </a:cubicBezTo>
                    <a:cubicBezTo>
                      <a:pt x="679" y="228"/>
                      <a:pt x="674" y="224"/>
                      <a:pt x="675" y="217"/>
                    </a:cubicBezTo>
                    <a:cubicBezTo>
                      <a:pt x="680" y="217"/>
                      <a:pt x="685" y="214"/>
                      <a:pt x="688" y="210"/>
                    </a:cubicBezTo>
                    <a:cubicBezTo>
                      <a:pt x="691" y="207"/>
                      <a:pt x="699" y="203"/>
                      <a:pt x="701" y="199"/>
                    </a:cubicBezTo>
                    <a:cubicBezTo>
                      <a:pt x="707" y="187"/>
                      <a:pt x="710" y="180"/>
                      <a:pt x="721" y="172"/>
                    </a:cubicBezTo>
                    <a:cubicBezTo>
                      <a:pt x="721" y="172"/>
                      <a:pt x="738" y="153"/>
                      <a:pt x="723" y="143"/>
                    </a:cubicBezTo>
                    <a:cubicBezTo>
                      <a:pt x="717" y="139"/>
                      <a:pt x="735" y="138"/>
                      <a:pt x="745" y="132"/>
                    </a:cubicBezTo>
                    <a:cubicBezTo>
                      <a:pt x="756" y="126"/>
                      <a:pt x="760" y="102"/>
                      <a:pt x="769" y="92"/>
                    </a:cubicBezTo>
                    <a:cubicBezTo>
                      <a:pt x="769" y="81"/>
                      <a:pt x="769" y="81"/>
                      <a:pt x="769" y="81"/>
                    </a:cubicBezTo>
                    <a:cubicBezTo>
                      <a:pt x="751" y="81"/>
                      <a:pt x="749" y="95"/>
                      <a:pt x="734" y="95"/>
                    </a:cubicBezTo>
                    <a:cubicBezTo>
                      <a:pt x="721" y="95"/>
                      <a:pt x="716" y="78"/>
                      <a:pt x="710" y="73"/>
                    </a:cubicBezTo>
                    <a:cubicBezTo>
                      <a:pt x="702" y="65"/>
                      <a:pt x="683" y="64"/>
                      <a:pt x="677" y="55"/>
                    </a:cubicBezTo>
                    <a:cubicBezTo>
                      <a:pt x="662" y="31"/>
                      <a:pt x="663" y="0"/>
                      <a:pt x="624" y="0"/>
                    </a:cubicBezTo>
                    <a:cubicBezTo>
                      <a:pt x="568" y="0"/>
                      <a:pt x="589" y="74"/>
                      <a:pt x="547" y="57"/>
                    </a:cubicBezTo>
                    <a:cubicBezTo>
                      <a:pt x="515" y="45"/>
                      <a:pt x="483" y="68"/>
                      <a:pt x="458" y="68"/>
                    </a:cubicBezTo>
                    <a:cubicBezTo>
                      <a:pt x="430" y="68"/>
                      <a:pt x="422" y="46"/>
                      <a:pt x="395" y="46"/>
                    </a:cubicBezTo>
                    <a:cubicBezTo>
                      <a:pt x="383" y="46"/>
                      <a:pt x="365" y="61"/>
                      <a:pt x="355" y="33"/>
                    </a:cubicBezTo>
                    <a:cubicBezTo>
                      <a:pt x="352" y="26"/>
                      <a:pt x="325" y="22"/>
                      <a:pt x="317" y="22"/>
                    </a:cubicBezTo>
                    <a:cubicBezTo>
                      <a:pt x="304" y="22"/>
                      <a:pt x="309" y="55"/>
                      <a:pt x="284" y="55"/>
                    </a:cubicBezTo>
                    <a:cubicBezTo>
                      <a:pt x="266" y="55"/>
                      <a:pt x="247" y="42"/>
                      <a:pt x="236" y="42"/>
                    </a:cubicBezTo>
                    <a:cubicBezTo>
                      <a:pt x="229" y="42"/>
                      <a:pt x="221" y="51"/>
                      <a:pt x="218" y="53"/>
                    </a:cubicBezTo>
                    <a:cubicBezTo>
                      <a:pt x="196" y="66"/>
                      <a:pt x="170" y="66"/>
                      <a:pt x="152" y="81"/>
                    </a:cubicBezTo>
                    <a:cubicBezTo>
                      <a:pt x="145" y="88"/>
                      <a:pt x="159" y="112"/>
                      <a:pt x="123" y="108"/>
                    </a:cubicBezTo>
                    <a:cubicBezTo>
                      <a:pt x="110" y="106"/>
                      <a:pt x="108" y="133"/>
                      <a:pt x="86" y="137"/>
                    </a:cubicBezTo>
                    <a:cubicBezTo>
                      <a:pt x="86" y="186"/>
                      <a:pt x="58" y="207"/>
                      <a:pt x="17" y="207"/>
                    </a:cubicBezTo>
                    <a:cubicBezTo>
                      <a:pt x="10" y="207"/>
                      <a:pt x="1" y="227"/>
                      <a:pt x="0" y="236"/>
                    </a:cubicBezTo>
                    <a:cubicBezTo>
                      <a:pt x="11" y="238"/>
                      <a:pt x="13" y="241"/>
                      <a:pt x="15" y="251"/>
                    </a:cubicBezTo>
                    <a:cubicBezTo>
                      <a:pt x="15" y="253"/>
                      <a:pt x="15" y="253"/>
                      <a:pt x="15" y="253"/>
                    </a:cubicBezTo>
                    <a:cubicBezTo>
                      <a:pt x="15" y="261"/>
                      <a:pt x="19" y="259"/>
                      <a:pt x="25" y="261"/>
                    </a:cubicBezTo>
                    <a:cubicBezTo>
                      <a:pt x="30" y="262"/>
                      <a:pt x="28" y="268"/>
                      <a:pt x="31" y="271"/>
                    </a:cubicBezTo>
                    <a:cubicBezTo>
                      <a:pt x="37" y="277"/>
                      <a:pt x="42" y="277"/>
                      <a:pt x="50" y="280"/>
                    </a:cubicBezTo>
                    <a:cubicBezTo>
                      <a:pt x="58" y="279"/>
                      <a:pt x="61" y="272"/>
                      <a:pt x="69" y="272"/>
                    </a:cubicBezTo>
                    <a:cubicBezTo>
                      <a:pt x="73" y="272"/>
                      <a:pt x="83" y="280"/>
                      <a:pt x="83" y="284"/>
                    </a:cubicBezTo>
                    <a:cubicBezTo>
                      <a:pt x="83" y="296"/>
                      <a:pt x="66" y="294"/>
                      <a:pt x="66" y="306"/>
                    </a:cubicBezTo>
                    <a:cubicBezTo>
                      <a:pt x="66" y="311"/>
                      <a:pt x="73" y="312"/>
                      <a:pt x="73" y="317"/>
                    </a:cubicBezTo>
                    <a:cubicBezTo>
                      <a:pt x="73" y="323"/>
                      <a:pt x="68" y="322"/>
                      <a:pt x="63" y="322"/>
                    </a:cubicBezTo>
                    <a:cubicBezTo>
                      <a:pt x="63" y="326"/>
                      <a:pt x="63" y="326"/>
                      <a:pt x="63" y="326"/>
                    </a:cubicBezTo>
                    <a:cubicBezTo>
                      <a:pt x="64" y="331"/>
                      <a:pt x="64" y="335"/>
                      <a:pt x="65" y="340"/>
                    </a:cubicBezTo>
                    <a:cubicBezTo>
                      <a:pt x="66" y="343"/>
                      <a:pt x="71" y="342"/>
                      <a:pt x="73" y="343"/>
                    </a:cubicBezTo>
                    <a:cubicBezTo>
                      <a:pt x="80" y="345"/>
                      <a:pt x="83" y="351"/>
                      <a:pt x="91" y="353"/>
                    </a:cubicBezTo>
                    <a:cubicBezTo>
                      <a:pt x="100" y="355"/>
                      <a:pt x="105" y="352"/>
                      <a:pt x="110" y="357"/>
                    </a:cubicBezTo>
                    <a:cubicBezTo>
                      <a:pt x="116" y="363"/>
                      <a:pt x="120" y="361"/>
                      <a:pt x="127" y="364"/>
                    </a:cubicBezTo>
                    <a:cubicBezTo>
                      <a:pt x="130" y="366"/>
                      <a:pt x="130" y="369"/>
                      <a:pt x="132" y="373"/>
                    </a:cubicBezTo>
                    <a:cubicBezTo>
                      <a:pt x="133" y="376"/>
                      <a:pt x="137" y="372"/>
                      <a:pt x="139" y="373"/>
                    </a:cubicBezTo>
                    <a:cubicBezTo>
                      <a:pt x="146" y="378"/>
                      <a:pt x="150" y="384"/>
                      <a:pt x="160" y="384"/>
                    </a:cubicBezTo>
                    <a:cubicBezTo>
                      <a:pt x="166" y="384"/>
                      <a:pt x="172" y="384"/>
                      <a:pt x="178" y="384"/>
                    </a:cubicBezTo>
                    <a:cubicBezTo>
                      <a:pt x="182" y="384"/>
                      <a:pt x="184" y="382"/>
                      <a:pt x="186" y="382"/>
                    </a:cubicBezTo>
                    <a:cubicBezTo>
                      <a:pt x="189" y="382"/>
                      <a:pt x="190" y="389"/>
                      <a:pt x="191" y="392"/>
                    </a:cubicBezTo>
                    <a:cubicBezTo>
                      <a:pt x="197" y="389"/>
                      <a:pt x="199" y="381"/>
                      <a:pt x="210" y="381"/>
                    </a:cubicBezTo>
                    <a:cubicBezTo>
                      <a:pt x="219" y="381"/>
                      <a:pt x="224" y="386"/>
                      <a:pt x="231" y="386"/>
                    </a:cubicBezTo>
                    <a:cubicBezTo>
                      <a:pt x="238" y="386"/>
                      <a:pt x="252" y="374"/>
                      <a:pt x="255" y="372"/>
                    </a:cubicBezTo>
                    <a:cubicBezTo>
                      <a:pt x="258" y="370"/>
                      <a:pt x="259" y="369"/>
                      <a:pt x="260" y="367"/>
                    </a:cubicBezTo>
                    <a:cubicBezTo>
                      <a:pt x="264" y="363"/>
                      <a:pt x="270" y="368"/>
                      <a:pt x="275" y="366"/>
                    </a:cubicBezTo>
                    <a:cubicBezTo>
                      <a:pt x="279" y="362"/>
                      <a:pt x="279" y="362"/>
                      <a:pt x="279" y="362"/>
                    </a:cubicBezTo>
                    <a:cubicBezTo>
                      <a:pt x="282" y="362"/>
                      <a:pt x="282" y="362"/>
                      <a:pt x="282" y="362"/>
                    </a:cubicBezTo>
                    <a:cubicBezTo>
                      <a:pt x="285" y="377"/>
                      <a:pt x="294" y="376"/>
                      <a:pt x="305" y="381"/>
                    </a:cubicBezTo>
                    <a:cubicBezTo>
                      <a:pt x="309" y="388"/>
                      <a:pt x="316" y="391"/>
                      <a:pt x="316" y="400"/>
                    </a:cubicBezTo>
                    <a:cubicBezTo>
                      <a:pt x="316" y="417"/>
                      <a:pt x="304" y="418"/>
                      <a:pt x="304" y="434"/>
                    </a:cubicBezTo>
                    <a:cubicBezTo>
                      <a:pt x="304" y="436"/>
                      <a:pt x="305" y="439"/>
                      <a:pt x="306" y="439"/>
                    </a:cubicBezTo>
                    <a:cubicBezTo>
                      <a:pt x="309" y="439"/>
                      <a:pt x="312" y="436"/>
                      <a:pt x="315" y="436"/>
                    </a:cubicBezTo>
                    <a:cubicBezTo>
                      <a:pt x="319" y="436"/>
                      <a:pt x="320" y="449"/>
                      <a:pt x="324" y="450"/>
                    </a:cubicBezTo>
                    <a:cubicBezTo>
                      <a:pt x="324" y="459"/>
                      <a:pt x="330" y="468"/>
                      <a:pt x="338" y="468"/>
                    </a:cubicBezTo>
                    <a:cubicBezTo>
                      <a:pt x="342" y="468"/>
                      <a:pt x="343" y="467"/>
                      <a:pt x="346" y="467"/>
                    </a:cubicBezTo>
                    <a:cubicBezTo>
                      <a:pt x="348" y="467"/>
                      <a:pt x="348" y="467"/>
                      <a:pt x="348" y="467"/>
                    </a:cubicBezTo>
                    <a:cubicBezTo>
                      <a:pt x="348" y="471"/>
                      <a:pt x="350" y="472"/>
                      <a:pt x="351" y="472"/>
                    </a:cubicBezTo>
                    <a:cubicBezTo>
                      <a:pt x="352" y="472"/>
                      <a:pt x="353" y="470"/>
                      <a:pt x="353" y="468"/>
                    </a:cubicBezTo>
                    <a:cubicBezTo>
                      <a:pt x="353" y="464"/>
                      <a:pt x="353" y="461"/>
                      <a:pt x="353" y="457"/>
                    </a:cubicBezTo>
                    <a:cubicBezTo>
                      <a:pt x="353" y="457"/>
                      <a:pt x="363" y="454"/>
                      <a:pt x="365" y="454"/>
                    </a:cubicBezTo>
                    <a:cubicBezTo>
                      <a:pt x="379" y="454"/>
                      <a:pt x="379" y="454"/>
                      <a:pt x="379" y="454"/>
                    </a:cubicBezTo>
                    <a:cubicBezTo>
                      <a:pt x="385" y="457"/>
                      <a:pt x="390" y="448"/>
                      <a:pt x="397" y="448"/>
                    </a:cubicBezTo>
                    <a:cubicBezTo>
                      <a:pt x="404" y="448"/>
                      <a:pt x="408" y="453"/>
                      <a:pt x="416" y="453"/>
                    </a:cubicBezTo>
                    <a:cubicBezTo>
                      <a:pt x="416" y="464"/>
                      <a:pt x="424" y="468"/>
                      <a:pt x="431" y="470"/>
                    </a:cubicBezTo>
                    <a:cubicBezTo>
                      <a:pt x="431" y="470"/>
                      <a:pt x="431" y="470"/>
                      <a:pt x="431" y="470"/>
                    </a:cubicBezTo>
                    <a:cubicBezTo>
                      <a:pt x="439" y="474"/>
                      <a:pt x="444" y="471"/>
                      <a:pt x="452" y="475"/>
                    </a:cubicBezTo>
                    <a:cubicBezTo>
                      <a:pt x="452" y="477"/>
                      <a:pt x="451" y="486"/>
                      <a:pt x="454" y="486"/>
                    </a:cubicBezTo>
                    <a:cubicBezTo>
                      <a:pt x="459" y="486"/>
                      <a:pt x="457" y="480"/>
                      <a:pt x="460" y="477"/>
                    </a:cubicBezTo>
                    <a:cubicBezTo>
                      <a:pt x="463" y="474"/>
                      <a:pt x="472" y="472"/>
                      <a:pt x="476" y="470"/>
                    </a:cubicBezTo>
                    <a:cubicBezTo>
                      <a:pt x="484" y="466"/>
                      <a:pt x="492" y="468"/>
                      <a:pt x="498" y="463"/>
                    </a:cubicBezTo>
                    <a:cubicBezTo>
                      <a:pt x="498" y="463"/>
                      <a:pt x="502" y="455"/>
                      <a:pt x="503" y="455"/>
                    </a:cubicBezTo>
                    <a:cubicBezTo>
                      <a:pt x="507" y="455"/>
                      <a:pt x="510" y="458"/>
                      <a:pt x="514" y="458"/>
                    </a:cubicBezTo>
                    <a:cubicBezTo>
                      <a:pt x="534" y="458"/>
                      <a:pt x="539" y="446"/>
                      <a:pt x="552" y="439"/>
                    </a:cubicBezTo>
                    <a:cubicBezTo>
                      <a:pt x="555" y="437"/>
                      <a:pt x="557" y="435"/>
                      <a:pt x="558" y="431"/>
                    </a:cubicBezTo>
                    <a:cubicBezTo>
                      <a:pt x="569" y="431"/>
                      <a:pt x="572" y="414"/>
                      <a:pt x="576" y="406"/>
                    </a:cubicBezTo>
                    <a:cubicBezTo>
                      <a:pt x="578" y="401"/>
                      <a:pt x="590" y="383"/>
                      <a:pt x="597" y="382"/>
                    </a:cubicBezTo>
                    <a:cubicBezTo>
                      <a:pt x="597" y="372"/>
                      <a:pt x="604" y="368"/>
                      <a:pt x="604" y="355"/>
                    </a:cubicBezTo>
                    <a:cubicBezTo>
                      <a:pt x="604" y="336"/>
                      <a:pt x="599" y="329"/>
                      <a:pt x="591" y="317"/>
                    </a:cubicBezTo>
                    <a:cubicBezTo>
                      <a:pt x="590" y="315"/>
                      <a:pt x="590" y="309"/>
                      <a:pt x="586" y="3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58" name="Полилиния 148">
                <a:extLst>
                  <a:ext uri="{FF2B5EF4-FFF2-40B4-BE49-F238E27FC236}">
                    <a16:creationId xmlns:a16="http://schemas.microsoft.com/office/drawing/2014/main" xmlns="" id="{76BF47BC-D99A-119D-A477-BC2BF1868C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9175" y="1395413"/>
                <a:ext cx="58738" cy="25400"/>
              </a:xfrm>
              <a:custGeom>
                <a:avLst/>
                <a:gdLst/>
                <a:ahLst/>
                <a:cxnLst>
                  <a:cxn ang="0">
                    <a:pos x="4" y="19"/>
                  </a:cxn>
                  <a:cxn ang="0">
                    <a:pos x="0" y="14"/>
                  </a:cxn>
                  <a:cxn ang="0">
                    <a:pos x="20" y="0"/>
                  </a:cxn>
                  <a:cxn ang="0">
                    <a:pos x="44" y="11"/>
                  </a:cxn>
                  <a:cxn ang="0">
                    <a:pos x="4" y="19"/>
                  </a:cxn>
                </a:cxnLst>
                <a:rect l="0" t="0" r="r" b="b"/>
                <a:pathLst>
                  <a:path w="44" h="19">
                    <a:moveTo>
                      <a:pt x="4" y="19"/>
                    </a:moveTo>
                    <a:cubicBezTo>
                      <a:pt x="1" y="19"/>
                      <a:pt x="0" y="17"/>
                      <a:pt x="0" y="14"/>
                    </a:cubicBezTo>
                    <a:cubicBezTo>
                      <a:pt x="0" y="8"/>
                      <a:pt x="13" y="0"/>
                      <a:pt x="20" y="0"/>
                    </a:cubicBezTo>
                    <a:cubicBezTo>
                      <a:pt x="27" y="0"/>
                      <a:pt x="44" y="4"/>
                      <a:pt x="44" y="11"/>
                    </a:cubicBezTo>
                    <a:cubicBezTo>
                      <a:pt x="44" y="17"/>
                      <a:pt x="9" y="19"/>
                      <a:pt x="4" y="19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59" name="Полилиния 149">
                <a:extLst>
                  <a:ext uri="{FF2B5EF4-FFF2-40B4-BE49-F238E27FC236}">
                    <a16:creationId xmlns:a16="http://schemas.microsoft.com/office/drawing/2014/main" xmlns="" id="{CB7D7848-D550-5573-5E1A-5E66A5204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1375" y="1443038"/>
                <a:ext cx="23813" cy="14288"/>
              </a:xfrm>
              <a:custGeom>
                <a:avLst/>
                <a:gdLst/>
                <a:ahLst/>
                <a:cxnLst>
                  <a:cxn ang="0">
                    <a:pos x="13" y="10"/>
                  </a:cxn>
                  <a:cxn ang="0">
                    <a:pos x="18" y="6"/>
                  </a:cxn>
                  <a:cxn ang="0">
                    <a:pos x="15" y="0"/>
                  </a:cxn>
                  <a:cxn ang="0">
                    <a:pos x="0" y="0"/>
                  </a:cxn>
                  <a:cxn ang="0">
                    <a:pos x="13" y="10"/>
                  </a:cxn>
                </a:cxnLst>
                <a:rect l="0" t="0" r="r" b="b"/>
                <a:pathLst>
                  <a:path w="18" h="10">
                    <a:moveTo>
                      <a:pt x="13" y="10"/>
                    </a:moveTo>
                    <a:cubicBezTo>
                      <a:pt x="15" y="10"/>
                      <a:pt x="18" y="8"/>
                      <a:pt x="18" y="6"/>
                    </a:cubicBezTo>
                    <a:cubicBezTo>
                      <a:pt x="18" y="3"/>
                      <a:pt x="15" y="2"/>
                      <a:pt x="15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6"/>
                      <a:pt x="7" y="10"/>
                      <a:pt x="13" y="1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60" name="Полилиния 150">
                <a:extLst>
                  <a:ext uri="{FF2B5EF4-FFF2-40B4-BE49-F238E27FC236}">
                    <a16:creationId xmlns:a16="http://schemas.microsoft.com/office/drawing/2014/main" xmlns="" id="{1B799895-79EB-6CA5-6393-B049DD5E47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5275" y="1257300"/>
                <a:ext cx="11113" cy="12700"/>
              </a:xfrm>
              <a:custGeom>
                <a:avLst/>
                <a:gdLst/>
                <a:ahLst/>
                <a:cxnLst>
                  <a:cxn ang="0">
                    <a:pos x="8" y="5"/>
                  </a:cxn>
                  <a:cxn ang="0">
                    <a:pos x="3" y="0"/>
                  </a:cxn>
                  <a:cxn ang="0">
                    <a:pos x="0" y="7"/>
                  </a:cxn>
                  <a:cxn ang="0">
                    <a:pos x="3" y="10"/>
                  </a:cxn>
                  <a:cxn ang="0">
                    <a:pos x="8" y="4"/>
                  </a:cxn>
                  <a:cxn ang="0">
                    <a:pos x="6" y="4"/>
                  </a:cxn>
                  <a:cxn ang="0">
                    <a:pos x="8" y="5"/>
                  </a:cxn>
                </a:cxnLst>
                <a:rect l="0" t="0" r="r" b="b"/>
                <a:pathLst>
                  <a:path w="8" h="10">
                    <a:moveTo>
                      <a:pt x="8" y="5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2"/>
                      <a:pt x="0" y="4"/>
                      <a:pt x="0" y="7"/>
                    </a:cubicBezTo>
                    <a:cubicBezTo>
                      <a:pt x="0" y="9"/>
                      <a:pt x="1" y="10"/>
                      <a:pt x="3" y="10"/>
                    </a:cubicBezTo>
                    <a:cubicBezTo>
                      <a:pt x="7" y="10"/>
                      <a:pt x="7" y="6"/>
                      <a:pt x="8" y="4"/>
                    </a:cubicBezTo>
                    <a:cubicBezTo>
                      <a:pt x="6" y="4"/>
                      <a:pt x="6" y="4"/>
                      <a:pt x="6" y="4"/>
                    </a:cubicBezTo>
                    <a:lnTo>
                      <a:pt x="8" y="5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61" name="Полилиния 151">
                <a:extLst>
                  <a:ext uri="{FF2B5EF4-FFF2-40B4-BE49-F238E27FC236}">
                    <a16:creationId xmlns:a16="http://schemas.microsoft.com/office/drawing/2014/main" xmlns="" id="{AA58C9F1-E4D0-75A0-7F5F-CAB7B688B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988" y="1300163"/>
                <a:ext cx="26988" cy="15875"/>
              </a:xfrm>
              <a:custGeom>
                <a:avLst/>
                <a:gdLst/>
                <a:ahLst/>
                <a:cxnLst>
                  <a:cxn ang="0">
                    <a:pos x="20" y="9"/>
                  </a:cxn>
                  <a:cxn ang="0">
                    <a:pos x="10" y="12"/>
                  </a:cxn>
                  <a:cxn ang="0">
                    <a:pos x="0" y="7"/>
                  </a:cxn>
                  <a:cxn ang="0">
                    <a:pos x="10" y="0"/>
                  </a:cxn>
                  <a:cxn ang="0">
                    <a:pos x="20" y="7"/>
                  </a:cxn>
                  <a:cxn ang="0">
                    <a:pos x="17" y="12"/>
                  </a:cxn>
                  <a:cxn ang="0">
                    <a:pos x="20" y="9"/>
                  </a:cxn>
                </a:cxnLst>
                <a:rect l="0" t="0" r="r" b="b"/>
                <a:pathLst>
                  <a:path w="20" h="12">
                    <a:moveTo>
                      <a:pt x="20" y="9"/>
                    </a:moveTo>
                    <a:cubicBezTo>
                      <a:pt x="17" y="11"/>
                      <a:pt x="14" y="12"/>
                      <a:pt x="10" y="12"/>
                    </a:cubicBezTo>
                    <a:cubicBezTo>
                      <a:pt x="5" y="12"/>
                      <a:pt x="0" y="11"/>
                      <a:pt x="0" y="7"/>
                    </a:cubicBezTo>
                    <a:cubicBezTo>
                      <a:pt x="0" y="3"/>
                      <a:pt x="6" y="0"/>
                      <a:pt x="10" y="0"/>
                    </a:cubicBezTo>
                    <a:cubicBezTo>
                      <a:pt x="16" y="0"/>
                      <a:pt x="20" y="2"/>
                      <a:pt x="20" y="7"/>
                    </a:cubicBezTo>
                    <a:cubicBezTo>
                      <a:pt x="20" y="10"/>
                      <a:pt x="18" y="11"/>
                      <a:pt x="17" y="12"/>
                    </a:cubicBezTo>
                    <a:lnTo>
                      <a:pt x="20" y="9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62" name="Полилиния 152">
                <a:extLst>
                  <a:ext uri="{FF2B5EF4-FFF2-40B4-BE49-F238E27FC236}">
                    <a16:creationId xmlns:a16="http://schemas.microsoft.com/office/drawing/2014/main" xmlns="" id="{DA3F202F-C082-4463-42F6-0ED542783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3613" y="1128713"/>
                <a:ext cx="100013" cy="57150"/>
              </a:xfrm>
              <a:custGeom>
                <a:avLst/>
                <a:gdLst/>
                <a:ahLst/>
                <a:cxnLst>
                  <a:cxn ang="0">
                    <a:pos x="6" y="43"/>
                  </a:cxn>
                  <a:cxn ang="0">
                    <a:pos x="0" y="37"/>
                  </a:cxn>
                  <a:cxn ang="0">
                    <a:pos x="8" y="27"/>
                  </a:cxn>
                  <a:cxn ang="0">
                    <a:pos x="39" y="0"/>
                  </a:cxn>
                  <a:cxn ang="0">
                    <a:pos x="45" y="0"/>
                  </a:cxn>
                  <a:cxn ang="0">
                    <a:pos x="44" y="10"/>
                  </a:cxn>
                  <a:cxn ang="0">
                    <a:pos x="52" y="6"/>
                  </a:cxn>
                  <a:cxn ang="0">
                    <a:pos x="76" y="23"/>
                  </a:cxn>
                  <a:cxn ang="0">
                    <a:pos x="45" y="34"/>
                  </a:cxn>
                  <a:cxn ang="0">
                    <a:pos x="30" y="37"/>
                  </a:cxn>
                  <a:cxn ang="0">
                    <a:pos x="6" y="43"/>
                  </a:cxn>
                </a:cxnLst>
                <a:rect l="0" t="0" r="r" b="b"/>
                <a:pathLst>
                  <a:path w="76" h="43">
                    <a:moveTo>
                      <a:pt x="6" y="43"/>
                    </a:moveTo>
                    <a:cubicBezTo>
                      <a:pt x="1" y="43"/>
                      <a:pt x="0" y="41"/>
                      <a:pt x="0" y="37"/>
                    </a:cubicBezTo>
                    <a:cubicBezTo>
                      <a:pt x="0" y="30"/>
                      <a:pt x="5" y="30"/>
                      <a:pt x="8" y="27"/>
                    </a:cubicBezTo>
                    <a:cubicBezTo>
                      <a:pt x="18" y="17"/>
                      <a:pt x="22" y="0"/>
                      <a:pt x="39" y="0"/>
                    </a:cubicBezTo>
                    <a:cubicBezTo>
                      <a:pt x="43" y="0"/>
                      <a:pt x="43" y="0"/>
                      <a:pt x="45" y="0"/>
                    </a:cubicBezTo>
                    <a:cubicBezTo>
                      <a:pt x="45" y="7"/>
                      <a:pt x="47" y="7"/>
                      <a:pt x="44" y="10"/>
                    </a:cubicBezTo>
                    <a:cubicBezTo>
                      <a:pt x="47" y="9"/>
                      <a:pt x="49" y="6"/>
                      <a:pt x="52" y="6"/>
                    </a:cubicBezTo>
                    <a:cubicBezTo>
                      <a:pt x="58" y="6"/>
                      <a:pt x="76" y="17"/>
                      <a:pt x="76" y="23"/>
                    </a:cubicBezTo>
                    <a:cubicBezTo>
                      <a:pt x="76" y="34"/>
                      <a:pt x="53" y="36"/>
                      <a:pt x="45" y="34"/>
                    </a:cubicBezTo>
                    <a:cubicBezTo>
                      <a:pt x="43" y="34"/>
                      <a:pt x="30" y="37"/>
                      <a:pt x="30" y="37"/>
                    </a:cubicBezTo>
                    <a:lnTo>
                      <a:pt x="6" y="43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63" name="Полилиния 153">
                <a:extLst>
                  <a:ext uri="{FF2B5EF4-FFF2-40B4-BE49-F238E27FC236}">
                    <a16:creationId xmlns:a16="http://schemas.microsoft.com/office/drawing/2014/main" xmlns="" id="{70B7838A-6BDC-41A4-0BF4-5E2BCE94D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0738" y="1101725"/>
                <a:ext cx="39688" cy="20638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30" y="7"/>
                  </a:cxn>
                  <a:cxn ang="0">
                    <a:pos x="9" y="16"/>
                  </a:cxn>
                  <a:cxn ang="0">
                    <a:pos x="0" y="5"/>
                  </a:cxn>
                  <a:cxn ang="0">
                    <a:pos x="12" y="0"/>
                  </a:cxn>
                </a:cxnLst>
                <a:rect l="0" t="0" r="r" b="b"/>
                <a:pathLst>
                  <a:path w="30" h="16">
                    <a:moveTo>
                      <a:pt x="12" y="0"/>
                    </a:moveTo>
                    <a:cubicBezTo>
                      <a:pt x="14" y="0"/>
                      <a:pt x="26" y="6"/>
                      <a:pt x="30" y="7"/>
                    </a:cubicBezTo>
                    <a:cubicBezTo>
                      <a:pt x="29" y="15"/>
                      <a:pt x="14" y="16"/>
                      <a:pt x="9" y="16"/>
                    </a:cubicBezTo>
                    <a:cubicBezTo>
                      <a:pt x="6" y="16"/>
                      <a:pt x="0" y="9"/>
                      <a:pt x="0" y="5"/>
                    </a:cubicBezTo>
                    <a:cubicBezTo>
                      <a:pt x="0" y="0"/>
                      <a:pt x="9" y="0"/>
                      <a:pt x="12" y="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64" name="Полилиния 154">
                <a:extLst>
                  <a:ext uri="{FF2B5EF4-FFF2-40B4-BE49-F238E27FC236}">
                    <a16:creationId xmlns:a16="http://schemas.microsoft.com/office/drawing/2014/main" xmlns="" id="{1A1F35B9-67E2-9D98-88DD-65D07D3803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3438" y="1057275"/>
                <a:ext cx="139700" cy="98425"/>
              </a:xfrm>
              <a:custGeom>
                <a:avLst/>
                <a:gdLst/>
                <a:ahLst/>
                <a:cxnLst>
                  <a:cxn ang="0">
                    <a:pos x="99" y="68"/>
                  </a:cxn>
                  <a:cxn ang="0">
                    <a:pos x="90" y="74"/>
                  </a:cxn>
                  <a:cxn ang="0">
                    <a:pos x="41" y="66"/>
                  </a:cxn>
                  <a:cxn ang="0">
                    <a:pos x="17" y="50"/>
                  </a:cxn>
                  <a:cxn ang="0">
                    <a:pos x="50" y="36"/>
                  </a:cxn>
                  <a:cxn ang="0">
                    <a:pos x="32" y="36"/>
                  </a:cxn>
                  <a:cxn ang="0">
                    <a:pos x="0" y="26"/>
                  </a:cxn>
                  <a:cxn ang="0">
                    <a:pos x="46" y="0"/>
                  </a:cxn>
                  <a:cxn ang="0">
                    <a:pos x="72" y="17"/>
                  </a:cxn>
                  <a:cxn ang="0">
                    <a:pos x="67" y="18"/>
                  </a:cxn>
                  <a:cxn ang="0">
                    <a:pos x="67" y="27"/>
                  </a:cxn>
                  <a:cxn ang="0">
                    <a:pos x="59" y="35"/>
                  </a:cxn>
                  <a:cxn ang="0">
                    <a:pos x="68" y="35"/>
                  </a:cxn>
                  <a:cxn ang="0">
                    <a:pos x="81" y="39"/>
                  </a:cxn>
                  <a:cxn ang="0">
                    <a:pos x="90" y="39"/>
                  </a:cxn>
                  <a:cxn ang="0">
                    <a:pos x="105" y="48"/>
                  </a:cxn>
                  <a:cxn ang="0">
                    <a:pos x="101" y="57"/>
                  </a:cxn>
                  <a:cxn ang="0">
                    <a:pos x="92" y="62"/>
                  </a:cxn>
                  <a:cxn ang="0">
                    <a:pos x="99" y="68"/>
                  </a:cxn>
                </a:cxnLst>
                <a:rect l="0" t="0" r="r" b="b"/>
                <a:pathLst>
                  <a:path w="105" h="74">
                    <a:moveTo>
                      <a:pt x="99" y="68"/>
                    </a:moveTo>
                    <a:cubicBezTo>
                      <a:pt x="99" y="72"/>
                      <a:pt x="94" y="74"/>
                      <a:pt x="90" y="74"/>
                    </a:cubicBezTo>
                    <a:cubicBezTo>
                      <a:pt x="71" y="74"/>
                      <a:pt x="57" y="66"/>
                      <a:pt x="41" y="66"/>
                    </a:cubicBezTo>
                    <a:cubicBezTo>
                      <a:pt x="35" y="66"/>
                      <a:pt x="24" y="54"/>
                      <a:pt x="17" y="50"/>
                    </a:cubicBezTo>
                    <a:cubicBezTo>
                      <a:pt x="32" y="46"/>
                      <a:pt x="36" y="41"/>
                      <a:pt x="50" y="36"/>
                    </a:cubicBezTo>
                    <a:cubicBezTo>
                      <a:pt x="46" y="36"/>
                      <a:pt x="35" y="36"/>
                      <a:pt x="32" y="36"/>
                    </a:cubicBezTo>
                    <a:cubicBezTo>
                      <a:pt x="20" y="36"/>
                      <a:pt x="11" y="32"/>
                      <a:pt x="0" y="26"/>
                    </a:cubicBezTo>
                    <a:cubicBezTo>
                      <a:pt x="18" y="21"/>
                      <a:pt x="25" y="0"/>
                      <a:pt x="46" y="0"/>
                    </a:cubicBezTo>
                    <a:cubicBezTo>
                      <a:pt x="58" y="0"/>
                      <a:pt x="65" y="12"/>
                      <a:pt x="72" y="17"/>
                    </a:cubicBezTo>
                    <a:cubicBezTo>
                      <a:pt x="68" y="19"/>
                      <a:pt x="69" y="18"/>
                      <a:pt x="67" y="18"/>
                    </a:cubicBezTo>
                    <a:cubicBezTo>
                      <a:pt x="68" y="23"/>
                      <a:pt x="67" y="24"/>
                      <a:pt x="67" y="27"/>
                    </a:cubicBezTo>
                    <a:cubicBezTo>
                      <a:pt x="67" y="29"/>
                      <a:pt x="62" y="33"/>
                      <a:pt x="59" y="35"/>
                    </a:cubicBezTo>
                    <a:cubicBezTo>
                      <a:pt x="63" y="33"/>
                      <a:pt x="65" y="35"/>
                      <a:pt x="68" y="35"/>
                    </a:cubicBezTo>
                    <a:cubicBezTo>
                      <a:pt x="73" y="35"/>
                      <a:pt x="76" y="39"/>
                      <a:pt x="81" y="39"/>
                    </a:cubicBezTo>
                    <a:cubicBezTo>
                      <a:pt x="84" y="39"/>
                      <a:pt x="87" y="39"/>
                      <a:pt x="90" y="39"/>
                    </a:cubicBezTo>
                    <a:cubicBezTo>
                      <a:pt x="99" y="39"/>
                      <a:pt x="99" y="42"/>
                      <a:pt x="105" y="48"/>
                    </a:cubicBezTo>
                    <a:cubicBezTo>
                      <a:pt x="100" y="51"/>
                      <a:pt x="101" y="52"/>
                      <a:pt x="101" y="57"/>
                    </a:cubicBezTo>
                    <a:cubicBezTo>
                      <a:pt x="101" y="61"/>
                      <a:pt x="95" y="62"/>
                      <a:pt x="92" y="62"/>
                    </a:cubicBezTo>
                    <a:cubicBezTo>
                      <a:pt x="95" y="63"/>
                      <a:pt x="99" y="65"/>
                      <a:pt x="99" y="68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65" name="Полилиния 155">
                <a:extLst>
                  <a:ext uri="{FF2B5EF4-FFF2-40B4-BE49-F238E27FC236}">
                    <a16:creationId xmlns:a16="http://schemas.microsoft.com/office/drawing/2014/main" xmlns="" id="{7293EA80-A5E1-929A-4892-E254F1D480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73763" y="1212850"/>
                <a:ext cx="17463" cy="12700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7" y="0"/>
                  </a:cxn>
                  <a:cxn ang="0">
                    <a:pos x="13" y="0"/>
                  </a:cxn>
                  <a:cxn ang="0">
                    <a:pos x="5" y="9"/>
                  </a:cxn>
                  <a:cxn ang="0">
                    <a:pos x="0" y="5"/>
                  </a:cxn>
                </a:cxnLst>
                <a:rect l="0" t="0" r="r" b="b"/>
                <a:pathLst>
                  <a:path w="13" h="9">
                    <a:moveTo>
                      <a:pt x="0" y="5"/>
                    </a:moveTo>
                    <a:cubicBezTo>
                      <a:pt x="3" y="3"/>
                      <a:pt x="5" y="1"/>
                      <a:pt x="7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6"/>
                      <a:pt x="10" y="9"/>
                      <a:pt x="5" y="9"/>
                    </a:cubicBezTo>
                    <a:cubicBezTo>
                      <a:pt x="2" y="9"/>
                      <a:pt x="1" y="7"/>
                      <a:pt x="0" y="5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66" name="Полилиния 156">
                <a:extLst>
                  <a:ext uri="{FF2B5EF4-FFF2-40B4-BE49-F238E27FC236}">
                    <a16:creationId xmlns:a16="http://schemas.microsoft.com/office/drawing/2014/main" xmlns="" id="{529AC820-7CEB-3FD3-64FD-0F2A43C013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6450" y="1060450"/>
                <a:ext cx="23813" cy="7938"/>
              </a:xfrm>
              <a:custGeom>
                <a:avLst/>
                <a:gdLst/>
                <a:ahLst/>
                <a:cxnLst>
                  <a:cxn ang="0">
                    <a:pos x="18" y="4"/>
                  </a:cxn>
                  <a:cxn ang="0">
                    <a:pos x="0" y="0"/>
                  </a:cxn>
                  <a:cxn ang="0">
                    <a:pos x="16" y="0"/>
                  </a:cxn>
                  <a:cxn ang="0">
                    <a:pos x="18" y="4"/>
                  </a:cxn>
                </a:cxnLst>
                <a:rect l="0" t="0" r="r" b="b"/>
                <a:pathLst>
                  <a:path w="18" h="6">
                    <a:moveTo>
                      <a:pt x="18" y="4"/>
                    </a:moveTo>
                    <a:cubicBezTo>
                      <a:pt x="11" y="5"/>
                      <a:pt x="3" y="6"/>
                      <a:pt x="0" y="0"/>
                    </a:cubicBezTo>
                    <a:cubicBezTo>
                      <a:pt x="16" y="0"/>
                      <a:pt x="16" y="0"/>
                      <a:pt x="16" y="0"/>
                    </a:cubicBezTo>
                    <a:lnTo>
                      <a:pt x="18" y="4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67" name="Полилиния 157">
                <a:extLst>
                  <a:ext uri="{FF2B5EF4-FFF2-40B4-BE49-F238E27FC236}">
                    <a16:creationId xmlns:a16="http://schemas.microsoft.com/office/drawing/2014/main" xmlns="" id="{B2153E9D-5539-EEFA-6D87-BDE61D31A5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2675" y="1173163"/>
                <a:ext cx="20638" cy="9525"/>
              </a:xfrm>
              <a:custGeom>
                <a:avLst/>
                <a:gdLst/>
                <a:ahLst/>
                <a:cxnLst>
                  <a:cxn ang="0">
                    <a:pos x="15" y="1"/>
                  </a:cxn>
                  <a:cxn ang="0">
                    <a:pos x="9" y="7"/>
                  </a:cxn>
                  <a:cxn ang="0">
                    <a:pos x="0" y="2"/>
                  </a:cxn>
                  <a:cxn ang="0">
                    <a:pos x="15" y="1"/>
                  </a:cxn>
                </a:cxnLst>
                <a:rect l="0" t="0" r="r" b="b"/>
                <a:pathLst>
                  <a:path w="15" h="7">
                    <a:moveTo>
                      <a:pt x="15" y="1"/>
                    </a:moveTo>
                    <a:cubicBezTo>
                      <a:pt x="14" y="4"/>
                      <a:pt x="12" y="7"/>
                      <a:pt x="9" y="7"/>
                    </a:cubicBezTo>
                    <a:cubicBezTo>
                      <a:pt x="4" y="7"/>
                      <a:pt x="1" y="4"/>
                      <a:pt x="0" y="2"/>
                    </a:cubicBezTo>
                    <a:cubicBezTo>
                      <a:pt x="9" y="0"/>
                      <a:pt x="11" y="2"/>
                      <a:pt x="15" y="1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68" name="Полилиния 158">
                <a:extLst>
                  <a:ext uri="{FF2B5EF4-FFF2-40B4-BE49-F238E27FC236}">
                    <a16:creationId xmlns:a16="http://schemas.microsoft.com/office/drawing/2014/main" xmlns="" id="{9DA8DF8F-6608-D6ED-2427-EFE7EC51F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688" y="1074738"/>
                <a:ext cx="117475" cy="36513"/>
              </a:xfrm>
              <a:custGeom>
                <a:avLst/>
                <a:gdLst/>
                <a:ahLst/>
                <a:cxnLst>
                  <a:cxn ang="0">
                    <a:pos x="76" y="14"/>
                  </a:cxn>
                  <a:cxn ang="0">
                    <a:pos x="58" y="17"/>
                  </a:cxn>
                  <a:cxn ang="0">
                    <a:pos x="49" y="27"/>
                  </a:cxn>
                  <a:cxn ang="0">
                    <a:pos x="44" y="23"/>
                  </a:cxn>
                  <a:cxn ang="0">
                    <a:pos x="44" y="23"/>
                  </a:cxn>
                  <a:cxn ang="0">
                    <a:pos x="32" y="17"/>
                  </a:cxn>
                  <a:cxn ang="0">
                    <a:pos x="41" y="14"/>
                  </a:cxn>
                  <a:cxn ang="0">
                    <a:pos x="33" y="13"/>
                  </a:cxn>
                  <a:cxn ang="0">
                    <a:pos x="40" y="9"/>
                  </a:cxn>
                  <a:cxn ang="0">
                    <a:pos x="30" y="5"/>
                  </a:cxn>
                  <a:cxn ang="0">
                    <a:pos x="10" y="11"/>
                  </a:cxn>
                  <a:cxn ang="0">
                    <a:pos x="0" y="9"/>
                  </a:cxn>
                  <a:cxn ang="0">
                    <a:pos x="34" y="0"/>
                  </a:cxn>
                  <a:cxn ang="0">
                    <a:pos x="60" y="6"/>
                  </a:cxn>
                  <a:cxn ang="0">
                    <a:pos x="76" y="0"/>
                  </a:cxn>
                  <a:cxn ang="0">
                    <a:pos x="89" y="5"/>
                  </a:cxn>
                  <a:cxn ang="0">
                    <a:pos x="78" y="13"/>
                  </a:cxn>
                  <a:cxn ang="0">
                    <a:pos x="73" y="13"/>
                  </a:cxn>
                  <a:cxn ang="0">
                    <a:pos x="73" y="17"/>
                  </a:cxn>
                  <a:cxn ang="0">
                    <a:pos x="76" y="14"/>
                  </a:cxn>
                </a:cxnLst>
                <a:rect l="0" t="0" r="r" b="b"/>
                <a:pathLst>
                  <a:path w="89" h="27">
                    <a:moveTo>
                      <a:pt x="76" y="14"/>
                    </a:moveTo>
                    <a:cubicBezTo>
                      <a:pt x="69" y="19"/>
                      <a:pt x="65" y="13"/>
                      <a:pt x="58" y="17"/>
                    </a:cubicBezTo>
                    <a:cubicBezTo>
                      <a:pt x="54" y="19"/>
                      <a:pt x="53" y="27"/>
                      <a:pt x="49" y="27"/>
                    </a:cubicBezTo>
                    <a:cubicBezTo>
                      <a:pt x="47" y="26"/>
                      <a:pt x="45" y="24"/>
                      <a:pt x="44" y="23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38" y="23"/>
                      <a:pt x="33" y="21"/>
                      <a:pt x="32" y="17"/>
                    </a:cubicBezTo>
                    <a:cubicBezTo>
                      <a:pt x="36" y="15"/>
                      <a:pt x="38" y="15"/>
                      <a:pt x="41" y="14"/>
                    </a:cubicBezTo>
                    <a:cubicBezTo>
                      <a:pt x="37" y="14"/>
                      <a:pt x="35" y="13"/>
                      <a:pt x="33" y="13"/>
                    </a:cubicBezTo>
                    <a:cubicBezTo>
                      <a:pt x="36" y="11"/>
                      <a:pt x="38" y="11"/>
                      <a:pt x="40" y="9"/>
                    </a:cubicBezTo>
                    <a:cubicBezTo>
                      <a:pt x="36" y="8"/>
                      <a:pt x="34" y="5"/>
                      <a:pt x="30" y="5"/>
                    </a:cubicBezTo>
                    <a:cubicBezTo>
                      <a:pt x="25" y="5"/>
                      <a:pt x="17" y="11"/>
                      <a:pt x="10" y="11"/>
                    </a:cubicBezTo>
                    <a:cubicBezTo>
                      <a:pt x="7" y="11"/>
                      <a:pt x="4" y="9"/>
                      <a:pt x="0" y="9"/>
                    </a:cubicBezTo>
                    <a:cubicBezTo>
                      <a:pt x="4" y="2"/>
                      <a:pt x="25" y="0"/>
                      <a:pt x="34" y="0"/>
                    </a:cubicBezTo>
                    <a:cubicBezTo>
                      <a:pt x="45" y="0"/>
                      <a:pt x="52" y="6"/>
                      <a:pt x="60" y="6"/>
                    </a:cubicBezTo>
                    <a:cubicBezTo>
                      <a:pt x="67" y="6"/>
                      <a:pt x="70" y="0"/>
                      <a:pt x="76" y="0"/>
                    </a:cubicBezTo>
                    <a:cubicBezTo>
                      <a:pt x="82" y="0"/>
                      <a:pt x="87" y="4"/>
                      <a:pt x="89" y="5"/>
                    </a:cubicBezTo>
                    <a:cubicBezTo>
                      <a:pt x="89" y="13"/>
                      <a:pt x="83" y="9"/>
                      <a:pt x="78" y="13"/>
                    </a:cubicBezTo>
                    <a:cubicBezTo>
                      <a:pt x="76" y="13"/>
                      <a:pt x="75" y="13"/>
                      <a:pt x="73" y="13"/>
                    </a:cubicBezTo>
                    <a:cubicBezTo>
                      <a:pt x="73" y="17"/>
                      <a:pt x="73" y="17"/>
                      <a:pt x="73" y="17"/>
                    </a:cubicBezTo>
                    <a:lnTo>
                      <a:pt x="76" y="14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69" name="Полилиния 159">
                <a:extLst>
                  <a:ext uri="{FF2B5EF4-FFF2-40B4-BE49-F238E27FC236}">
                    <a16:creationId xmlns:a16="http://schemas.microsoft.com/office/drawing/2014/main" xmlns="" id="{29F7A807-E538-87BE-4842-EC3AD279C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7663" y="1052513"/>
                <a:ext cx="41275" cy="26988"/>
              </a:xfrm>
              <a:custGeom>
                <a:avLst/>
                <a:gdLst/>
                <a:ahLst/>
                <a:cxnLst>
                  <a:cxn ang="0">
                    <a:pos x="7" y="20"/>
                  </a:cxn>
                  <a:cxn ang="0">
                    <a:pos x="0" y="13"/>
                  </a:cxn>
                  <a:cxn ang="0">
                    <a:pos x="25" y="0"/>
                  </a:cxn>
                  <a:cxn ang="0">
                    <a:pos x="31" y="14"/>
                  </a:cxn>
                  <a:cxn ang="0">
                    <a:pos x="7" y="20"/>
                  </a:cxn>
                </a:cxnLst>
                <a:rect l="0" t="0" r="r" b="b"/>
                <a:pathLst>
                  <a:path w="31" h="20">
                    <a:moveTo>
                      <a:pt x="7" y="20"/>
                    </a:moveTo>
                    <a:cubicBezTo>
                      <a:pt x="2" y="20"/>
                      <a:pt x="0" y="17"/>
                      <a:pt x="0" y="13"/>
                    </a:cubicBezTo>
                    <a:cubicBezTo>
                      <a:pt x="0" y="7"/>
                      <a:pt x="18" y="0"/>
                      <a:pt x="25" y="0"/>
                    </a:cubicBezTo>
                    <a:cubicBezTo>
                      <a:pt x="31" y="14"/>
                      <a:pt x="31" y="14"/>
                      <a:pt x="31" y="14"/>
                    </a:cubicBezTo>
                    <a:cubicBezTo>
                      <a:pt x="28" y="16"/>
                      <a:pt x="11" y="20"/>
                      <a:pt x="7" y="20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70" name="Полилиния 160">
                <a:extLst>
                  <a:ext uri="{FF2B5EF4-FFF2-40B4-BE49-F238E27FC236}">
                    <a16:creationId xmlns:a16="http://schemas.microsoft.com/office/drawing/2014/main" xmlns="" id="{AEEA4A04-F83D-A570-E1BE-CF65B14AD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3688" y="1069975"/>
                <a:ext cx="44450" cy="25400"/>
              </a:xfrm>
              <a:custGeom>
                <a:avLst/>
                <a:gdLst/>
                <a:ahLst/>
                <a:cxnLst>
                  <a:cxn ang="0">
                    <a:pos x="33" y="4"/>
                  </a:cxn>
                  <a:cxn ang="0">
                    <a:pos x="33" y="10"/>
                  </a:cxn>
                  <a:cxn ang="0">
                    <a:pos x="22" y="12"/>
                  </a:cxn>
                  <a:cxn ang="0">
                    <a:pos x="24" y="18"/>
                  </a:cxn>
                  <a:cxn ang="0">
                    <a:pos x="0" y="18"/>
                  </a:cxn>
                  <a:cxn ang="0">
                    <a:pos x="9" y="6"/>
                  </a:cxn>
                  <a:cxn ang="0">
                    <a:pos x="9" y="0"/>
                  </a:cxn>
                  <a:cxn ang="0">
                    <a:pos x="23" y="0"/>
                  </a:cxn>
                  <a:cxn ang="0">
                    <a:pos x="19" y="4"/>
                  </a:cxn>
                  <a:cxn ang="0">
                    <a:pos x="33" y="4"/>
                  </a:cxn>
                </a:cxnLst>
                <a:rect l="0" t="0" r="r" b="b"/>
                <a:pathLst>
                  <a:path w="33" h="20">
                    <a:moveTo>
                      <a:pt x="33" y="4"/>
                    </a:moveTo>
                    <a:cubicBezTo>
                      <a:pt x="33" y="8"/>
                      <a:pt x="33" y="8"/>
                      <a:pt x="33" y="10"/>
                    </a:cubicBezTo>
                    <a:cubicBezTo>
                      <a:pt x="30" y="14"/>
                      <a:pt x="26" y="12"/>
                      <a:pt x="22" y="12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2" y="19"/>
                      <a:pt x="0" y="20"/>
                      <a:pt x="0" y="18"/>
                    </a:cubicBezTo>
                    <a:cubicBezTo>
                      <a:pt x="0" y="11"/>
                      <a:pt x="3" y="8"/>
                      <a:pt x="9" y="6"/>
                    </a:cubicBezTo>
                    <a:cubicBezTo>
                      <a:pt x="8" y="2"/>
                      <a:pt x="9" y="1"/>
                      <a:pt x="9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2" y="2"/>
                      <a:pt x="20" y="4"/>
                      <a:pt x="19" y="4"/>
                    </a:cubicBezTo>
                    <a:cubicBezTo>
                      <a:pt x="22" y="4"/>
                      <a:pt x="29" y="4"/>
                      <a:pt x="33" y="4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71" name="Полилиния 161">
                <a:extLst>
                  <a:ext uri="{FF2B5EF4-FFF2-40B4-BE49-F238E27FC236}">
                    <a16:creationId xmlns:a16="http://schemas.microsoft.com/office/drawing/2014/main" xmlns="" id="{C86DCD34-BDAF-3E5D-779D-FF1A3BE855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4950" y="1092200"/>
                <a:ext cx="44450" cy="15875"/>
              </a:xfrm>
              <a:custGeom>
                <a:avLst/>
                <a:gdLst/>
                <a:ahLst/>
                <a:cxnLst>
                  <a:cxn ang="0">
                    <a:pos x="20" y="12"/>
                  </a:cxn>
                  <a:cxn ang="0">
                    <a:pos x="11" y="7"/>
                  </a:cxn>
                  <a:cxn ang="0">
                    <a:pos x="4" y="12"/>
                  </a:cxn>
                  <a:cxn ang="0">
                    <a:pos x="0" y="9"/>
                  </a:cxn>
                  <a:cxn ang="0">
                    <a:pos x="22" y="0"/>
                  </a:cxn>
                  <a:cxn ang="0">
                    <a:pos x="34" y="5"/>
                  </a:cxn>
                  <a:cxn ang="0">
                    <a:pos x="20" y="12"/>
                  </a:cxn>
                </a:cxnLst>
                <a:rect l="0" t="0" r="r" b="b"/>
                <a:pathLst>
                  <a:path w="34" h="12">
                    <a:moveTo>
                      <a:pt x="20" y="12"/>
                    </a:moveTo>
                    <a:cubicBezTo>
                      <a:pt x="17" y="12"/>
                      <a:pt x="14" y="7"/>
                      <a:pt x="11" y="7"/>
                    </a:cubicBezTo>
                    <a:cubicBezTo>
                      <a:pt x="10" y="12"/>
                      <a:pt x="8" y="12"/>
                      <a:pt x="4" y="12"/>
                    </a:cubicBezTo>
                    <a:cubicBezTo>
                      <a:pt x="2" y="12"/>
                      <a:pt x="0" y="10"/>
                      <a:pt x="0" y="9"/>
                    </a:cubicBezTo>
                    <a:cubicBezTo>
                      <a:pt x="0" y="2"/>
                      <a:pt x="17" y="0"/>
                      <a:pt x="22" y="0"/>
                    </a:cubicBezTo>
                    <a:cubicBezTo>
                      <a:pt x="28" y="0"/>
                      <a:pt x="32" y="2"/>
                      <a:pt x="34" y="5"/>
                    </a:cubicBezTo>
                    <a:cubicBezTo>
                      <a:pt x="25" y="5"/>
                      <a:pt x="26" y="12"/>
                      <a:pt x="20" y="12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72" name="Полилиния 162">
                <a:extLst>
                  <a:ext uri="{FF2B5EF4-FFF2-40B4-BE49-F238E27FC236}">
                    <a16:creationId xmlns:a16="http://schemas.microsoft.com/office/drawing/2014/main" xmlns="" id="{70B950AD-CB7C-A8BE-6C08-E3142E3462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87963" y="1038225"/>
                <a:ext cx="71438" cy="49213"/>
              </a:xfrm>
              <a:custGeom>
                <a:avLst/>
                <a:gdLst/>
                <a:ahLst/>
                <a:cxnLst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28"/>
                  </a:cxn>
                  <a:cxn ang="0">
                    <a:pos x="6" y="23"/>
                  </a:cxn>
                  <a:cxn ang="0">
                    <a:pos x="24" y="23"/>
                  </a:cxn>
                  <a:cxn ang="0">
                    <a:pos x="17" y="22"/>
                  </a:cxn>
                  <a:cxn ang="0">
                    <a:pos x="17" y="16"/>
                  </a:cxn>
                  <a:cxn ang="0">
                    <a:pos x="43" y="8"/>
                  </a:cxn>
                  <a:cxn ang="0">
                    <a:pos x="51" y="0"/>
                  </a:cxn>
                  <a:cxn ang="0">
                    <a:pos x="52" y="5"/>
                  </a:cxn>
                  <a:cxn ang="0">
                    <a:pos x="48" y="11"/>
                  </a:cxn>
                  <a:cxn ang="0">
                    <a:pos x="28" y="23"/>
                  </a:cxn>
                  <a:cxn ang="0">
                    <a:pos x="53" y="29"/>
                  </a:cxn>
                  <a:cxn ang="0">
                    <a:pos x="40" y="31"/>
                  </a:cxn>
                </a:cxnLst>
                <a:rect l="0" t="0" r="r" b="b"/>
                <a:pathLst>
                  <a:path w="53" h="36">
                    <a:moveTo>
                      <a:pt x="40" y="31"/>
                    </a:moveTo>
                    <a:cubicBezTo>
                      <a:pt x="34" y="31"/>
                      <a:pt x="27" y="36"/>
                      <a:pt x="22" y="36"/>
                    </a:cubicBezTo>
                    <a:cubicBezTo>
                      <a:pt x="19" y="36"/>
                      <a:pt x="1" y="28"/>
                      <a:pt x="0" y="28"/>
                    </a:cubicBezTo>
                    <a:cubicBezTo>
                      <a:pt x="3" y="26"/>
                      <a:pt x="4" y="25"/>
                      <a:pt x="6" y="23"/>
                    </a:cubicBezTo>
                    <a:cubicBezTo>
                      <a:pt x="24" y="23"/>
                      <a:pt x="24" y="23"/>
                      <a:pt x="24" y="23"/>
                    </a:cubicBezTo>
                    <a:cubicBezTo>
                      <a:pt x="19" y="21"/>
                      <a:pt x="21" y="20"/>
                      <a:pt x="17" y="22"/>
                    </a:cubicBezTo>
                    <a:cubicBezTo>
                      <a:pt x="17" y="16"/>
                      <a:pt x="17" y="16"/>
                      <a:pt x="17" y="16"/>
                    </a:cubicBezTo>
                    <a:cubicBezTo>
                      <a:pt x="30" y="16"/>
                      <a:pt x="30" y="8"/>
                      <a:pt x="43" y="8"/>
                    </a:cubicBezTo>
                    <a:cubicBezTo>
                      <a:pt x="44" y="4"/>
                      <a:pt x="47" y="0"/>
                      <a:pt x="51" y="0"/>
                    </a:cubicBezTo>
                    <a:cubicBezTo>
                      <a:pt x="52" y="0"/>
                      <a:pt x="52" y="4"/>
                      <a:pt x="52" y="5"/>
                    </a:cubicBezTo>
                    <a:cubicBezTo>
                      <a:pt x="50" y="7"/>
                      <a:pt x="48" y="9"/>
                      <a:pt x="48" y="11"/>
                    </a:cubicBezTo>
                    <a:cubicBezTo>
                      <a:pt x="41" y="16"/>
                      <a:pt x="32" y="18"/>
                      <a:pt x="28" y="23"/>
                    </a:cubicBezTo>
                    <a:cubicBezTo>
                      <a:pt x="40" y="24"/>
                      <a:pt x="43" y="25"/>
                      <a:pt x="53" y="29"/>
                    </a:cubicBezTo>
                    <a:cubicBezTo>
                      <a:pt x="49" y="32"/>
                      <a:pt x="45" y="31"/>
                      <a:pt x="40" y="31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73" name="Полилиния 164">
                <a:extLst>
                  <a:ext uri="{FF2B5EF4-FFF2-40B4-BE49-F238E27FC236}">
                    <a16:creationId xmlns:a16="http://schemas.microsoft.com/office/drawing/2014/main" xmlns="" id="{CCB5FF78-F1B0-4900-DF3F-34FBD8865D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75438" y="1244600"/>
                <a:ext cx="128588" cy="49213"/>
              </a:xfrm>
              <a:custGeom>
                <a:avLst/>
                <a:gdLst/>
                <a:ahLst/>
                <a:cxnLst>
                  <a:cxn ang="0">
                    <a:pos x="77" y="29"/>
                  </a:cxn>
                  <a:cxn ang="0">
                    <a:pos x="66" y="34"/>
                  </a:cxn>
                  <a:cxn ang="0">
                    <a:pos x="58" y="29"/>
                  </a:cxn>
                  <a:cxn ang="0">
                    <a:pos x="50" y="32"/>
                  </a:cxn>
                  <a:cxn ang="0">
                    <a:pos x="40" y="36"/>
                  </a:cxn>
                  <a:cxn ang="0">
                    <a:pos x="32" y="31"/>
                  </a:cxn>
                  <a:cxn ang="0">
                    <a:pos x="22" y="38"/>
                  </a:cxn>
                  <a:cxn ang="0">
                    <a:pos x="0" y="18"/>
                  </a:cxn>
                  <a:cxn ang="0">
                    <a:pos x="20" y="0"/>
                  </a:cxn>
                  <a:cxn ang="0">
                    <a:pos x="47" y="15"/>
                  </a:cxn>
                  <a:cxn ang="0">
                    <a:pos x="54" y="3"/>
                  </a:cxn>
                  <a:cxn ang="0">
                    <a:pos x="97" y="15"/>
                  </a:cxn>
                  <a:cxn ang="0">
                    <a:pos x="89" y="29"/>
                  </a:cxn>
                  <a:cxn ang="0">
                    <a:pos x="77" y="29"/>
                  </a:cxn>
                </a:cxnLst>
                <a:rect l="0" t="0" r="r" b="b"/>
                <a:pathLst>
                  <a:path w="97" h="38">
                    <a:moveTo>
                      <a:pt x="77" y="29"/>
                    </a:moveTo>
                    <a:cubicBezTo>
                      <a:pt x="74" y="29"/>
                      <a:pt x="72" y="34"/>
                      <a:pt x="66" y="34"/>
                    </a:cubicBezTo>
                    <a:cubicBezTo>
                      <a:pt x="63" y="34"/>
                      <a:pt x="62" y="29"/>
                      <a:pt x="58" y="29"/>
                    </a:cubicBezTo>
                    <a:cubicBezTo>
                      <a:pt x="55" y="29"/>
                      <a:pt x="53" y="32"/>
                      <a:pt x="50" y="32"/>
                    </a:cubicBezTo>
                    <a:cubicBezTo>
                      <a:pt x="47" y="32"/>
                      <a:pt x="44" y="36"/>
                      <a:pt x="40" y="36"/>
                    </a:cubicBezTo>
                    <a:cubicBezTo>
                      <a:pt x="36" y="36"/>
                      <a:pt x="34" y="34"/>
                      <a:pt x="32" y="31"/>
                    </a:cubicBezTo>
                    <a:cubicBezTo>
                      <a:pt x="29" y="34"/>
                      <a:pt x="27" y="38"/>
                      <a:pt x="22" y="38"/>
                    </a:cubicBezTo>
                    <a:cubicBezTo>
                      <a:pt x="11" y="38"/>
                      <a:pt x="0" y="29"/>
                      <a:pt x="0" y="18"/>
                    </a:cubicBezTo>
                    <a:cubicBezTo>
                      <a:pt x="0" y="8"/>
                      <a:pt x="11" y="0"/>
                      <a:pt x="20" y="0"/>
                    </a:cubicBezTo>
                    <a:cubicBezTo>
                      <a:pt x="34" y="0"/>
                      <a:pt x="35" y="15"/>
                      <a:pt x="47" y="15"/>
                    </a:cubicBezTo>
                    <a:cubicBezTo>
                      <a:pt x="47" y="8"/>
                      <a:pt x="49" y="3"/>
                      <a:pt x="54" y="3"/>
                    </a:cubicBezTo>
                    <a:cubicBezTo>
                      <a:pt x="62" y="3"/>
                      <a:pt x="88" y="12"/>
                      <a:pt x="97" y="15"/>
                    </a:cubicBezTo>
                    <a:cubicBezTo>
                      <a:pt x="95" y="21"/>
                      <a:pt x="89" y="26"/>
                      <a:pt x="89" y="29"/>
                    </a:cubicBezTo>
                    <a:lnTo>
                      <a:pt x="77" y="29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74" name="Полилиния 165">
                <a:extLst>
                  <a:ext uri="{FF2B5EF4-FFF2-40B4-BE49-F238E27FC236}">
                    <a16:creationId xmlns:a16="http://schemas.microsoft.com/office/drawing/2014/main" xmlns="" id="{F66907B9-7E08-F8E9-EFDA-1659B82AB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425" y="2252663"/>
                <a:ext cx="34925" cy="17463"/>
              </a:xfrm>
              <a:custGeom>
                <a:avLst/>
                <a:gdLst/>
                <a:ahLst/>
                <a:cxnLst>
                  <a:cxn ang="0">
                    <a:pos x="5" y="13"/>
                  </a:cxn>
                  <a:cxn ang="0">
                    <a:pos x="2" y="11"/>
                  </a:cxn>
                  <a:cxn ang="0">
                    <a:pos x="0" y="9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9" y="8"/>
                  </a:cxn>
                  <a:cxn ang="0">
                    <a:pos x="5" y="13"/>
                  </a:cxn>
                </a:cxnLst>
                <a:rect l="0" t="0" r="r" b="b"/>
                <a:pathLst>
                  <a:path w="26" h="13">
                    <a:moveTo>
                      <a:pt x="5" y="13"/>
                    </a:moveTo>
                    <a:cubicBezTo>
                      <a:pt x="4" y="13"/>
                      <a:pt x="2" y="12"/>
                      <a:pt x="2" y="11"/>
                    </a:cubicBezTo>
                    <a:cubicBezTo>
                      <a:pt x="1" y="11"/>
                      <a:pt x="0" y="9"/>
                      <a:pt x="0" y="9"/>
                    </a:cubicBezTo>
                    <a:cubicBezTo>
                      <a:pt x="7" y="6"/>
                      <a:pt x="18" y="1"/>
                      <a:pt x="26" y="0"/>
                    </a:cubicBezTo>
                    <a:cubicBezTo>
                      <a:pt x="25" y="4"/>
                      <a:pt x="22" y="2"/>
                      <a:pt x="20" y="4"/>
                    </a:cubicBezTo>
                    <a:cubicBezTo>
                      <a:pt x="18" y="4"/>
                      <a:pt x="19" y="7"/>
                      <a:pt x="19" y="8"/>
                    </a:cubicBezTo>
                    <a:cubicBezTo>
                      <a:pt x="18" y="11"/>
                      <a:pt x="9" y="13"/>
                      <a:pt x="5" y="13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75" name="Полилиния 166">
                <a:extLst>
                  <a:ext uri="{FF2B5EF4-FFF2-40B4-BE49-F238E27FC236}">
                    <a16:creationId xmlns:a16="http://schemas.microsoft.com/office/drawing/2014/main" xmlns="" id="{D30304DB-D4A3-9183-6DDD-8CFE9F37D6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3188" y="1463675"/>
                <a:ext cx="34925" cy="25400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11" y="0"/>
                  </a:cxn>
                  <a:cxn ang="0">
                    <a:pos x="26" y="6"/>
                  </a:cxn>
                  <a:cxn ang="0">
                    <a:pos x="26" y="12"/>
                  </a:cxn>
                  <a:cxn ang="0">
                    <a:pos x="8" y="19"/>
                  </a:cxn>
                  <a:cxn ang="0">
                    <a:pos x="0" y="14"/>
                  </a:cxn>
                  <a:cxn ang="0">
                    <a:pos x="5" y="4"/>
                  </a:cxn>
                </a:cxnLst>
                <a:rect l="0" t="0" r="r" b="b"/>
                <a:pathLst>
                  <a:path w="26" h="19">
                    <a:moveTo>
                      <a:pt x="5" y="4"/>
                    </a:moveTo>
                    <a:cubicBezTo>
                      <a:pt x="8" y="4"/>
                      <a:pt x="8" y="0"/>
                      <a:pt x="11" y="0"/>
                    </a:cubicBezTo>
                    <a:cubicBezTo>
                      <a:pt x="17" y="0"/>
                      <a:pt x="20" y="5"/>
                      <a:pt x="26" y="6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0" y="15"/>
                      <a:pt x="15" y="19"/>
                      <a:pt x="8" y="19"/>
                    </a:cubicBezTo>
                    <a:cubicBezTo>
                      <a:pt x="2" y="19"/>
                      <a:pt x="0" y="19"/>
                      <a:pt x="0" y="14"/>
                    </a:cubicBezTo>
                    <a:cubicBezTo>
                      <a:pt x="0" y="12"/>
                      <a:pt x="4" y="4"/>
                      <a:pt x="5" y="4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76" name="Полилиния 167">
                <a:extLst>
                  <a:ext uri="{FF2B5EF4-FFF2-40B4-BE49-F238E27FC236}">
                    <a16:creationId xmlns:a16="http://schemas.microsoft.com/office/drawing/2014/main" xmlns="" id="{952C6432-07B4-F46A-0554-36ADA5C37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9400" y="1433513"/>
                <a:ext cx="26988" cy="25400"/>
              </a:xfrm>
              <a:custGeom>
                <a:avLst/>
                <a:gdLst/>
                <a:ahLst/>
                <a:cxnLst>
                  <a:cxn ang="0">
                    <a:pos x="21" y="17"/>
                  </a:cxn>
                  <a:cxn ang="0">
                    <a:pos x="15" y="19"/>
                  </a:cxn>
                  <a:cxn ang="0">
                    <a:pos x="0" y="8"/>
                  </a:cxn>
                  <a:cxn ang="0">
                    <a:pos x="21" y="17"/>
                  </a:cxn>
                </a:cxnLst>
                <a:rect l="0" t="0" r="r" b="b"/>
                <a:pathLst>
                  <a:path w="21" h="20">
                    <a:moveTo>
                      <a:pt x="21" y="17"/>
                    </a:moveTo>
                    <a:cubicBezTo>
                      <a:pt x="21" y="20"/>
                      <a:pt x="15" y="19"/>
                      <a:pt x="15" y="19"/>
                    </a:cubicBezTo>
                    <a:cubicBezTo>
                      <a:pt x="10" y="19"/>
                      <a:pt x="0" y="14"/>
                      <a:pt x="0" y="8"/>
                    </a:cubicBezTo>
                    <a:cubicBezTo>
                      <a:pt x="0" y="0"/>
                      <a:pt x="21" y="8"/>
                      <a:pt x="21" y="17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77" name="Полилиния 168">
                <a:extLst>
                  <a:ext uri="{FF2B5EF4-FFF2-40B4-BE49-F238E27FC236}">
                    <a16:creationId xmlns:a16="http://schemas.microsoft.com/office/drawing/2014/main" xmlns="" id="{4C36C265-5F11-A152-B5BD-7790E90C8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9900" y="1338263"/>
                <a:ext cx="25400" cy="17463"/>
              </a:xfrm>
              <a:custGeom>
                <a:avLst/>
                <a:gdLst/>
                <a:ahLst/>
                <a:cxnLst>
                  <a:cxn ang="0">
                    <a:pos x="2" y="13"/>
                  </a:cxn>
                  <a:cxn ang="0">
                    <a:pos x="19" y="8"/>
                  </a:cxn>
                  <a:cxn ang="0">
                    <a:pos x="8" y="0"/>
                  </a:cxn>
                  <a:cxn ang="0">
                    <a:pos x="2" y="9"/>
                  </a:cxn>
                  <a:cxn ang="0">
                    <a:pos x="2" y="13"/>
                  </a:cxn>
                </a:cxnLst>
                <a:rect l="0" t="0" r="r" b="b"/>
                <a:pathLst>
                  <a:path w="19" h="13">
                    <a:moveTo>
                      <a:pt x="2" y="13"/>
                    </a:moveTo>
                    <a:cubicBezTo>
                      <a:pt x="7" y="13"/>
                      <a:pt x="17" y="10"/>
                      <a:pt x="19" y="8"/>
                    </a:cubicBezTo>
                    <a:cubicBezTo>
                      <a:pt x="15" y="5"/>
                      <a:pt x="13" y="0"/>
                      <a:pt x="8" y="0"/>
                    </a:cubicBezTo>
                    <a:cubicBezTo>
                      <a:pt x="4" y="0"/>
                      <a:pt x="2" y="5"/>
                      <a:pt x="2" y="9"/>
                    </a:cubicBezTo>
                    <a:cubicBezTo>
                      <a:pt x="2" y="10"/>
                      <a:pt x="0" y="13"/>
                      <a:pt x="2" y="13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78" name="Полилиния 169">
                <a:extLst>
                  <a:ext uri="{FF2B5EF4-FFF2-40B4-BE49-F238E27FC236}">
                    <a16:creationId xmlns:a16="http://schemas.microsoft.com/office/drawing/2014/main" xmlns="" id="{92052961-E633-28F4-8523-9FB832B75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7825" y="1320800"/>
                <a:ext cx="53975" cy="22225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21" y="0"/>
                  </a:cxn>
                  <a:cxn ang="0">
                    <a:pos x="41" y="17"/>
                  </a:cxn>
                  <a:cxn ang="0">
                    <a:pos x="28" y="17"/>
                  </a:cxn>
                  <a:cxn ang="0">
                    <a:pos x="2" y="11"/>
                  </a:cxn>
                  <a:cxn ang="0">
                    <a:pos x="0" y="13"/>
                  </a:cxn>
                </a:cxnLst>
                <a:rect l="0" t="0" r="r" b="b"/>
                <a:pathLst>
                  <a:path w="41" h="17">
                    <a:moveTo>
                      <a:pt x="0" y="13"/>
                    </a:moveTo>
                    <a:cubicBezTo>
                      <a:pt x="5" y="6"/>
                      <a:pt x="11" y="0"/>
                      <a:pt x="21" y="0"/>
                    </a:cubicBezTo>
                    <a:cubicBezTo>
                      <a:pt x="32" y="0"/>
                      <a:pt x="41" y="7"/>
                      <a:pt x="41" y="17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0" y="13"/>
                      <a:pt x="10" y="14"/>
                      <a:pt x="2" y="11"/>
                    </a:cubicBezTo>
                    <a:lnTo>
                      <a:pt x="0" y="13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79" name="Полилиния 170">
                <a:extLst>
                  <a:ext uri="{FF2B5EF4-FFF2-40B4-BE49-F238E27FC236}">
                    <a16:creationId xmlns:a16="http://schemas.microsoft.com/office/drawing/2014/main" xmlns="" id="{1DE1F093-7008-6BD7-A725-81B8D573D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32600" y="1266825"/>
                <a:ext cx="74613" cy="26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2" y="9"/>
                  </a:cxn>
                  <a:cxn ang="0">
                    <a:pos x="56" y="13"/>
                  </a:cxn>
                  <a:cxn ang="0">
                    <a:pos x="37" y="20"/>
                  </a:cxn>
                  <a:cxn ang="0">
                    <a:pos x="4" y="3"/>
                  </a:cxn>
                  <a:cxn ang="0">
                    <a:pos x="0" y="0"/>
                  </a:cxn>
                </a:cxnLst>
                <a:rect l="0" t="0" r="r" b="b"/>
                <a:pathLst>
                  <a:path w="56" h="20">
                    <a:moveTo>
                      <a:pt x="0" y="0"/>
                    </a:moveTo>
                    <a:cubicBezTo>
                      <a:pt x="4" y="3"/>
                      <a:pt x="50" y="9"/>
                      <a:pt x="52" y="9"/>
                    </a:cubicBezTo>
                    <a:cubicBezTo>
                      <a:pt x="55" y="9"/>
                      <a:pt x="56" y="11"/>
                      <a:pt x="56" y="13"/>
                    </a:cubicBezTo>
                    <a:cubicBezTo>
                      <a:pt x="56" y="18"/>
                      <a:pt x="44" y="20"/>
                      <a:pt x="37" y="20"/>
                    </a:cubicBezTo>
                    <a:cubicBezTo>
                      <a:pt x="25" y="20"/>
                      <a:pt x="4" y="14"/>
                      <a:pt x="4" y="3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  <p:sp>
            <p:nvSpPr>
              <p:cNvPr id="180" name="Полилиния 171">
                <a:extLst>
                  <a:ext uri="{FF2B5EF4-FFF2-40B4-BE49-F238E27FC236}">
                    <a16:creationId xmlns:a16="http://schemas.microsoft.com/office/drawing/2014/main" xmlns="" id="{FACFDC5A-1DC7-F45B-111B-5C49EB7DEA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6238" y="1303338"/>
                <a:ext cx="15875" cy="17463"/>
              </a:xfrm>
              <a:custGeom>
                <a:avLst/>
                <a:gdLst/>
                <a:ahLst/>
                <a:cxnLst>
                  <a:cxn ang="0">
                    <a:pos x="12" y="7"/>
                  </a:cxn>
                  <a:cxn ang="0">
                    <a:pos x="5" y="13"/>
                  </a:cxn>
                  <a:cxn ang="0">
                    <a:pos x="0" y="7"/>
                  </a:cxn>
                  <a:cxn ang="0">
                    <a:pos x="12" y="7"/>
                  </a:cxn>
                </a:cxnLst>
                <a:rect l="0" t="0" r="r" b="b"/>
                <a:pathLst>
                  <a:path w="12" h="13">
                    <a:moveTo>
                      <a:pt x="12" y="7"/>
                    </a:moveTo>
                    <a:cubicBezTo>
                      <a:pt x="12" y="11"/>
                      <a:pt x="8" y="13"/>
                      <a:pt x="5" y="13"/>
                    </a:cubicBezTo>
                    <a:cubicBezTo>
                      <a:pt x="0" y="13"/>
                      <a:pt x="0" y="11"/>
                      <a:pt x="0" y="7"/>
                    </a:cubicBezTo>
                    <a:cubicBezTo>
                      <a:pt x="0" y="0"/>
                      <a:pt x="12" y="1"/>
                      <a:pt x="12" y="7"/>
                    </a:cubicBezTo>
                    <a:close/>
                  </a:path>
                </a:pathLst>
              </a:custGeom>
              <a:grpFill/>
              <a:ln w="34925">
                <a:noFill/>
                <a:round/>
                <a:headEnd/>
                <a:tailEnd/>
              </a:ln>
            </p:spPr>
            <p:txBody>
              <a:bodyPr vert="horz" wrap="square" lIns="55721" tIns="27861" rIns="55721" bIns="27861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ru-RU" sz="1097" noProof="1">
                  <a:latin typeface="Roboto condensed"/>
                  <a:cs typeface="Roboto condensed"/>
                </a:endParaRPr>
              </a:p>
            </p:txBody>
          </p:sp>
        </p:grpSp>
      </p:grpSp>
      <p:cxnSp>
        <p:nvCxnSpPr>
          <p:cNvPr id="283" name="Прямая соединительная линия со стрелкой 40">
            <a:extLst>
              <a:ext uri="{FF2B5EF4-FFF2-40B4-BE49-F238E27FC236}">
                <a16:creationId xmlns:a16="http://schemas.microsoft.com/office/drawing/2014/main" xmlns="" id="{C3CDE1B0-3D2F-D1FE-BAA4-B7AE6C7F4FF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/>
        </p:nvCxnSpPr>
        <p:spPr>
          <a:xfrm flipV="1">
            <a:off x="8885011" y="2682784"/>
            <a:ext cx="0" cy="774797"/>
          </a:xfrm>
          <a:prstGeom prst="straightConnector1">
            <a:avLst/>
          </a:prstGeom>
          <a:ln w="9525">
            <a:solidFill>
              <a:schemeClr val="accent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Прямая соединительная линия со стрелкой 131">
            <a:extLst>
              <a:ext uri="{FF2B5EF4-FFF2-40B4-BE49-F238E27FC236}">
                <a16:creationId xmlns:a16="http://schemas.microsoft.com/office/drawing/2014/main" xmlns="" id="{A4DA3CFD-D70C-376D-AA97-68406330721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/>
        </p:nvCxnSpPr>
        <p:spPr>
          <a:xfrm>
            <a:off x="1996778" y="6016962"/>
            <a:ext cx="218415" cy="1"/>
          </a:xfrm>
          <a:prstGeom prst="straightConnector1">
            <a:avLst/>
          </a:prstGeom>
          <a:ln w="12700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Прямая соединительная линия со стрелкой 43">
            <a:extLst>
              <a:ext uri="{FF2B5EF4-FFF2-40B4-BE49-F238E27FC236}">
                <a16:creationId xmlns:a16="http://schemas.microsoft.com/office/drawing/2014/main" xmlns="" id="{ADB59EE1-8E3C-C909-12C6-CA539F862D2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/>
        </p:nvCxnSpPr>
        <p:spPr>
          <a:xfrm flipV="1">
            <a:off x="9957417" y="2651266"/>
            <a:ext cx="0" cy="1043568"/>
          </a:xfrm>
          <a:prstGeom prst="straightConnector1">
            <a:avLst/>
          </a:prstGeom>
          <a:ln w="9525">
            <a:solidFill>
              <a:schemeClr val="accent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Прямая соединительная линия со стрелкой 40">
            <a:extLst>
              <a:ext uri="{FF2B5EF4-FFF2-40B4-BE49-F238E27FC236}">
                <a16:creationId xmlns:a16="http://schemas.microsoft.com/office/drawing/2014/main" xmlns="" id="{95C05714-37FA-CC7B-B480-B15AA659240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/>
        </p:nvCxnSpPr>
        <p:spPr>
          <a:xfrm flipV="1">
            <a:off x="10578763" y="2448974"/>
            <a:ext cx="0" cy="774797"/>
          </a:xfrm>
          <a:prstGeom prst="straightConnector1">
            <a:avLst/>
          </a:prstGeom>
          <a:ln w="9525">
            <a:solidFill>
              <a:schemeClr val="accent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Графический объект 130" descr="значок веба">
            <a:extLst>
              <a:ext uri="{FF2B5EF4-FFF2-40B4-BE49-F238E27FC236}">
                <a16:creationId xmlns:a16="http://schemas.microsoft.com/office/drawing/2014/main" xmlns="" id="{5A84C76E-473C-AD01-AFB0-3A3A43D35FF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/>
          <p:nvPr/>
        </p:nvSpPr>
        <p:spPr>
          <a:xfrm>
            <a:off x="4664136" y="5740511"/>
            <a:ext cx="197879" cy="197879"/>
          </a:xfrm>
          <a:custGeom>
            <a:avLst/>
            <a:gdLst>
              <a:gd name="connsiteX0" fmla="*/ 49857 w 96715"/>
              <a:gd name="connsiteY0" fmla="*/ 17 h 96715"/>
              <a:gd name="connsiteX1" fmla="*/ 0 w 96715"/>
              <a:gd name="connsiteY1" fmla="*/ 51355 h 96715"/>
              <a:gd name="connsiteX2" fmla="*/ 51167 w 96715"/>
              <a:gd name="connsiteY2" fmla="*/ 102545 h 96715"/>
              <a:gd name="connsiteX3" fmla="*/ 102357 w 96715"/>
              <a:gd name="connsiteY3" fmla="*/ 51378 h 96715"/>
              <a:gd name="connsiteX4" fmla="*/ 102357 w 96715"/>
              <a:gd name="connsiteY4" fmla="*/ 51355 h 96715"/>
              <a:gd name="connsiteX5" fmla="*/ 51355 w 96715"/>
              <a:gd name="connsiteY5" fmla="*/ 0 h 96715"/>
              <a:gd name="connsiteX6" fmla="*/ 49857 w 96715"/>
              <a:gd name="connsiteY6" fmla="*/ 17 h 96715"/>
              <a:gd name="connsiteX7" fmla="*/ 43246 w 96715"/>
              <a:gd name="connsiteY7" fmla="*/ 5506 h 96715"/>
              <a:gd name="connsiteX8" fmla="*/ 32946 w 96715"/>
              <a:gd name="connsiteY8" fmla="*/ 33258 h 96715"/>
              <a:gd name="connsiteX9" fmla="*/ 8315 w 96715"/>
              <a:gd name="connsiteY9" fmla="*/ 33258 h 96715"/>
              <a:gd name="connsiteX10" fmla="*/ 43246 w 96715"/>
              <a:gd name="connsiteY10" fmla="*/ 5506 h 96715"/>
              <a:gd name="connsiteX11" fmla="*/ 59112 w 96715"/>
              <a:gd name="connsiteY11" fmla="*/ 5506 h 96715"/>
              <a:gd name="connsiteX12" fmla="*/ 94043 w 96715"/>
              <a:gd name="connsiteY12" fmla="*/ 33258 h 96715"/>
              <a:gd name="connsiteX13" fmla="*/ 69412 w 96715"/>
              <a:gd name="connsiteY13" fmla="*/ 33258 h 96715"/>
              <a:gd name="connsiteX14" fmla="*/ 59112 w 96715"/>
              <a:gd name="connsiteY14" fmla="*/ 5506 h 96715"/>
              <a:gd name="connsiteX15" fmla="*/ 51056 w 96715"/>
              <a:gd name="connsiteY15" fmla="*/ 6610 h 96715"/>
              <a:gd name="connsiteX16" fmla="*/ 55990 w 96715"/>
              <a:gd name="connsiteY16" fmla="*/ 9482 h 96715"/>
              <a:gd name="connsiteX17" fmla="*/ 64664 w 96715"/>
              <a:gd name="connsiteY17" fmla="*/ 33258 h 96715"/>
              <a:gd name="connsiteX18" fmla="*/ 37694 w 96715"/>
              <a:gd name="connsiteY18" fmla="*/ 33258 h 96715"/>
              <a:gd name="connsiteX19" fmla="*/ 46367 w 96715"/>
              <a:gd name="connsiteY19" fmla="*/ 9482 h 96715"/>
              <a:gd name="connsiteX20" fmla="*/ 51056 w 96715"/>
              <a:gd name="connsiteY20" fmla="*/ 6610 h 96715"/>
              <a:gd name="connsiteX21" fmla="*/ 6638 w 96715"/>
              <a:gd name="connsiteY21" fmla="*/ 37911 h 96715"/>
              <a:gd name="connsiteX22" fmla="*/ 32146 w 96715"/>
              <a:gd name="connsiteY22" fmla="*/ 37911 h 96715"/>
              <a:gd name="connsiteX23" fmla="*/ 32146 w 96715"/>
              <a:gd name="connsiteY23" fmla="*/ 64795 h 96715"/>
              <a:gd name="connsiteX24" fmla="*/ 6638 w 96715"/>
              <a:gd name="connsiteY24" fmla="*/ 64795 h 96715"/>
              <a:gd name="connsiteX25" fmla="*/ 6638 w 96715"/>
              <a:gd name="connsiteY25" fmla="*/ 37911 h 96715"/>
              <a:gd name="connsiteX26" fmla="*/ 36853 w 96715"/>
              <a:gd name="connsiteY26" fmla="*/ 37911 h 96715"/>
              <a:gd name="connsiteX27" fmla="*/ 65509 w 96715"/>
              <a:gd name="connsiteY27" fmla="*/ 37911 h 96715"/>
              <a:gd name="connsiteX28" fmla="*/ 65509 w 96715"/>
              <a:gd name="connsiteY28" fmla="*/ 64795 h 96715"/>
              <a:gd name="connsiteX29" fmla="*/ 36853 w 96715"/>
              <a:gd name="connsiteY29" fmla="*/ 64795 h 96715"/>
              <a:gd name="connsiteX30" fmla="*/ 36853 w 96715"/>
              <a:gd name="connsiteY30" fmla="*/ 37911 h 96715"/>
              <a:gd name="connsiteX31" fmla="*/ 70212 w 96715"/>
              <a:gd name="connsiteY31" fmla="*/ 37911 h 96715"/>
              <a:gd name="connsiteX32" fmla="*/ 95719 w 96715"/>
              <a:gd name="connsiteY32" fmla="*/ 37911 h 96715"/>
              <a:gd name="connsiteX33" fmla="*/ 95719 w 96715"/>
              <a:gd name="connsiteY33" fmla="*/ 64795 h 96715"/>
              <a:gd name="connsiteX34" fmla="*/ 70212 w 96715"/>
              <a:gd name="connsiteY34" fmla="*/ 64795 h 96715"/>
              <a:gd name="connsiteX35" fmla="*/ 70212 w 96715"/>
              <a:gd name="connsiteY35" fmla="*/ 37911 h 96715"/>
              <a:gd name="connsiteX36" fmla="*/ 8315 w 96715"/>
              <a:gd name="connsiteY36" fmla="*/ 69447 h 96715"/>
              <a:gd name="connsiteX37" fmla="*/ 32946 w 96715"/>
              <a:gd name="connsiteY37" fmla="*/ 69447 h 96715"/>
              <a:gd name="connsiteX38" fmla="*/ 43246 w 96715"/>
              <a:gd name="connsiteY38" fmla="*/ 97199 h 96715"/>
              <a:gd name="connsiteX39" fmla="*/ 8315 w 96715"/>
              <a:gd name="connsiteY39" fmla="*/ 69447 h 96715"/>
              <a:gd name="connsiteX40" fmla="*/ 37694 w 96715"/>
              <a:gd name="connsiteY40" fmla="*/ 69447 h 96715"/>
              <a:gd name="connsiteX41" fmla="*/ 64664 w 96715"/>
              <a:gd name="connsiteY41" fmla="*/ 69447 h 96715"/>
              <a:gd name="connsiteX42" fmla="*/ 55990 w 96715"/>
              <a:gd name="connsiteY42" fmla="*/ 93224 h 96715"/>
              <a:gd name="connsiteX43" fmla="*/ 48593 w 96715"/>
              <a:gd name="connsiteY43" fmla="*/ 95450 h 96715"/>
              <a:gd name="connsiteX44" fmla="*/ 46367 w 96715"/>
              <a:gd name="connsiteY44" fmla="*/ 93224 h 96715"/>
              <a:gd name="connsiteX45" fmla="*/ 37694 w 96715"/>
              <a:gd name="connsiteY45" fmla="*/ 69447 h 96715"/>
              <a:gd name="connsiteX46" fmla="*/ 69412 w 96715"/>
              <a:gd name="connsiteY46" fmla="*/ 69447 h 96715"/>
              <a:gd name="connsiteX47" fmla="*/ 94043 w 96715"/>
              <a:gd name="connsiteY47" fmla="*/ 69447 h 96715"/>
              <a:gd name="connsiteX48" fmla="*/ 59112 w 96715"/>
              <a:gd name="connsiteY48" fmla="*/ 97199 h 96715"/>
              <a:gd name="connsiteX49" fmla="*/ 69412 w 96715"/>
              <a:gd name="connsiteY49" fmla="*/ 69447 h 96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96715" h="96715">
                <a:moveTo>
                  <a:pt x="49857" y="17"/>
                </a:moveTo>
                <a:cubicBezTo>
                  <a:pt x="22047" y="736"/>
                  <a:pt x="-95" y="23536"/>
                  <a:pt x="0" y="51355"/>
                </a:cubicBezTo>
                <a:cubicBezTo>
                  <a:pt x="-6" y="79620"/>
                  <a:pt x="22902" y="102538"/>
                  <a:pt x="51167" y="102545"/>
                </a:cubicBezTo>
                <a:cubicBezTo>
                  <a:pt x="79432" y="102551"/>
                  <a:pt x="102351" y="79643"/>
                  <a:pt x="102357" y="51378"/>
                </a:cubicBezTo>
                <a:cubicBezTo>
                  <a:pt x="102357" y="51370"/>
                  <a:pt x="102357" y="51362"/>
                  <a:pt x="102357" y="51355"/>
                </a:cubicBezTo>
                <a:cubicBezTo>
                  <a:pt x="102455" y="23089"/>
                  <a:pt x="79620" y="97"/>
                  <a:pt x="51355" y="0"/>
                </a:cubicBezTo>
                <a:cubicBezTo>
                  <a:pt x="50856" y="-1"/>
                  <a:pt x="50356" y="4"/>
                  <a:pt x="49857" y="17"/>
                </a:cubicBezTo>
                <a:close/>
                <a:moveTo>
                  <a:pt x="43246" y="5506"/>
                </a:moveTo>
                <a:cubicBezTo>
                  <a:pt x="38353" y="14148"/>
                  <a:pt x="34876" y="23517"/>
                  <a:pt x="32946" y="33258"/>
                </a:cubicBezTo>
                <a:lnTo>
                  <a:pt x="8315" y="33258"/>
                </a:lnTo>
                <a:cubicBezTo>
                  <a:pt x="14475" y="18664"/>
                  <a:pt x="27637" y="8207"/>
                  <a:pt x="43246" y="5506"/>
                </a:cubicBezTo>
                <a:close/>
                <a:moveTo>
                  <a:pt x="59112" y="5506"/>
                </a:moveTo>
                <a:cubicBezTo>
                  <a:pt x="74721" y="8207"/>
                  <a:pt x="87883" y="18664"/>
                  <a:pt x="94043" y="33258"/>
                </a:cubicBezTo>
                <a:lnTo>
                  <a:pt x="69412" y="33258"/>
                </a:lnTo>
                <a:cubicBezTo>
                  <a:pt x="67482" y="23517"/>
                  <a:pt x="64004" y="14148"/>
                  <a:pt x="59112" y="5506"/>
                </a:cubicBezTo>
                <a:close/>
                <a:moveTo>
                  <a:pt x="51056" y="6610"/>
                </a:moveTo>
                <a:cubicBezTo>
                  <a:pt x="53110" y="6563"/>
                  <a:pt x="55016" y="7673"/>
                  <a:pt x="55990" y="9482"/>
                </a:cubicBezTo>
                <a:cubicBezTo>
                  <a:pt x="60007" y="16950"/>
                  <a:pt x="62928" y="24958"/>
                  <a:pt x="64664" y="33258"/>
                </a:cubicBezTo>
                <a:lnTo>
                  <a:pt x="37694" y="33258"/>
                </a:lnTo>
                <a:cubicBezTo>
                  <a:pt x="39429" y="24958"/>
                  <a:pt x="42351" y="16950"/>
                  <a:pt x="46367" y="9482"/>
                </a:cubicBezTo>
                <a:cubicBezTo>
                  <a:pt x="47299" y="7750"/>
                  <a:pt x="49090" y="6654"/>
                  <a:pt x="51056" y="6610"/>
                </a:cubicBezTo>
                <a:close/>
                <a:moveTo>
                  <a:pt x="6638" y="37911"/>
                </a:moveTo>
                <a:lnTo>
                  <a:pt x="32146" y="37911"/>
                </a:lnTo>
                <a:cubicBezTo>
                  <a:pt x="30844" y="46825"/>
                  <a:pt x="30844" y="55881"/>
                  <a:pt x="32146" y="64795"/>
                </a:cubicBezTo>
                <a:lnTo>
                  <a:pt x="6638" y="64795"/>
                </a:lnTo>
                <a:cubicBezTo>
                  <a:pt x="3993" y="56029"/>
                  <a:pt x="3993" y="46677"/>
                  <a:pt x="6638" y="37911"/>
                </a:cubicBezTo>
                <a:close/>
                <a:moveTo>
                  <a:pt x="36853" y="37911"/>
                </a:moveTo>
                <a:lnTo>
                  <a:pt x="65509" y="37911"/>
                </a:lnTo>
                <a:cubicBezTo>
                  <a:pt x="66880" y="46820"/>
                  <a:pt x="66880" y="55886"/>
                  <a:pt x="65509" y="64795"/>
                </a:cubicBezTo>
                <a:lnTo>
                  <a:pt x="36853" y="64795"/>
                </a:lnTo>
                <a:cubicBezTo>
                  <a:pt x="35482" y="55886"/>
                  <a:pt x="35482" y="46819"/>
                  <a:pt x="36853" y="37911"/>
                </a:cubicBezTo>
                <a:close/>
                <a:moveTo>
                  <a:pt x="70212" y="37911"/>
                </a:moveTo>
                <a:lnTo>
                  <a:pt x="95719" y="37911"/>
                </a:lnTo>
                <a:cubicBezTo>
                  <a:pt x="98365" y="46677"/>
                  <a:pt x="98365" y="56029"/>
                  <a:pt x="95719" y="64795"/>
                </a:cubicBezTo>
                <a:lnTo>
                  <a:pt x="70212" y="64795"/>
                </a:lnTo>
                <a:cubicBezTo>
                  <a:pt x="71513" y="55881"/>
                  <a:pt x="71513" y="46825"/>
                  <a:pt x="70212" y="37911"/>
                </a:cubicBezTo>
                <a:close/>
                <a:moveTo>
                  <a:pt x="8315" y="69447"/>
                </a:moveTo>
                <a:lnTo>
                  <a:pt x="32946" y="69447"/>
                </a:lnTo>
                <a:cubicBezTo>
                  <a:pt x="34876" y="79188"/>
                  <a:pt x="38353" y="88558"/>
                  <a:pt x="43246" y="97199"/>
                </a:cubicBezTo>
                <a:cubicBezTo>
                  <a:pt x="27637" y="94499"/>
                  <a:pt x="14475" y="84041"/>
                  <a:pt x="8315" y="69447"/>
                </a:cubicBezTo>
                <a:close/>
                <a:moveTo>
                  <a:pt x="37694" y="69447"/>
                </a:moveTo>
                <a:lnTo>
                  <a:pt x="64664" y="69447"/>
                </a:lnTo>
                <a:cubicBezTo>
                  <a:pt x="62928" y="77748"/>
                  <a:pt x="60007" y="85755"/>
                  <a:pt x="55990" y="93224"/>
                </a:cubicBezTo>
                <a:cubicBezTo>
                  <a:pt x="54562" y="95881"/>
                  <a:pt x="51250" y="96878"/>
                  <a:pt x="48593" y="95450"/>
                </a:cubicBezTo>
                <a:cubicBezTo>
                  <a:pt x="47649" y="94942"/>
                  <a:pt x="46875" y="94168"/>
                  <a:pt x="46367" y="93224"/>
                </a:cubicBezTo>
                <a:cubicBezTo>
                  <a:pt x="42351" y="85755"/>
                  <a:pt x="39429" y="77748"/>
                  <a:pt x="37694" y="69447"/>
                </a:cubicBezTo>
                <a:close/>
                <a:moveTo>
                  <a:pt x="69412" y="69447"/>
                </a:moveTo>
                <a:lnTo>
                  <a:pt x="94043" y="69447"/>
                </a:lnTo>
                <a:cubicBezTo>
                  <a:pt x="87883" y="84041"/>
                  <a:pt x="74721" y="94499"/>
                  <a:pt x="59112" y="97199"/>
                </a:cubicBezTo>
                <a:cubicBezTo>
                  <a:pt x="64004" y="88558"/>
                  <a:pt x="67482" y="79188"/>
                  <a:pt x="69412" y="69447"/>
                </a:cubicBezTo>
                <a:close/>
              </a:path>
            </a:pathLst>
          </a:custGeom>
          <a:solidFill>
            <a:schemeClr val="bg1"/>
          </a:solidFill>
          <a:ln w="8792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sz="1350" noProof="1"/>
          </a:p>
        </p:txBody>
      </p:sp>
      <p:pic>
        <p:nvPicPr>
          <p:cNvPr id="293" name="Объект 33" descr="Диаграмма с подъемом со сплошной заливкой">
            <a:extLst>
              <a:ext uri="{FF2B5EF4-FFF2-40B4-BE49-F238E27FC236}">
                <a16:creationId xmlns:a16="http://schemas.microsoft.com/office/drawing/2014/main" xmlns="" id="{E268B9D9-1EE1-C73A-4C2D-D361180647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422624" y="4351010"/>
            <a:ext cx="914400" cy="914400"/>
          </a:xfrm>
          <a:prstGeom prst="rect">
            <a:avLst/>
          </a:prstGeom>
        </p:spPr>
      </p:pic>
      <p:sp>
        <p:nvSpPr>
          <p:cNvPr id="296" name="TextBox 295">
            <a:extLst>
              <a:ext uri="{FF2B5EF4-FFF2-40B4-BE49-F238E27FC236}">
                <a16:creationId xmlns:a16="http://schemas.microsoft.com/office/drawing/2014/main" xmlns="" id="{DA452420-E8F2-B08E-948C-5EA6BB0C02F9}"/>
              </a:ext>
            </a:extLst>
          </p:cNvPr>
          <p:cNvSpPr txBox="1"/>
          <p:nvPr/>
        </p:nvSpPr>
        <p:spPr>
          <a:xfrm>
            <a:off x="8002010" y="3399346"/>
            <a:ext cx="13096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/>
              <a:t>Электронная коммерция</a:t>
            </a: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xmlns="" id="{4BD180F1-455F-27AF-2743-E1E532D352C0}"/>
              </a:ext>
            </a:extLst>
          </p:cNvPr>
          <p:cNvSpPr txBox="1"/>
          <p:nvPr/>
        </p:nvSpPr>
        <p:spPr>
          <a:xfrm>
            <a:off x="9013176" y="3724169"/>
            <a:ext cx="15881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/>
              <a:t>Рост внешнеторговых сделок</a:t>
            </a:r>
          </a:p>
        </p:txBody>
      </p:sp>
      <p:sp>
        <p:nvSpPr>
          <p:cNvPr id="298" name="TextBox 297">
            <a:extLst>
              <a:ext uri="{FF2B5EF4-FFF2-40B4-BE49-F238E27FC236}">
                <a16:creationId xmlns:a16="http://schemas.microsoft.com/office/drawing/2014/main" xmlns="" id="{7D454C91-0034-3503-C82E-C64CEA911D74}"/>
              </a:ext>
            </a:extLst>
          </p:cNvPr>
          <p:cNvSpPr txBox="1"/>
          <p:nvPr/>
        </p:nvSpPr>
        <p:spPr>
          <a:xfrm>
            <a:off x="10325910" y="3191566"/>
            <a:ext cx="15881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/>
              <a:t>Рост присутствия международного бизнеса </a:t>
            </a:r>
          </a:p>
        </p:txBody>
      </p:sp>
      <p:pic>
        <p:nvPicPr>
          <p:cNvPr id="301" name="Рисунок 300" descr="Искусственный интеллект со сплошной заливкой">
            <a:extLst>
              <a:ext uri="{FF2B5EF4-FFF2-40B4-BE49-F238E27FC236}">
                <a16:creationId xmlns:a16="http://schemas.microsoft.com/office/drawing/2014/main" xmlns="" id="{42ACC10E-7B02-1769-FD38-2D58651A24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422624" y="5205830"/>
            <a:ext cx="914400" cy="914400"/>
          </a:xfrm>
          <a:prstGeom prst="rect">
            <a:avLst/>
          </a:prstGeom>
        </p:spPr>
      </p:pic>
      <p:sp>
        <p:nvSpPr>
          <p:cNvPr id="302" name="TextBox 301">
            <a:extLst>
              <a:ext uri="{FF2B5EF4-FFF2-40B4-BE49-F238E27FC236}">
                <a16:creationId xmlns:a16="http://schemas.microsoft.com/office/drawing/2014/main" xmlns="" id="{6BEF7A3B-7233-0020-3477-085F4CDADEB1}"/>
              </a:ext>
            </a:extLst>
          </p:cNvPr>
          <p:cNvSpPr txBox="1"/>
          <p:nvPr/>
        </p:nvSpPr>
        <p:spPr>
          <a:xfrm>
            <a:off x="7412347" y="4514461"/>
            <a:ext cx="43774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редний рост экономически активного населения  -2,8% в год </a:t>
            </a:r>
          </a:p>
        </p:txBody>
      </p:sp>
      <p:sp>
        <p:nvSpPr>
          <p:cNvPr id="303" name="Прямоугольник 302">
            <a:extLst>
              <a:ext uri="{FF2B5EF4-FFF2-40B4-BE49-F238E27FC236}">
                <a16:creationId xmlns:a16="http://schemas.microsoft.com/office/drawing/2014/main" xmlns="" id="{4D183365-5321-C608-CDCF-966CBEB44F0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1925403" y="2012360"/>
            <a:ext cx="5238711" cy="842806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just" rtl="0"/>
            <a:r>
              <a:rPr lang="ru-RU" dirty="0">
                <a:solidFill>
                  <a:schemeClr val="tx1"/>
                </a:solidFill>
                <a:latin typeface="Arial Black" panose="020B0A04020102020204" pitchFamily="34" charset="0"/>
              </a:rPr>
              <a:t>Рост деловой активности  и стартапов</a:t>
            </a:r>
          </a:p>
          <a:p>
            <a:pPr algn="just" rtl="0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306" name="Объект 33" descr="Диаграмма с подъемом со сплошной заливкой">
            <a:extLst>
              <a:ext uri="{FF2B5EF4-FFF2-40B4-BE49-F238E27FC236}">
                <a16:creationId xmlns:a16="http://schemas.microsoft.com/office/drawing/2014/main" xmlns="" id="{EB581F3E-7AC6-2075-CAB4-25A933248B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33174" y="1983413"/>
            <a:ext cx="914400" cy="914400"/>
          </a:xfrm>
          <a:prstGeom prst="rect">
            <a:avLst/>
          </a:prstGeom>
        </p:spPr>
      </p:pic>
      <p:graphicFrame>
        <p:nvGraphicFramePr>
          <p:cNvPr id="310" name="Диаграмма 309">
            <a:extLst>
              <a:ext uri="{FF2B5EF4-FFF2-40B4-BE49-F238E27FC236}">
                <a16:creationId xmlns:a16="http://schemas.microsoft.com/office/drawing/2014/main" xmlns="" id="{510204F7-C51F-0FCB-55F2-F020BF5187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0671592"/>
              </p:ext>
            </p:extLst>
          </p:nvPr>
        </p:nvGraphicFramePr>
        <p:xfrm>
          <a:off x="926859" y="3724169"/>
          <a:ext cx="3638736" cy="2251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3" name="Прямоугольник 312">
            <a:extLst>
              <a:ext uri="{FF2B5EF4-FFF2-40B4-BE49-F238E27FC236}">
                <a16:creationId xmlns:a16="http://schemas.microsoft.com/office/drawing/2014/main" xmlns="" id="{43623D1E-82E3-3805-07AE-1D9EF428533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7289727" y="5216298"/>
            <a:ext cx="4377458" cy="842806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rtl="0"/>
            <a:r>
              <a:rPr lang="ru-RU" dirty="0">
                <a:solidFill>
                  <a:schemeClr val="tx1"/>
                </a:solidFill>
              </a:rPr>
              <a:t>Цифровизация бизнеса и домашних хозяйств</a:t>
            </a:r>
          </a:p>
        </p:txBody>
      </p:sp>
      <p:sp>
        <p:nvSpPr>
          <p:cNvPr id="315" name="Выноска: линия с чертой 314">
            <a:extLst>
              <a:ext uri="{FF2B5EF4-FFF2-40B4-BE49-F238E27FC236}">
                <a16:creationId xmlns:a16="http://schemas.microsoft.com/office/drawing/2014/main" xmlns="" id="{F29661FF-E287-66F4-68D4-22CAC8723027}"/>
              </a:ext>
            </a:extLst>
          </p:cNvPr>
          <p:cNvSpPr/>
          <p:nvPr/>
        </p:nvSpPr>
        <p:spPr>
          <a:xfrm>
            <a:off x="3279104" y="2512332"/>
            <a:ext cx="4560149" cy="1185572"/>
          </a:xfrm>
          <a:prstGeom prst="accentCallout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sz="1400" i="1" dirty="0">
                <a:latin typeface="Cavolini" panose="020B0502040204020203" pitchFamily="66" charset="0"/>
                <a:cs typeface="Cavolini" panose="020B0502040204020203" pitchFamily="66" charset="0"/>
              </a:rPr>
              <a:t>Рост операций и документооборота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sz="1400" i="1" dirty="0">
                <a:latin typeface="Cavolini" panose="020B0502040204020203" pitchFamily="66" charset="0"/>
                <a:cs typeface="Cavolini" panose="020B0502040204020203" pitchFamily="66" charset="0"/>
              </a:rPr>
              <a:t>Рост международных расчетов 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ru-RU" sz="1400" i="1" dirty="0">
                <a:latin typeface="Cavolini" panose="020B0502040204020203" pitchFamily="66" charset="0"/>
                <a:cs typeface="Cavolini" panose="020B0502040204020203" pitchFamily="66" charset="0"/>
              </a:rPr>
              <a:t>Безналичные платежи </a:t>
            </a:r>
          </a:p>
        </p:txBody>
      </p:sp>
    </p:spTree>
    <p:extLst>
      <p:ext uri="{BB962C8B-B14F-4D97-AF65-F5344CB8AC3E}">
        <p14:creationId xmlns:p14="http://schemas.microsoft.com/office/powerpoint/2010/main" val="19806679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Заголовок 67">
            <a:extLst>
              <a:ext uri="{FF2B5EF4-FFF2-40B4-BE49-F238E27FC236}">
                <a16:creationId xmlns:a16="http://schemas.microsoft.com/office/drawing/2014/main" xmlns="" id="{3D46526D-118F-4F6F-BAE0-066F422EB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dirty="0"/>
              <a:t>Слайд 3 с информацией о кадрах</a:t>
            </a:r>
          </a:p>
        </p:txBody>
      </p:sp>
      <p:pic>
        <p:nvPicPr>
          <p:cNvPr id="122" name="Рисунок 121">
            <a:extLst>
              <a:ext uri="{FF2B5EF4-FFF2-40B4-BE49-F238E27FC236}">
                <a16:creationId xmlns:a16="http://schemas.microsoft.com/office/drawing/2014/main" xmlns="" id="{470070FC-19D0-4354-9BC9-608A5DC4499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2895600"/>
              <a:gd name="connsiteX1" fmla="*/ 12192000 w 12192000"/>
              <a:gd name="connsiteY1" fmla="*/ 0 h 2895600"/>
              <a:gd name="connsiteX2" fmla="*/ 12192000 w 12192000"/>
              <a:gd name="connsiteY2" fmla="*/ 2895600 h 2895600"/>
              <a:gd name="connsiteX3" fmla="*/ 0 w 12192000"/>
              <a:gd name="connsiteY3" fmla="*/ 2895600 h 289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2895600">
                <a:moveTo>
                  <a:pt x="0" y="0"/>
                </a:moveTo>
                <a:lnTo>
                  <a:pt x="12192000" y="0"/>
                </a:lnTo>
                <a:lnTo>
                  <a:pt x="12192000" y="2895600"/>
                </a:lnTo>
                <a:lnTo>
                  <a:pt x="0" y="2895600"/>
                </a:lnTo>
                <a:close/>
              </a:path>
            </a:pathLst>
          </a:custGeom>
        </p:spPr>
      </p:pic>
      <p:sp>
        <p:nvSpPr>
          <p:cNvPr id="123" name="Прямоугольник 122">
            <a:extLst>
              <a:ext uri="{FF2B5EF4-FFF2-40B4-BE49-F238E27FC236}">
                <a16:creationId xmlns:a16="http://schemas.microsoft.com/office/drawing/2014/main" xmlns="" id="{C9C2C56A-C4D4-4578-84E9-27FD62603EA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-119976" y="-16974"/>
            <a:ext cx="12192000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6" name="Прямоугольник: Скругленные углы 5">
            <a:extLst>
              <a:ext uri="{FF2B5EF4-FFF2-40B4-BE49-F238E27FC236}">
                <a16:creationId xmlns:a16="http://schemas.microsoft.com/office/drawing/2014/main" xmlns="" id="{C8431200-8E45-4A0C-B12B-CFA1B2C53C4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-221796" y="5502466"/>
            <a:ext cx="443592" cy="232296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5" name="Надпись 4">
            <a:extLst>
              <a:ext uri="{FF2B5EF4-FFF2-40B4-BE49-F238E27FC236}">
                <a16:creationId xmlns:a16="http://schemas.microsoft.com/office/drawing/2014/main" xmlns="" id="{BAD3DD8E-0492-4A48-B06C-F87FA5CFE3C0}"/>
              </a:ext>
            </a:extLst>
          </p:cNvPr>
          <p:cNvSpPr txBox="1"/>
          <p:nvPr/>
        </p:nvSpPr>
        <p:spPr>
          <a:xfrm>
            <a:off x="689985" y="2242036"/>
            <a:ext cx="237830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ru-RU" sz="8000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3 </a:t>
            </a:r>
          </a:p>
        </p:txBody>
      </p:sp>
      <p:sp>
        <p:nvSpPr>
          <p:cNvPr id="2" name="Надпись 1">
            <a:extLst>
              <a:ext uri="{FF2B5EF4-FFF2-40B4-BE49-F238E27FC236}">
                <a16:creationId xmlns:a16="http://schemas.microsoft.com/office/drawing/2014/main" xmlns="" id="{62AEF5FE-6C45-4BF6-9676-571742C3CDD7}"/>
              </a:ext>
            </a:extLst>
          </p:cNvPr>
          <p:cNvSpPr txBox="1"/>
          <p:nvPr/>
        </p:nvSpPr>
        <p:spPr>
          <a:xfrm>
            <a:off x="593696" y="3339796"/>
            <a:ext cx="3603287" cy="12187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>
              <a:lnSpc>
                <a:spcPct val="90000"/>
              </a:lnSpc>
            </a:pPr>
            <a:r>
              <a:rPr lang="ru-RU" sz="44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оговых сервиса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A74D15AA-4B45-41B5-A81C-97FCBF019951}"/>
              </a:ext>
            </a:extLst>
          </p:cNvPr>
          <p:cNvSpPr/>
          <p:nvPr/>
        </p:nvSpPr>
        <p:spPr>
          <a:xfrm>
            <a:off x="649929" y="4617160"/>
            <a:ext cx="2879127" cy="172354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ru-RU" sz="1600" i="1" dirty="0">
                <a:solidFill>
                  <a:srgbClr val="002060"/>
                </a:solidFill>
                <a:latin typeface="+mj-lt"/>
                <a:cs typeface="Segoe UI" panose="020B0502040204020203" pitchFamily="34" charset="0"/>
              </a:rPr>
              <a:t>Фискальная прозрачность</a:t>
            </a:r>
          </a:p>
          <a:p>
            <a:pPr rtl="0"/>
            <a:r>
              <a:rPr lang="ru-RU" sz="1600" i="1" dirty="0">
                <a:solidFill>
                  <a:srgbClr val="002060"/>
                </a:solidFill>
                <a:latin typeface="+mj-lt"/>
                <a:cs typeface="Segoe UI" panose="020B0502040204020203" pitchFamily="34" charset="0"/>
              </a:rPr>
              <a:t>Скорость взаимодействия</a:t>
            </a:r>
          </a:p>
          <a:p>
            <a:pPr rtl="0"/>
            <a:r>
              <a:rPr lang="ru-RU" sz="1600" i="1" dirty="0">
                <a:solidFill>
                  <a:srgbClr val="002060"/>
                </a:solidFill>
                <a:latin typeface="+mj-lt"/>
                <a:cs typeface="Segoe UI" panose="020B0502040204020203" pitchFamily="34" charset="0"/>
              </a:rPr>
              <a:t>Безопасность данных</a:t>
            </a:r>
          </a:p>
          <a:p>
            <a:pPr rtl="0"/>
            <a:r>
              <a:rPr lang="ru-RU" sz="1600" i="1" dirty="0">
                <a:solidFill>
                  <a:srgbClr val="002060"/>
                </a:solidFill>
                <a:latin typeface="+mj-lt"/>
                <a:cs typeface="Segoe UI" panose="020B0502040204020203" pitchFamily="34" charset="0"/>
              </a:rPr>
              <a:t>Аналитика и информирование</a:t>
            </a:r>
          </a:p>
          <a:p>
            <a:pPr rtl="0"/>
            <a:r>
              <a:rPr lang="ru-RU" sz="1600" i="1" dirty="0">
                <a:solidFill>
                  <a:srgbClr val="002060"/>
                </a:solidFill>
                <a:latin typeface="+mj-lt"/>
                <a:cs typeface="Segoe UI" panose="020B0502040204020203" pitchFamily="34" charset="0"/>
              </a:rPr>
              <a:t>Электронный документооборот</a:t>
            </a:r>
          </a:p>
        </p:txBody>
      </p:sp>
      <p:sp>
        <p:nvSpPr>
          <p:cNvPr id="4" name="Параллелограмм 3">
            <a:extLst>
              <a:ext uri="{FF2B5EF4-FFF2-40B4-BE49-F238E27FC236}">
                <a16:creationId xmlns:a16="http://schemas.microsoft.com/office/drawing/2014/main" xmlns="" id="{241C7FC4-FEFA-4A96-9749-9068C68611E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4115474" y="2"/>
            <a:ext cx="3961053" cy="6857998"/>
          </a:xfrm>
          <a:prstGeom prst="parallelogram">
            <a:avLst>
              <a:gd name="adj" fmla="val 0"/>
            </a:avLst>
          </a:prstGeom>
          <a:gradFill>
            <a:gsLst>
              <a:gs pos="25100">
                <a:srgbClr val="ADB783"/>
              </a:gs>
              <a:gs pos="0">
                <a:srgbClr val="98CFA7"/>
              </a:gs>
              <a:gs pos="100000">
                <a:schemeClr val="accent1"/>
              </a:gs>
              <a:gs pos="100000">
                <a:srgbClr val="70AEDE"/>
              </a:gs>
              <a:gs pos="84121">
                <a:srgbClr val="DF7F2D"/>
              </a:gs>
              <a:gs pos="0">
                <a:srgbClr val="7CEFD8"/>
              </a:gs>
              <a:gs pos="100000">
                <a:srgbClr val="6672E4"/>
              </a:gs>
              <a:gs pos="45000">
                <a:srgbClr val="882BE5"/>
              </a:gs>
            </a:gsLst>
            <a:lin ang="5400000" scaled="1"/>
          </a:gra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14" name="Надпись 13">
            <a:extLst>
              <a:ext uri="{FF2B5EF4-FFF2-40B4-BE49-F238E27FC236}">
                <a16:creationId xmlns:a16="http://schemas.microsoft.com/office/drawing/2014/main" xmlns="" id="{A5704BA3-593E-4519-9139-4E1D86366677}"/>
              </a:ext>
            </a:extLst>
          </p:cNvPr>
          <p:cNvSpPr txBox="1"/>
          <p:nvPr/>
        </p:nvSpPr>
        <p:spPr>
          <a:xfrm>
            <a:off x="4453458" y="1227906"/>
            <a:ext cx="30451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ru-RU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хнологии цифровизации:</a:t>
            </a:r>
          </a:p>
        </p:txBody>
      </p: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xmlns="" id="{EBB415A0-39A4-4597-926D-819C333166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/>
        </p:nvGrpSpPr>
        <p:grpSpPr>
          <a:xfrm>
            <a:off x="4490387" y="2034832"/>
            <a:ext cx="3075334" cy="3748863"/>
            <a:chOff x="4711392" y="2125063"/>
            <a:chExt cx="3075333" cy="3748863"/>
          </a:xfrm>
        </p:grpSpPr>
        <p:grpSp>
          <p:nvGrpSpPr>
            <p:cNvPr id="99" name="Группа 98">
              <a:extLst>
                <a:ext uri="{FF2B5EF4-FFF2-40B4-BE49-F238E27FC236}">
                  <a16:creationId xmlns:a16="http://schemas.microsoft.com/office/drawing/2014/main" xmlns="" id="{6E4AB604-CF34-4776-BFF1-9AD3477F593C}"/>
                </a:ext>
              </a:extLst>
            </p:cNvPr>
            <p:cNvGrpSpPr/>
            <p:nvPr/>
          </p:nvGrpSpPr>
          <p:grpSpPr>
            <a:xfrm>
              <a:off x="4719329" y="2125063"/>
              <a:ext cx="3067396" cy="419259"/>
              <a:chOff x="5063285" y="2128413"/>
              <a:chExt cx="3067396" cy="419259"/>
            </a:xfrm>
          </p:grpSpPr>
          <p:sp>
            <p:nvSpPr>
              <p:cNvPr id="12" name="Прямоугольник 11">
                <a:extLst>
                  <a:ext uri="{FF2B5EF4-FFF2-40B4-BE49-F238E27FC236}">
                    <a16:creationId xmlns:a16="http://schemas.microsoft.com/office/drawing/2014/main" xmlns="" id="{267E4A54-8A0F-43A0-AA7D-F508F05BB2EF}"/>
                  </a:ext>
                </a:extLst>
              </p:cNvPr>
              <p:cNvSpPr/>
              <p:nvPr/>
            </p:nvSpPr>
            <p:spPr>
              <a:xfrm>
                <a:off x="5642387" y="2128413"/>
                <a:ext cx="2488294" cy="246221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rtl="0"/>
                <a:r>
                  <a:rPr lang="ru-RU" sz="1600" i="1" dirty="0">
                    <a:solidFill>
                      <a:schemeClr val="bg1"/>
                    </a:solidFill>
                    <a:latin typeface="+mj-lt"/>
                    <a:cs typeface="Segoe UI" panose="020B0502040204020203" pitchFamily="34" charset="0"/>
                  </a:rPr>
                  <a:t>Облачные данные </a:t>
                </a:r>
              </a:p>
            </p:txBody>
          </p:sp>
          <p:grpSp>
            <p:nvGrpSpPr>
              <p:cNvPr id="51" name="Группа 50">
                <a:extLst>
                  <a:ext uri="{FF2B5EF4-FFF2-40B4-BE49-F238E27FC236}">
                    <a16:creationId xmlns:a16="http://schemas.microsoft.com/office/drawing/2014/main" xmlns="" id="{0B97B3C9-EBC6-4C92-9F0A-E28F4EF7A5EA}"/>
                  </a:ext>
                </a:extLst>
              </p:cNvPr>
              <p:cNvGrpSpPr/>
              <p:nvPr/>
            </p:nvGrpSpPr>
            <p:grpSpPr>
              <a:xfrm>
                <a:off x="5063285" y="2201597"/>
                <a:ext cx="330200" cy="346075"/>
                <a:chOff x="2686050" y="2895601"/>
                <a:chExt cx="330200" cy="346075"/>
              </a:xfrm>
            </p:grpSpPr>
            <p:sp>
              <p:nvSpPr>
                <p:cNvPr id="52" name="Овал 309">
                  <a:extLst>
                    <a:ext uri="{FF2B5EF4-FFF2-40B4-BE49-F238E27FC236}">
                      <a16:creationId xmlns:a16="http://schemas.microsoft.com/office/drawing/2014/main" xmlns="" id="{00D7C237-71FC-445A-9F26-101C7B72A66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09875" y="2895601"/>
                  <a:ext cx="82550" cy="82550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53" name="Полилиния 310">
                  <a:extLst>
                    <a:ext uri="{FF2B5EF4-FFF2-40B4-BE49-F238E27FC236}">
                      <a16:creationId xmlns:a16="http://schemas.microsoft.com/office/drawing/2014/main" xmlns="" id="{66875E49-12B2-4689-93D2-F6C3DFA574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82888" y="2978151"/>
                  <a:ext cx="134938" cy="66675"/>
                </a:xfrm>
                <a:custGeom>
                  <a:avLst/>
                  <a:gdLst>
                    <a:gd name="T0" fmla="*/ 36 w 36"/>
                    <a:gd name="T1" fmla="*/ 18 h 18"/>
                    <a:gd name="T2" fmla="*/ 0 w 36"/>
                    <a:gd name="T3" fmla="*/ 18 h 18"/>
                    <a:gd name="T4" fmla="*/ 18 w 36"/>
                    <a:gd name="T5" fmla="*/ 0 h 18"/>
                    <a:gd name="T6" fmla="*/ 36 w 36"/>
                    <a:gd name="T7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" h="18">
                      <a:moveTo>
                        <a:pt x="36" y="18"/>
                      </a:move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28" y="0"/>
                        <a:pt x="36" y="8"/>
                        <a:pt x="36" y="18"/>
                      </a:cubicBezTo>
                      <a:close/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54" name="Овал 311">
                  <a:extLst>
                    <a:ext uri="{FF2B5EF4-FFF2-40B4-BE49-F238E27FC236}">
                      <a16:creationId xmlns:a16="http://schemas.microsoft.com/office/drawing/2014/main" xmlns="" id="{79E812C8-6A14-42FA-B983-56B6F730341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08275" y="3128963"/>
                  <a:ext cx="60325" cy="5873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55" name="Полилиния 312">
                  <a:extLst>
                    <a:ext uri="{FF2B5EF4-FFF2-40B4-BE49-F238E27FC236}">
                      <a16:creationId xmlns:a16="http://schemas.microsoft.com/office/drawing/2014/main" xmlns="" id="{6EE140AE-95E2-42D6-8343-EED0E01B8E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86050" y="3187701"/>
                  <a:ext cx="104775" cy="53975"/>
                </a:xfrm>
                <a:custGeom>
                  <a:avLst/>
                  <a:gdLst>
                    <a:gd name="T0" fmla="*/ 28 w 28"/>
                    <a:gd name="T1" fmla="*/ 14 h 14"/>
                    <a:gd name="T2" fmla="*/ 0 w 28"/>
                    <a:gd name="T3" fmla="*/ 14 h 14"/>
                    <a:gd name="T4" fmla="*/ 14 w 28"/>
                    <a:gd name="T5" fmla="*/ 0 h 14"/>
                    <a:gd name="T6" fmla="*/ 28 w 28"/>
                    <a:gd name="T7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8" h="14">
                      <a:moveTo>
                        <a:pt x="28" y="14"/>
                      </a:move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6"/>
                        <a:pt x="6" y="0"/>
                        <a:pt x="14" y="0"/>
                      </a:cubicBezTo>
                      <a:cubicBezTo>
                        <a:pt x="22" y="0"/>
                        <a:pt x="28" y="6"/>
                        <a:pt x="28" y="14"/>
                      </a:cubicBezTo>
                      <a:close/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56" name="Овал 313">
                  <a:extLst>
                    <a:ext uri="{FF2B5EF4-FFF2-40B4-BE49-F238E27FC236}">
                      <a16:creationId xmlns:a16="http://schemas.microsoft.com/office/drawing/2014/main" xmlns="" id="{A91A4C56-03CB-4D67-8CD8-FC29B3A2B6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33700" y="3128963"/>
                  <a:ext cx="60325" cy="5873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57" name="Полилиния 314">
                  <a:extLst>
                    <a:ext uri="{FF2B5EF4-FFF2-40B4-BE49-F238E27FC236}">
                      <a16:creationId xmlns:a16="http://schemas.microsoft.com/office/drawing/2014/main" xmlns="" id="{4BF4DB61-E50C-4659-B315-21BF743FF7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1475" y="3187701"/>
                  <a:ext cx="104775" cy="53975"/>
                </a:xfrm>
                <a:custGeom>
                  <a:avLst/>
                  <a:gdLst>
                    <a:gd name="T0" fmla="*/ 28 w 28"/>
                    <a:gd name="T1" fmla="*/ 14 h 14"/>
                    <a:gd name="T2" fmla="*/ 0 w 28"/>
                    <a:gd name="T3" fmla="*/ 14 h 14"/>
                    <a:gd name="T4" fmla="*/ 14 w 28"/>
                    <a:gd name="T5" fmla="*/ 0 h 14"/>
                    <a:gd name="T6" fmla="*/ 28 w 28"/>
                    <a:gd name="T7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8" h="14">
                      <a:moveTo>
                        <a:pt x="28" y="14"/>
                      </a:move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6"/>
                        <a:pt x="6" y="0"/>
                        <a:pt x="14" y="0"/>
                      </a:cubicBezTo>
                      <a:cubicBezTo>
                        <a:pt x="22" y="0"/>
                        <a:pt x="28" y="6"/>
                        <a:pt x="28" y="14"/>
                      </a:cubicBezTo>
                      <a:close/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58" name="Овал 315">
                  <a:extLst>
                    <a:ext uri="{FF2B5EF4-FFF2-40B4-BE49-F238E27FC236}">
                      <a16:creationId xmlns:a16="http://schemas.microsoft.com/office/drawing/2014/main" xmlns="" id="{263D783B-3857-4E55-A551-6655D8DDA1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33700" y="3128963"/>
                  <a:ext cx="60325" cy="5873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59" name="Полилиния 316">
                  <a:extLst>
                    <a:ext uri="{FF2B5EF4-FFF2-40B4-BE49-F238E27FC236}">
                      <a16:creationId xmlns:a16="http://schemas.microsoft.com/office/drawing/2014/main" xmlns="" id="{E46D5622-D664-481B-8902-70C961FAFD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1475" y="3187701"/>
                  <a:ext cx="104775" cy="53975"/>
                </a:xfrm>
                <a:custGeom>
                  <a:avLst/>
                  <a:gdLst>
                    <a:gd name="T0" fmla="*/ 28 w 28"/>
                    <a:gd name="T1" fmla="*/ 14 h 14"/>
                    <a:gd name="T2" fmla="*/ 0 w 28"/>
                    <a:gd name="T3" fmla="*/ 14 h 14"/>
                    <a:gd name="T4" fmla="*/ 14 w 28"/>
                    <a:gd name="T5" fmla="*/ 0 h 14"/>
                    <a:gd name="T6" fmla="*/ 28 w 28"/>
                    <a:gd name="T7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8" h="14">
                      <a:moveTo>
                        <a:pt x="28" y="14"/>
                      </a:move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6"/>
                        <a:pt x="6" y="0"/>
                        <a:pt x="14" y="0"/>
                      </a:cubicBezTo>
                      <a:cubicBezTo>
                        <a:pt x="22" y="0"/>
                        <a:pt x="28" y="6"/>
                        <a:pt x="28" y="14"/>
                      </a:cubicBezTo>
                      <a:close/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60" name="Овал 317">
                  <a:extLst>
                    <a:ext uri="{FF2B5EF4-FFF2-40B4-BE49-F238E27FC236}">
                      <a16:creationId xmlns:a16="http://schemas.microsoft.com/office/drawing/2014/main" xmlns="" id="{5BDC2AA3-8653-47C6-9CF7-2579486BFF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20988" y="3128963"/>
                  <a:ext cx="60325" cy="5873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61" name="Полилиния 318">
                  <a:extLst>
                    <a:ext uri="{FF2B5EF4-FFF2-40B4-BE49-F238E27FC236}">
                      <a16:creationId xmlns:a16="http://schemas.microsoft.com/office/drawing/2014/main" xmlns="" id="{3A66D3FE-E235-4203-A19F-BC38BF7A6C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98763" y="3187701"/>
                  <a:ext cx="104775" cy="53975"/>
                </a:xfrm>
                <a:custGeom>
                  <a:avLst/>
                  <a:gdLst>
                    <a:gd name="T0" fmla="*/ 28 w 28"/>
                    <a:gd name="T1" fmla="*/ 14 h 14"/>
                    <a:gd name="T2" fmla="*/ 0 w 28"/>
                    <a:gd name="T3" fmla="*/ 14 h 14"/>
                    <a:gd name="T4" fmla="*/ 14 w 28"/>
                    <a:gd name="T5" fmla="*/ 0 h 14"/>
                    <a:gd name="T6" fmla="*/ 28 w 28"/>
                    <a:gd name="T7" fmla="*/ 1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8" h="14">
                      <a:moveTo>
                        <a:pt x="28" y="14"/>
                      </a:move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6"/>
                        <a:pt x="6" y="0"/>
                        <a:pt x="14" y="0"/>
                      </a:cubicBezTo>
                      <a:cubicBezTo>
                        <a:pt x="22" y="0"/>
                        <a:pt x="28" y="6"/>
                        <a:pt x="28" y="14"/>
                      </a:cubicBezTo>
                      <a:close/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62" name="Полилиния 319">
                  <a:extLst>
                    <a:ext uri="{FF2B5EF4-FFF2-40B4-BE49-F238E27FC236}">
                      <a16:creationId xmlns:a16="http://schemas.microsoft.com/office/drawing/2014/main" xmlns="" id="{6C51C0E5-2DAE-4DE1-BAE4-8E0D932D99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8438" y="3074988"/>
                  <a:ext cx="225425" cy="15875"/>
                </a:xfrm>
                <a:custGeom>
                  <a:avLst/>
                  <a:gdLst>
                    <a:gd name="T0" fmla="*/ 0 w 142"/>
                    <a:gd name="T1" fmla="*/ 10 h 10"/>
                    <a:gd name="T2" fmla="*/ 0 w 142"/>
                    <a:gd name="T3" fmla="*/ 0 h 10"/>
                    <a:gd name="T4" fmla="*/ 142 w 142"/>
                    <a:gd name="T5" fmla="*/ 0 h 10"/>
                    <a:gd name="T6" fmla="*/ 142 w 142"/>
                    <a:gd name="T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2" h="10">
                      <a:moveTo>
                        <a:pt x="0" y="10"/>
                      </a:moveTo>
                      <a:lnTo>
                        <a:pt x="0" y="0"/>
                      </a:lnTo>
                      <a:lnTo>
                        <a:pt x="142" y="0"/>
                      </a:lnTo>
                      <a:lnTo>
                        <a:pt x="142" y="10"/>
                      </a:lnTo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63" name="Линия 320">
                  <a:extLst>
                    <a:ext uri="{FF2B5EF4-FFF2-40B4-BE49-F238E27FC236}">
                      <a16:creationId xmlns:a16="http://schemas.microsoft.com/office/drawing/2014/main" xmlns="" id="{FED6DFE8-0963-48D1-9BAA-53772F0EA83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851150" y="3044826"/>
                  <a:ext cx="0" cy="46038"/>
                </a:xfrm>
                <a:prstGeom prst="lin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</p:grpSp>
        </p:grpSp>
        <p:grpSp>
          <p:nvGrpSpPr>
            <p:cNvPr id="98" name="Группа 97">
              <a:extLst>
                <a:ext uri="{FF2B5EF4-FFF2-40B4-BE49-F238E27FC236}">
                  <a16:creationId xmlns:a16="http://schemas.microsoft.com/office/drawing/2014/main" xmlns="" id="{EF34A4EB-3F1D-46DA-8918-F39703249E85}"/>
                </a:ext>
              </a:extLst>
            </p:cNvPr>
            <p:cNvGrpSpPr/>
            <p:nvPr/>
          </p:nvGrpSpPr>
          <p:grpSpPr>
            <a:xfrm>
              <a:off x="4711392" y="3113161"/>
              <a:ext cx="3075333" cy="492443"/>
              <a:chOff x="5055348" y="2856123"/>
              <a:chExt cx="3075333" cy="492443"/>
            </a:xfrm>
          </p:grpSpPr>
          <p:grpSp>
            <p:nvGrpSpPr>
              <p:cNvPr id="15" name="Группа 14">
                <a:extLst>
                  <a:ext uri="{FF2B5EF4-FFF2-40B4-BE49-F238E27FC236}">
                    <a16:creationId xmlns:a16="http://schemas.microsoft.com/office/drawing/2014/main" xmlns="" id="{E136D759-25F2-4CF2-9BE6-769681C37E48}"/>
                  </a:ext>
                </a:extLst>
              </p:cNvPr>
              <p:cNvGrpSpPr/>
              <p:nvPr/>
            </p:nvGrpSpPr>
            <p:grpSpPr>
              <a:xfrm>
                <a:off x="5055348" y="2929307"/>
                <a:ext cx="346075" cy="346075"/>
                <a:chOff x="3398838" y="2895601"/>
                <a:chExt cx="346075" cy="346075"/>
              </a:xfrm>
            </p:grpSpPr>
            <p:sp>
              <p:nvSpPr>
                <p:cNvPr id="16" name="Полилиния 49">
                  <a:extLst>
                    <a:ext uri="{FF2B5EF4-FFF2-40B4-BE49-F238E27FC236}">
                      <a16:creationId xmlns:a16="http://schemas.microsoft.com/office/drawing/2014/main" xmlns="" id="{56CCB68B-57D2-49CC-B61F-363F0FF3AD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98838" y="2986089"/>
                  <a:ext cx="82550" cy="58738"/>
                </a:xfrm>
                <a:custGeom>
                  <a:avLst/>
                  <a:gdLst>
                    <a:gd name="T0" fmla="*/ 14 w 22"/>
                    <a:gd name="T1" fmla="*/ 0 h 16"/>
                    <a:gd name="T2" fmla="*/ 14 w 22"/>
                    <a:gd name="T3" fmla="*/ 6 h 16"/>
                    <a:gd name="T4" fmla="*/ 4 w 22"/>
                    <a:gd name="T5" fmla="*/ 9 h 16"/>
                    <a:gd name="T6" fmla="*/ 0 w 22"/>
                    <a:gd name="T7" fmla="*/ 14 h 16"/>
                    <a:gd name="T8" fmla="*/ 0 w 22"/>
                    <a:gd name="T9" fmla="*/ 16 h 16"/>
                    <a:gd name="T10" fmla="*/ 22 w 22"/>
                    <a:gd name="T11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16">
                      <a:moveTo>
                        <a:pt x="14" y="0"/>
                      </a:move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4" y="9"/>
                        <a:pt x="4" y="9"/>
                        <a:pt x="4" y="9"/>
                      </a:cubicBezTo>
                      <a:cubicBezTo>
                        <a:pt x="2" y="10"/>
                        <a:pt x="0" y="12"/>
                        <a:pt x="0" y="14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22" y="16"/>
                        <a:pt x="22" y="16"/>
                        <a:pt x="22" y="16"/>
                      </a:cubicBezTo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17" name="Полилиния 50">
                  <a:extLst>
                    <a:ext uri="{FF2B5EF4-FFF2-40B4-BE49-F238E27FC236}">
                      <a16:creationId xmlns:a16="http://schemas.microsoft.com/office/drawing/2014/main" xmlns="" id="{67F96EFD-DA55-4AD5-BA45-4313C3E981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67101" y="2986089"/>
                  <a:ext cx="82550" cy="58738"/>
                </a:xfrm>
                <a:custGeom>
                  <a:avLst/>
                  <a:gdLst>
                    <a:gd name="T0" fmla="*/ 8 w 22"/>
                    <a:gd name="T1" fmla="*/ 0 h 16"/>
                    <a:gd name="T2" fmla="*/ 8 w 22"/>
                    <a:gd name="T3" fmla="*/ 6 h 16"/>
                    <a:gd name="T4" fmla="*/ 18 w 22"/>
                    <a:gd name="T5" fmla="*/ 9 h 16"/>
                    <a:gd name="T6" fmla="*/ 22 w 22"/>
                    <a:gd name="T7" fmla="*/ 14 h 16"/>
                    <a:gd name="T8" fmla="*/ 22 w 22"/>
                    <a:gd name="T9" fmla="*/ 16 h 16"/>
                    <a:gd name="T10" fmla="*/ 0 w 22"/>
                    <a:gd name="T11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16">
                      <a:moveTo>
                        <a:pt x="8" y="0"/>
                      </a:move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18" y="9"/>
                        <a:pt x="18" y="9"/>
                        <a:pt x="18" y="9"/>
                      </a:cubicBezTo>
                      <a:cubicBezTo>
                        <a:pt x="20" y="10"/>
                        <a:pt x="22" y="12"/>
                        <a:pt x="22" y="14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0" y="16"/>
                        <a:pt x="0" y="16"/>
                        <a:pt x="0" y="16"/>
                      </a:cubicBezTo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18" name="Овал 51">
                  <a:extLst>
                    <a:ext uri="{FF2B5EF4-FFF2-40B4-BE49-F238E27FC236}">
                      <a16:creationId xmlns:a16="http://schemas.microsoft.com/office/drawing/2014/main" xmlns="" id="{F372C151-C001-4280-B771-9A239086CC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29001" y="2895601"/>
                  <a:ext cx="90488" cy="96838"/>
                </a:xfrm>
                <a:prstGeom prst="ellipse">
                  <a:avLst/>
                </a:pr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19" name="Полилиния 52">
                  <a:extLst>
                    <a:ext uri="{FF2B5EF4-FFF2-40B4-BE49-F238E27FC236}">
                      <a16:creationId xmlns:a16="http://schemas.microsoft.com/office/drawing/2014/main" xmlns="" id="{D3FA7893-F8A0-4F72-ACCF-CF4CE6E4B9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29001" y="2928939"/>
                  <a:ext cx="90488" cy="14288"/>
                </a:xfrm>
                <a:custGeom>
                  <a:avLst/>
                  <a:gdLst>
                    <a:gd name="T0" fmla="*/ 24 w 24"/>
                    <a:gd name="T1" fmla="*/ 2 h 4"/>
                    <a:gd name="T2" fmla="*/ 14 w 24"/>
                    <a:gd name="T3" fmla="*/ 0 h 4"/>
                    <a:gd name="T4" fmla="*/ 0 w 24"/>
                    <a:gd name="T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4">
                      <a:moveTo>
                        <a:pt x="24" y="2"/>
                      </a:moveTo>
                      <a:cubicBezTo>
                        <a:pt x="22" y="4"/>
                        <a:pt x="16" y="4"/>
                        <a:pt x="14" y="0"/>
                      </a:cubicBezTo>
                      <a:cubicBezTo>
                        <a:pt x="10" y="4"/>
                        <a:pt x="3" y="4"/>
                        <a:pt x="0" y="1"/>
                      </a:cubicBezTo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20" name="Полилиния 53">
                  <a:extLst>
                    <a:ext uri="{FF2B5EF4-FFF2-40B4-BE49-F238E27FC236}">
                      <a16:creationId xmlns:a16="http://schemas.microsoft.com/office/drawing/2014/main" xmlns="" id="{C017CF38-81FD-491D-9BA4-35D01D4D42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4101" y="2986089"/>
                  <a:ext cx="82550" cy="58738"/>
                </a:xfrm>
                <a:custGeom>
                  <a:avLst/>
                  <a:gdLst>
                    <a:gd name="T0" fmla="*/ 14 w 22"/>
                    <a:gd name="T1" fmla="*/ 0 h 16"/>
                    <a:gd name="T2" fmla="*/ 14 w 22"/>
                    <a:gd name="T3" fmla="*/ 6 h 16"/>
                    <a:gd name="T4" fmla="*/ 4 w 22"/>
                    <a:gd name="T5" fmla="*/ 9 h 16"/>
                    <a:gd name="T6" fmla="*/ 0 w 22"/>
                    <a:gd name="T7" fmla="*/ 14 h 16"/>
                    <a:gd name="T8" fmla="*/ 0 w 22"/>
                    <a:gd name="T9" fmla="*/ 16 h 16"/>
                    <a:gd name="T10" fmla="*/ 22 w 22"/>
                    <a:gd name="T11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16">
                      <a:moveTo>
                        <a:pt x="14" y="0"/>
                      </a:move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4" y="9"/>
                        <a:pt x="4" y="9"/>
                        <a:pt x="4" y="9"/>
                      </a:cubicBezTo>
                      <a:cubicBezTo>
                        <a:pt x="2" y="10"/>
                        <a:pt x="0" y="12"/>
                        <a:pt x="0" y="14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22" y="16"/>
                        <a:pt x="22" y="16"/>
                        <a:pt x="22" y="16"/>
                      </a:cubicBezTo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21" name="Полилиния 54">
                  <a:extLst>
                    <a:ext uri="{FF2B5EF4-FFF2-40B4-BE49-F238E27FC236}">
                      <a16:creationId xmlns:a16="http://schemas.microsoft.com/office/drawing/2014/main" xmlns="" id="{99433936-BA1A-40A3-959B-047AFFF78F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62363" y="2986089"/>
                  <a:ext cx="82550" cy="58738"/>
                </a:xfrm>
                <a:custGeom>
                  <a:avLst/>
                  <a:gdLst>
                    <a:gd name="T0" fmla="*/ 8 w 22"/>
                    <a:gd name="T1" fmla="*/ 0 h 16"/>
                    <a:gd name="T2" fmla="*/ 8 w 22"/>
                    <a:gd name="T3" fmla="*/ 6 h 16"/>
                    <a:gd name="T4" fmla="*/ 18 w 22"/>
                    <a:gd name="T5" fmla="*/ 9 h 16"/>
                    <a:gd name="T6" fmla="*/ 22 w 22"/>
                    <a:gd name="T7" fmla="*/ 14 h 16"/>
                    <a:gd name="T8" fmla="*/ 22 w 22"/>
                    <a:gd name="T9" fmla="*/ 16 h 16"/>
                    <a:gd name="T10" fmla="*/ 0 w 22"/>
                    <a:gd name="T11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16">
                      <a:moveTo>
                        <a:pt x="8" y="0"/>
                      </a:move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18" y="9"/>
                        <a:pt x="18" y="9"/>
                        <a:pt x="18" y="9"/>
                      </a:cubicBezTo>
                      <a:cubicBezTo>
                        <a:pt x="20" y="10"/>
                        <a:pt x="22" y="12"/>
                        <a:pt x="22" y="14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0" y="16"/>
                        <a:pt x="0" y="16"/>
                        <a:pt x="0" y="16"/>
                      </a:cubicBezTo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22" name="Овал 55">
                  <a:extLst>
                    <a:ext uri="{FF2B5EF4-FFF2-40B4-BE49-F238E27FC236}">
                      <a16:creationId xmlns:a16="http://schemas.microsoft.com/office/drawing/2014/main" xmlns="" id="{BDA2F5A8-B23C-499E-9267-3DC7A37FA7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24263" y="2895601"/>
                  <a:ext cx="90488" cy="96838"/>
                </a:xfrm>
                <a:prstGeom prst="ellipse">
                  <a:avLst/>
                </a:pr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23" name="Полилиния 56">
                  <a:extLst>
                    <a:ext uri="{FF2B5EF4-FFF2-40B4-BE49-F238E27FC236}">
                      <a16:creationId xmlns:a16="http://schemas.microsoft.com/office/drawing/2014/main" xmlns="" id="{099EF59E-5EEF-46B5-962D-A5FD94EA51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24263" y="2928939"/>
                  <a:ext cx="90488" cy="14288"/>
                </a:xfrm>
                <a:custGeom>
                  <a:avLst/>
                  <a:gdLst>
                    <a:gd name="T0" fmla="*/ 24 w 24"/>
                    <a:gd name="T1" fmla="*/ 2 h 4"/>
                    <a:gd name="T2" fmla="*/ 14 w 24"/>
                    <a:gd name="T3" fmla="*/ 0 h 4"/>
                    <a:gd name="T4" fmla="*/ 0 w 24"/>
                    <a:gd name="T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4">
                      <a:moveTo>
                        <a:pt x="24" y="2"/>
                      </a:moveTo>
                      <a:cubicBezTo>
                        <a:pt x="22" y="4"/>
                        <a:pt x="16" y="4"/>
                        <a:pt x="14" y="0"/>
                      </a:cubicBezTo>
                      <a:cubicBezTo>
                        <a:pt x="10" y="4"/>
                        <a:pt x="3" y="4"/>
                        <a:pt x="0" y="1"/>
                      </a:cubicBezTo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24" name="Полилиния 57">
                  <a:extLst>
                    <a:ext uri="{FF2B5EF4-FFF2-40B4-BE49-F238E27FC236}">
                      <a16:creationId xmlns:a16="http://schemas.microsoft.com/office/drawing/2014/main" xmlns="" id="{FCE54361-37E3-4F52-B33F-6FAA345B48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7263" y="3181351"/>
                  <a:ext cx="82550" cy="60325"/>
                </a:xfrm>
                <a:custGeom>
                  <a:avLst/>
                  <a:gdLst>
                    <a:gd name="T0" fmla="*/ 14 w 22"/>
                    <a:gd name="T1" fmla="*/ 0 h 16"/>
                    <a:gd name="T2" fmla="*/ 14 w 22"/>
                    <a:gd name="T3" fmla="*/ 6 h 16"/>
                    <a:gd name="T4" fmla="*/ 4 w 22"/>
                    <a:gd name="T5" fmla="*/ 9 h 16"/>
                    <a:gd name="T6" fmla="*/ 0 w 22"/>
                    <a:gd name="T7" fmla="*/ 14 h 16"/>
                    <a:gd name="T8" fmla="*/ 0 w 22"/>
                    <a:gd name="T9" fmla="*/ 16 h 16"/>
                    <a:gd name="T10" fmla="*/ 22 w 22"/>
                    <a:gd name="T11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16">
                      <a:moveTo>
                        <a:pt x="14" y="0"/>
                      </a:moveTo>
                      <a:cubicBezTo>
                        <a:pt x="14" y="6"/>
                        <a:pt x="14" y="6"/>
                        <a:pt x="14" y="6"/>
                      </a:cubicBezTo>
                      <a:cubicBezTo>
                        <a:pt x="4" y="9"/>
                        <a:pt x="4" y="9"/>
                        <a:pt x="4" y="9"/>
                      </a:cubicBezTo>
                      <a:cubicBezTo>
                        <a:pt x="2" y="10"/>
                        <a:pt x="0" y="12"/>
                        <a:pt x="0" y="14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22" y="16"/>
                        <a:pt x="22" y="16"/>
                        <a:pt x="22" y="16"/>
                      </a:cubicBezTo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25" name="Полилиния 58">
                  <a:extLst>
                    <a:ext uri="{FF2B5EF4-FFF2-40B4-BE49-F238E27FC236}">
                      <a16:creationId xmlns:a16="http://schemas.microsoft.com/office/drawing/2014/main" xmlns="" id="{78645E47-D178-4E95-8459-77D1D8FF64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3938" y="3181351"/>
                  <a:ext cx="82550" cy="60325"/>
                </a:xfrm>
                <a:custGeom>
                  <a:avLst/>
                  <a:gdLst>
                    <a:gd name="T0" fmla="*/ 8 w 22"/>
                    <a:gd name="T1" fmla="*/ 0 h 16"/>
                    <a:gd name="T2" fmla="*/ 8 w 22"/>
                    <a:gd name="T3" fmla="*/ 6 h 16"/>
                    <a:gd name="T4" fmla="*/ 18 w 22"/>
                    <a:gd name="T5" fmla="*/ 9 h 16"/>
                    <a:gd name="T6" fmla="*/ 22 w 22"/>
                    <a:gd name="T7" fmla="*/ 14 h 16"/>
                    <a:gd name="T8" fmla="*/ 22 w 22"/>
                    <a:gd name="T9" fmla="*/ 16 h 16"/>
                    <a:gd name="T10" fmla="*/ 0 w 22"/>
                    <a:gd name="T11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2" h="16">
                      <a:moveTo>
                        <a:pt x="8" y="0"/>
                      </a:move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18" y="9"/>
                        <a:pt x="18" y="9"/>
                        <a:pt x="18" y="9"/>
                      </a:cubicBezTo>
                      <a:cubicBezTo>
                        <a:pt x="20" y="10"/>
                        <a:pt x="22" y="12"/>
                        <a:pt x="22" y="14"/>
                      </a:cubicBezTo>
                      <a:cubicBezTo>
                        <a:pt x="22" y="16"/>
                        <a:pt x="22" y="16"/>
                        <a:pt x="22" y="16"/>
                      </a:cubicBezTo>
                      <a:cubicBezTo>
                        <a:pt x="0" y="16"/>
                        <a:pt x="0" y="16"/>
                        <a:pt x="0" y="16"/>
                      </a:cubicBezTo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26" name="Овал 59">
                  <a:extLst>
                    <a:ext uri="{FF2B5EF4-FFF2-40B4-BE49-F238E27FC236}">
                      <a16:creationId xmlns:a16="http://schemas.microsoft.com/office/drawing/2014/main" xmlns="" id="{7854B272-51DE-4F9C-A5CA-3532EA082A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27426" y="3090864"/>
                  <a:ext cx="88900" cy="96838"/>
                </a:xfrm>
                <a:prstGeom prst="ellipse">
                  <a:avLst/>
                </a:pr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27" name="Полилиния 60">
                  <a:extLst>
                    <a:ext uri="{FF2B5EF4-FFF2-40B4-BE49-F238E27FC236}">
                      <a16:creationId xmlns:a16="http://schemas.microsoft.com/office/drawing/2014/main" xmlns="" id="{814DA909-0D02-4070-A399-CC0263BE57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7426" y="3124201"/>
                  <a:ext cx="88900" cy="15875"/>
                </a:xfrm>
                <a:custGeom>
                  <a:avLst/>
                  <a:gdLst>
                    <a:gd name="T0" fmla="*/ 24 w 24"/>
                    <a:gd name="T1" fmla="*/ 2 h 4"/>
                    <a:gd name="T2" fmla="*/ 14 w 24"/>
                    <a:gd name="T3" fmla="*/ 0 h 4"/>
                    <a:gd name="T4" fmla="*/ 0 w 24"/>
                    <a:gd name="T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4" h="4">
                      <a:moveTo>
                        <a:pt x="24" y="2"/>
                      </a:moveTo>
                      <a:cubicBezTo>
                        <a:pt x="22" y="4"/>
                        <a:pt x="16" y="4"/>
                        <a:pt x="14" y="0"/>
                      </a:cubicBezTo>
                      <a:cubicBezTo>
                        <a:pt x="10" y="4"/>
                        <a:pt x="3" y="4"/>
                        <a:pt x="0" y="1"/>
                      </a:cubicBezTo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28" name="Линия 61">
                  <a:extLst>
                    <a:ext uri="{FF2B5EF4-FFF2-40B4-BE49-F238E27FC236}">
                      <a16:creationId xmlns:a16="http://schemas.microsoft.com/office/drawing/2014/main" xmlns="" id="{5899F489-EDA7-4EC2-826F-95D6DBC7656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451226" y="3074989"/>
                  <a:ext cx="38100" cy="38100"/>
                </a:xfrm>
                <a:prstGeom prst="lin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29" name="Линия 62">
                  <a:extLst>
                    <a:ext uri="{FF2B5EF4-FFF2-40B4-BE49-F238E27FC236}">
                      <a16:creationId xmlns:a16="http://schemas.microsoft.com/office/drawing/2014/main" xmlns="" id="{83CCE497-C8F7-4970-AE29-490A81B267C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654426" y="3074989"/>
                  <a:ext cx="38100" cy="38100"/>
                </a:xfrm>
                <a:prstGeom prst="lin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</p:grpSp>
          <p:sp>
            <p:nvSpPr>
              <p:cNvPr id="65" name="Прямоугольник 64">
                <a:extLst>
                  <a:ext uri="{FF2B5EF4-FFF2-40B4-BE49-F238E27FC236}">
                    <a16:creationId xmlns:a16="http://schemas.microsoft.com/office/drawing/2014/main" xmlns="" id="{D600301E-404F-4763-892B-EE1C3109F4D3}"/>
                  </a:ext>
                </a:extLst>
              </p:cNvPr>
              <p:cNvSpPr/>
              <p:nvPr/>
            </p:nvSpPr>
            <p:spPr>
              <a:xfrm>
                <a:off x="5642387" y="2856123"/>
                <a:ext cx="2488294" cy="492443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rtl="0"/>
                <a:r>
                  <a:rPr lang="ru-RU" sz="1600" i="1" dirty="0">
                    <a:solidFill>
                      <a:schemeClr val="bg1"/>
                    </a:solidFill>
                    <a:latin typeface="+mj-lt"/>
                    <a:cs typeface="Segoe UI" panose="020B0502040204020203" pitchFamily="34" charset="0"/>
                  </a:rPr>
                  <a:t>Открытые интерфейсы (</a:t>
                </a:r>
                <a:r>
                  <a:rPr lang="en-US" sz="1600" i="1" dirty="0">
                    <a:solidFill>
                      <a:schemeClr val="bg1"/>
                    </a:solidFill>
                    <a:latin typeface="+mj-lt"/>
                    <a:cs typeface="Segoe UI" panose="020B0502040204020203" pitchFamily="34" charset="0"/>
                  </a:rPr>
                  <a:t>API)</a:t>
                </a:r>
                <a:endParaRPr lang="ru-RU" sz="1600" i="1" dirty="0">
                  <a:solidFill>
                    <a:schemeClr val="bg1"/>
                  </a:solidFill>
                  <a:latin typeface="+mj-lt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97" name="Группа 96">
              <a:extLst>
                <a:ext uri="{FF2B5EF4-FFF2-40B4-BE49-F238E27FC236}">
                  <a16:creationId xmlns:a16="http://schemas.microsoft.com/office/drawing/2014/main" xmlns="" id="{7375CECE-C8C6-426B-9A8C-EB696D69F141}"/>
                </a:ext>
              </a:extLst>
            </p:cNvPr>
            <p:cNvGrpSpPr/>
            <p:nvPr/>
          </p:nvGrpSpPr>
          <p:grpSpPr>
            <a:xfrm>
              <a:off x="4719329" y="4101260"/>
              <a:ext cx="3067396" cy="404178"/>
              <a:chOff x="5063285" y="3639850"/>
              <a:chExt cx="3067396" cy="404178"/>
            </a:xfrm>
          </p:grpSpPr>
          <p:grpSp>
            <p:nvGrpSpPr>
              <p:cNvPr id="41" name="Группа 40">
                <a:extLst>
                  <a:ext uri="{FF2B5EF4-FFF2-40B4-BE49-F238E27FC236}">
                    <a16:creationId xmlns:a16="http://schemas.microsoft.com/office/drawing/2014/main" xmlns="" id="{6974775F-B291-4B53-B461-88835C383ED5}"/>
                  </a:ext>
                </a:extLst>
              </p:cNvPr>
              <p:cNvGrpSpPr/>
              <p:nvPr/>
            </p:nvGrpSpPr>
            <p:grpSpPr>
              <a:xfrm>
                <a:off x="5063285" y="3728115"/>
                <a:ext cx="330200" cy="315913"/>
                <a:chOff x="4127500" y="2909888"/>
                <a:chExt cx="330200" cy="315913"/>
              </a:xfrm>
            </p:grpSpPr>
            <p:sp>
              <p:nvSpPr>
                <p:cNvPr id="42" name="Овал 268">
                  <a:extLst>
                    <a:ext uri="{FF2B5EF4-FFF2-40B4-BE49-F238E27FC236}">
                      <a16:creationId xmlns:a16="http://schemas.microsoft.com/office/drawing/2014/main" xmlns="" id="{FE9D5F51-D5BF-438E-8442-591451564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49725" y="3060701"/>
                  <a:ext cx="76200" cy="74613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43" name="Полилиния 269">
                  <a:extLst>
                    <a:ext uri="{FF2B5EF4-FFF2-40B4-BE49-F238E27FC236}">
                      <a16:creationId xmlns:a16="http://schemas.microsoft.com/office/drawing/2014/main" xmlns="" id="{4514A40D-D6F0-4AD6-9605-37581D312E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27500" y="3135313"/>
                  <a:ext cx="109538" cy="60325"/>
                </a:xfrm>
                <a:custGeom>
                  <a:avLst/>
                  <a:gdLst>
                    <a:gd name="T0" fmla="*/ 22 w 29"/>
                    <a:gd name="T1" fmla="*/ 16 h 16"/>
                    <a:gd name="T2" fmla="*/ 0 w 29"/>
                    <a:gd name="T3" fmla="*/ 16 h 16"/>
                    <a:gd name="T4" fmla="*/ 16 w 29"/>
                    <a:gd name="T5" fmla="*/ 0 h 16"/>
                    <a:gd name="T6" fmla="*/ 29 w 29"/>
                    <a:gd name="T7" fmla="*/ 7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" h="16">
                      <a:moveTo>
                        <a:pt x="22" y="16"/>
                      </a:move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0" y="7"/>
                        <a:pt x="7" y="0"/>
                        <a:pt x="16" y="0"/>
                      </a:cubicBezTo>
                      <a:cubicBezTo>
                        <a:pt x="21" y="0"/>
                        <a:pt x="26" y="3"/>
                        <a:pt x="29" y="7"/>
                      </a:cubicBezTo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44" name="Овал 270">
                  <a:extLst>
                    <a:ext uri="{FF2B5EF4-FFF2-40B4-BE49-F238E27FC236}">
                      <a16:creationId xmlns:a16="http://schemas.microsoft.com/office/drawing/2014/main" xmlns="" id="{B605F216-E7D2-42D4-8BCF-4B68365DD59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60863" y="3060701"/>
                  <a:ext cx="74613" cy="74613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45" name="Полилиния 271">
                  <a:extLst>
                    <a:ext uri="{FF2B5EF4-FFF2-40B4-BE49-F238E27FC236}">
                      <a16:creationId xmlns:a16="http://schemas.microsoft.com/office/drawing/2014/main" xmlns="" id="{7221B60C-9DC7-49BE-9845-B55F67481A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49750" y="3135313"/>
                  <a:ext cx="107950" cy="60325"/>
                </a:xfrm>
                <a:custGeom>
                  <a:avLst/>
                  <a:gdLst>
                    <a:gd name="T0" fmla="*/ 0 w 29"/>
                    <a:gd name="T1" fmla="*/ 7 h 16"/>
                    <a:gd name="T2" fmla="*/ 13 w 29"/>
                    <a:gd name="T3" fmla="*/ 0 h 16"/>
                    <a:gd name="T4" fmla="*/ 29 w 29"/>
                    <a:gd name="T5" fmla="*/ 16 h 16"/>
                    <a:gd name="T6" fmla="*/ 7 w 29"/>
                    <a:gd name="T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" h="16">
                      <a:moveTo>
                        <a:pt x="0" y="7"/>
                      </a:moveTo>
                      <a:cubicBezTo>
                        <a:pt x="3" y="3"/>
                        <a:pt x="8" y="0"/>
                        <a:pt x="13" y="0"/>
                      </a:cubicBezTo>
                      <a:cubicBezTo>
                        <a:pt x="22" y="0"/>
                        <a:pt x="29" y="7"/>
                        <a:pt x="29" y="16"/>
                      </a:cubicBezTo>
                      <a:cubicBezTo>
                        <a:pt x="7" y="16"/>
                        <a:pt x="7" y="16"/>
                        <a:pt x="7" y="16"/>
                      </a:cubicBezTo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46" name="Овал 272">
                  <a:extLst>
                    <a:ext uri="{FF2B5EF4-FFF2-40B4-BE49-F238E27FC236}">
                      <a16:creationId xmlns:a16="http://schemas.microsoft.com/office/drawing/2014/main" xmlns="" id="{F7CDF7AF-4200-420D-ACFE-5F2B36CC0F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40213" y="3030538"/>
                  <a:ext cx="104775" cy="109538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47" name="Полилиния 273">
                  <a:extLst>
                    <a:ext uri="{FF2B5EF4-FFF2-40B4-BE49-F238E27FC236}">
                      <a16:creationId xmlns:a16="http://schemas.microsoft.com/office/drawing/2014/main" xmlns="" id="{1A3F4268-4FB7-4106-9CDA-E5DFAC4ABF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14813" y="2986088"/>
                  <a:ext cx="157163" cy="36513"/>
                </a:xfrm>
                <a:custGeom>
                  <a:avLst/>
                  <a:gdLst>
                    <a:gd name="T0" fmla="*/ 0 w 42"/>
                    <a:gd name="T1" fmla="*/ 10 h 10"/>
                    <a:gd name="T2" fmla="*/ 21 w 42"/>
                    <a:gd name="T3" fmla="*/ 0 h 10"/>
                    <a:gd name="T4" fmla="*/ 42 w 42"/>
                    <a:gd name="T5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2" h="10">
                      <a:moveTo>
                        <a:pt x="0" y="10"/>
                      </a:moveTo>
                      <a:cubicBezTo>
                        <a:pt x="5" y="4"/>
                        <a:pt x="13" y="0"/>
                        <a:pt x="21" y="0"/>
                      </a:cubicBezTo>
                      <a:cubicBezTo>
                        <a:pt x="29" y="0"/>
                        <a:pt x="37" y="4"/>
                        <a:pt x="42" y="10"/>
                      </a:cubicBezTo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48" name="Полилиния 274">
                  <a:extLst>
                    <a:ext uri="{FF2B5EF4-FFF2-40B4-BE49-F238E27FC236}">
                      <a16:creationId xmlns:a16="http://schemas.microsoft.com/office/drawing/2014/main" xmlns="" id="{090011F9-93DA-4E08-8197-0237F3720B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87825" y="2947988"/>
                  <a:ext cx="211138" cy="49213"/>
                </a:xfrm>
                <a:custGeom>
                  <a:avLst/>
                  <a:gdLst>
                    <a:gd name="T0" fmla="*/ 0 w 56"/>
                    <a:gd name="T1" fmla="*/ 13 h 13"/>
                    <a:gd name="T2" fmla="*/ 28 w 56"/>
                    <a:gd name="T3" fmla="*/ 0 h 13"/>
                    <a:gd name="T4" fmla="*/ 56 w 56"/>
                    <a:gd name="T5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6" h="13">
                      <a:moveTo>
                        <a:pt x="0" y="13"/>
                      </a:moveTo>
                      <a:cubicBezTo>
                        <a:pt x="7" y="5"/>
                        <a:pt x="17" y="0"/>
                        <a:pt x="28" y="0"/>
                      </a:cubicBezTo>
                      <a:cubicBezTo>
                        <a:pt x="39" y="0"/>
                        <a:pt x="49" y="5"/>
                        <a:pt x="56" y="13"/>
                      </a:cubicBezTo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49" name="Полилиния 275">
                  <a:extLst>
                    <a:ext uri="{FF2B5EF4-FFF2-40B4-BE49-F238E27FC236}">
                      <a16:creationId xmlns:a16="http://schemas.microsoft.com/office/drawing/2014/main" xmlns="" id="{832AB0A3-F36E-4927-8E0D-E0C36586B7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57663" y="2909888"/>
                  <a:ext cx="269875" cy="63500"/>
                </a:xfrm>
                <a:custGeom>
                  <a:avLst/>
                  <a:gdLst>
                    <a:gd name="T0" fmla="*/ 0 w 72"/>
                    <a:gd name="T1" fmla="*/ 17 h 17"/>
                    <a:gd name="T2" fmla="*/ 36 w 72"/>
                    <a:gd name="T3" fmla="*/ 0 h 17"/>
                    <a:gd name="T4" fmla="*/ 72 w 72"/>
                    <a:gd name="T5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2" h="17">
                      <a:moveTo>
                        <a:pt x="0" y="17"/>
                      </a:moveTo>
                      <a:cubicBezTo>
                        <a:pt x="8" y="7"/>
                        <a:pt x="21" y="0"/>
                        <a:pt x="36" y="0"/>
                      </a:cubicBezTo>
                      <a:cubicBezTo>
                        <a:pt x="51" y="0"/>
                        <a:pt x="64" y="7"/>
                        <a:pt x="72" y="17"/>
                      </a:cubicBezTo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50" name="Полилиния 276">
                  <a:extLst>
                    <a:ext uri="{FF2B5EF4-FFF2-40B4-BE49-F238E27FC236}">
                      <a16:creationId xmlns:a16="http://schemas.microsoft.com/office/drawing/2014/main" xmlns="" id="{69185BBE-8B01-4042-9127-5E91F9AA4D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06875" y="3140076"/>
                  <a:ext cx="173038" cy="85725"/>
                </a:xfrm>
                <a:custGeom>
                  <a:avLst/>
                  <a:gdLst>
                    <a:gd name="T0" fmla="*/ 46 w 46"/>
                    <a:gd name="T1" fmla="*/ 23 h 23"/>
                    <a:gd name="T2" fmla="*/ 0 w 46"/>
                    <a:gd name="T3" fmla="*/ 23 h 23"/>
                    <a:gd name="T4" fmla="*/ 23 w 46"/>
                    <a:gd name="T5" fmla="*/ 0 h 23"/>
                    <a:gd name="T6" fmla="*/ 46 w 46"/>
                    <a:gd name="T7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6" h="23">
                      <a:moveTo>
                        <a:pt x="46" y="23"/>
                      </a:move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0"/>
                        <a:pt x="10" y="0"/>
                        <a:pt x="23" y="0"/>
                      </a:cubicBezTo>
                      <a:cubicBezTo>
                        <a:pt x="36" y="0"/>
                        <a:pt x="46" y="10"/>
                        <a:pt x="46" y="23"/>
                      </a:cubicBezTo>
                      <a:close/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</p:grpSp>
          <p:sp>
            <p:nvSpPr>
              <p:cNvPr id="81" name="Прямоугольник 80">
                <a:extLst>
                  <a:ext uri="{FF2B5EF4-FFF2-40B4-BE49-F238E27FC236}">
                    <a16:creationId xmlns:a16="http://schemas.microsoft.com/office/drawing/2014/main" xmlns="" id="{E7E16F25-9A73-4F49-8593-4DDEE2A8AB5D}"/>
                  </a:ext>
                </a:extLst>
              </p:cNvPr>
              <p:cNvSpPr/>
              <p:nvPr/>
            </p:nvSpPr>
            <p:spPr>
              <a:xfrm>
                <a:off x="5642387" y="3639850"/>
                <a:ext cx="2488294" cy="246221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rtl="0"/>
                <a:r>
                  <a:rPr lang="ru-RU" sz="1600" i="1" dirty="0">
                    <a:solidFill>
                      <a:schemeClr val="bg1"/>
                    </a:solidFill>
                    <a:latin typeface="+mj-lt"/>
                    <a:cs typeface="Segoe UI" panose="020B0502040204020203" pitchFamily="34" charset="0"/>
                  </a:rPr>
                  <a:t>Электронные платежи </a:t>
                </a:r>
              </a:p>
            </p:txBody>
          </p:sp>
        </p:grpSp>
        <p:grpSp>
          <p:nvGrpSpPr>
            <p:cNvPr id="96" name="Группа 95">
              <a:extLst>
                <a:ext uri="{FF2B5EF4-FFF2-40B4-BE49-F238E27FC236}">
                  <a16:creationId xmlns:a16="http://schemas.microsoft.com/office/drawing/2014/main" xmlns="" id="{B7DB03EE-BB00-488A-B451-6DF7DA5AC981}"/>
                </a:ext>
              </a:extLst>
            </p:cNvPr>
            <p:cNvGrpSpPr/>
            <p:nvPr/>
          </p:nvGrpSpPr>
          <p:grpSpPr>
            <a:xfrm>
              <a:off x="4712185" y="5089358"/>
              <a:ext cx="3074540" cy="419259"/>
              <a:chOff x="5056141" y="4560242"/>
              <a:chExt cx="3074540" cy="419259"/>
            </a:xfrm>
          </p:grpSpPr>
          <p:grpSp>
            <p:nvGrpSpPr>
              <p:cNvPr id="30" name="Группа 29">
                <a:extLst>
                  <a:ext uri="{FF2B5EF4-FFF2-40B4-BE49-F238E27FC236}">
                    <a16:creationId xmlns:a16="http://schemas.microsoft.com/office/drawing/2014/main" xmlns="" id="{2FED15E3-F2A7-469C-B628-611921767E34}"/>
                  </a:ext>
                </a:extLst>
              </p:cNvPr>
              <p:cNvGrpSpPr/>
              <p:nvPr/>
            </p:nvGrpSpPr>
            <p:grpSpPr>
              <a:xfrm>
                <a:off x="5056141" y="4633426"/>
                <a:ext cx="344488" cy="346075"/>
                <a:chOff x="4841875" y="2895601"/>
                <a:chExt cx="344488" cy="346075"/>
              </a:xfrm>
            </p:grpSpPr>
            <p:sp>
              <p:nvSpPr>
                <p:cNvPr id="31" name="Полилиния 258">
                  <a:extLst>
                    <a:ext uri="{FF2B5EF4-FFF2-40B4-BE49-F238E27FC236}">
                      <a16:creationId xmlns:a16="http://schemas.microsoft.com/office/drawing/2014/main" xmlns="" id="{66F1D3E8-8C01-4B14-8A55-CA0D336560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16488" y="2895601"/>
                  <a:ext cx="195263" cy="195263"/>
                </a:xfrm>
                <a:custGeom>
                  <a:avLst/>
                  <a:gdLst>
                    <a:gd name="T0" fmla="*/ 52 w 52"/>
                    <a:gd name="T1" fmla="*/ 26 h 52"/>
                    <a:gd name="T2" fmla="*/ 26 w 52"/>
                    <a:gd name="T3" fmla="*/ 52 h 52"/>
                    <a:gd name="T4" fmla="*/ 0 w 52"/>
                    <a:gd name="T5" fmla="*/ 25 h 52"/>
                    <a:gd name="T6" fmla="*/ 25 w 52"/>
                    <a:gd name="T7" fmla="*/ 0 h 52"/>
                    <a:gd name="T8" fmla="*/ 26 w 52"/>
                    <a:gd name="T9" fmla="*/ 0 h 52"/>
                    <a:gd name="T10" fmla="*/ 52 w 52"/>
                    <a:gd name="T11" fmla="*/ 26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2" h="52">
                      <a:moveTo>
                        <a:pt x="52" y="26"/>
                      </a:moveTo>
                      <a:cubicBezTo>
                        <a:pt x="52" y="40"/>
                        <a:pt x="40" y="52"/>
                        <a:pt x="26" y="52"/>
                      </a:cubicBezTo>
                      <a:cubicBezTo>
                        <a:pt x="12" y="52"/>
                        <a:pt x="0" y="40"/>
                        <a:pt x="0" y="25"/>
                      </a:cubicBezTo>
                      <a:cubicBezTo>
                        <a:pt x="0" y="11"/>
                        <a:pt x="11" y="1"/>
                        <a:pt x="25" y="0"/>
                      </a:cubicBezTo>
                      <a:cubicBezTo>
                        <a:pt x="25" y="0"/>
                        <a:pt x="26" y="0"/>
                        <a:pt x="26" y="0"/>
                      </a:cubicBezTo>
                      <a:cubicBezTo>
                        <a:pt x="40" y="0"/>
                        <a:pt x="52" y="11"/>
                        <a:pt x="52" y="26"/>
                      </a:cubicBezTo>
                      <a:close/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32" name="Полилиния 259">
                  <a:extLst>
                    <a:ext uri="{FF2B5EF4-FFF2-40B4-BE49-F238E27FC236}">
                      <a16:creationId xmlns:a16="http://schemas.microsoft.com/office/drawing/2014/main" xmlns="" id="{C7E4337D-67E8-477B-8284-B0579D0160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57763" y="2895601"/>
                  <a:ext cx="52388" cy="195263"/>
                </a:xfrm>
                <a:custGeom>
                  <a:avLst/>
                  <a:gdLst>
                    <a:gd name="T0" fmla="*/ 14 w 14"/>
                    <a:gd name="T1" fmla="*/ 0 h 52"/>
                    <a:gd name="T2" fmla="*/ 14 w 14"/>
                    <a:gd name="T3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4" h="52">
                      <a:moveTo>
                        <a:pt x="14" y="0"/>
                      </a:moveTo>
                      <a:cubicBezTo>
                        <a:pt x="0" y="15"/>
                        <a:pt x="0" y="34"/>
                        <a:pt x="14" y="52"/>
                      </a:cubicBezTo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33" name="Полилиния 260">
                  <a:extLst>
                    <a:ext uri="{FF2B5EF4-FFF2-40B4-BE49-F238E27FC236}">
                      <a16:creationId xmlns:a16="http://schemas.microsoft.com/office/drawing/2014/main" xmlns="" id="{C2AF1AB5-D96A-4C19-BE80-2C8A0736E9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8088" y="2895601"/>
                  <a:ext cx="52388" cy="195263"/>
                </a:xfrm>
                <a:custGeom>
                  <a:avLst/>
                  <a:gdLst>
                    <a:gd name="T0" fmla="*/ 0 w 14"/>
                    <a:gd name="T1" fmla="*/ 0 h 52"/>
                    <a:gd name="T2" fmla="*/ 0 w 14"/>
                    <a:gd name="T3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4" h="52">
                      <a:moveTo>
                        <a:pt x="0" y="0"/>
                      </a:moveTo>
                      <a:cubicBezTo>
                        <a:pt x="14" y="15"/>
                        <a:pt x="14" y="34"/>
                        <a:pt x="0" y="52"/>
                      </a:cubicBezTo>
                    </a:path>
                  </a:pathLst>
                </a:cu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34" name="Линия 261">
                  <a:extLst>
                    <a:ext uri="{FF2B5EF4-FFF2-40B4-BE49-F238E27FC236}">
                      <a16:creationId xmlns:a16="http://schemas.microsoft.com/office/drawing/2014/main" xmlns="" id="{FF7B7042-5F74-4182-89DF-79E95F07483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32363" y="3044826"/>
                  <a:ext cx="165100" cy="0"/>
                </a:xfrm>
                <a:prstGeom prst="line">
                  <a:avLst/>
                </a:pr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35" name="Линия 262">
                  <a:extLst>
                    <a:ext uri="{FF2B5EF4-FFF2-40B4-BE49-F238E27FC236}">
                      <a16:creationId xmlns:a16="http://schemas.microsoft.com/office/drawing/2014/main" xmlns="" id="{6D40A249-C0DF-492C-98A0-5563396CED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32363" y="2940051"/>
                  <a:ext cx="165100" cy="0"/>
                </a:xfrm>
                <a:prstGeom prst="line">
                  <a:avLst/>
                </a:pr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36" name="Линия 263">
                  <a:extLst>
                    <a:ext uri="{FF2B5EF4-FFF2-40B4-BE49-F238E27FC236}">
                      <a16:creationId xmlns:a16="http://schemas.microsoft.com/office/drawing/2014/main" xmlns="" id="{0424966D-2E93-463D-925D-8EC1314AA4C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16488" y="2992438"/>
                  <a:ext cx="195263" cy="0"/>
                </a:xfrm>
                <a:prstGeom prst="line">
                  <a:avLst/>
                </a:prstGeom>
                <a:noFill/>
                <a:ln w="14288" cap="flat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37" name="Овал 264">
                  <a:extLst>
                    <a:ext uri="{FF2B5EF4-FFF2-40B4-BE49-F238E27FC236}">
                      <a16:creationId xmlns:a16="http://schemas.microsoft.com/office/drawing/2014/main" xmlns="" id="{A2027076-84C0-41AA-ABE6-E182664DD1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64100" y="3105151"/>
                  <a:ext cx="74613" cy="76200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38" name="Овал 265">
                  <a:extLst>
                    <a:ext uri="{FF2B5EF4-FFF2-40B4-BE49-F238E27FC236}">
                      <a16:creationId xmlns:a16="http://schemas.microsoft.com/office/drawing/2014/main" xmlns="" id="{34911030-E1C4-47C6-B878-AB9504619E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76813" y="3105151"/>
                  <a:ext cx="74613" cy="76200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39" name="Овал 266">
                  <a:extLst>
                    <a:ext uri="{FF2B5EF4-FFF2-40B4-BE49-F238E27FC236}">
                      <a16:creationId xmlns:a16="http://schemas.microsoft.com/office/drawing/2014/main" xmlns="" id="{872A828C-C960-409B-BA85-F3FA58C5877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89525" y="3105151"/>
                  <a:ext cx="74613" cy="76200"/>
                </a:xfrm>
                <a:prstGeom prst="ellipse">
                  <a:avLst/>
                </a:pr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  <p:sp>
              <p:nvSpPr>
                <p:cNvPr id="40" name="Полилиния 267">
                  <a:extLst>
                    <a:ext uri="{FF2B5EF4-FFF2-40B4-BE49-F238E27FC236}">
                      <a16:creationId xmlns:a16="http://schemas.microsoft.com/office/drawing/2014/main" xmlns="" id="{111031BF-F147-4673-B7D2-BAB9FDE013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41875" y="3181351"/>
                  <a:ext cx="344488" cy="60325"/>
                </a:xfrm>
                <a:custGeom>
                  <a:avLst/>
                  <a:gdLst>
                    <a:gd name="T0" fmla="*/ 76 w 92"/>
                    <a:gd name="T1" fmla="*/ 0 h 16"/>
                    <a:gd name="T2" fmla="*/ 61 w 92"/>
                    <a:gd name="T3" fmla="*/ 11 h 16"/>
                    <a:gd name="T4" fmla="*/ 46 w 92"/>
                    <a:gd name="T5" fmla="*/ 0 h 16"/>
                    <a:gd name="T6" fmla="*/ 31 w 92"/>
                    <a:gd name="T7" fmla="*/ 11 h 16"/>
                    <a:gd name="T8" fmla="*/ 16 w 92"/>
                    <a:gd name="T9" fmla="*/ 0 h 16"/>
                    <a:gd name="T10" fmla="*/ 0 w 92"/>
                    <a:gd name="T11" fmla="*/ 16 h 16"/>
                    <a:gd name="T12" fmla="*/ 92 w 92"/>
                    <a:gd name="T13" fmla="*/ 16 h 16"/>
                    <a:gd name="T14" fmla="*/ 76 w 92"/>
                    <a:gd name="T15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2" h="16">
                      <a:moveTo>
                        <a:pt x="76" y="0"/>
                      </a:moveTo>
                      <a:cubicBezTo>
                        <a:pt x="69" y="0"/>
                        <a:pt x="63" y="4"/>
                        <a:pt x="61" y="11"/>
                      </a:cubicBezTo>
                      <a:cubicBezTo>
                        <a:pt x="59" y="4"/>
                        <a:pt x="53" y="0"/>
                        <a:pt x="46" y="0"/>
                      </a:cubicBezTo>
                      <a:cubicBezTo>
                        <a:pt x="39" y="0"/>
                        <a:pt x="33" y="4"/>
                        <a:pt x="31" y="11"/>
                      </a:cubicBezTo>
                      <a:cubicBezTo>
                        <a:pt x="29" y="4"/>
                        <a:pt x="23" y="0"/>
                        <a:pt x="16" y="0"/>
                      </a:cubicBezTo>
                      <a:cubicBezTo>
                        <a:pt x="7" y="0"/>
                        <a:pt x="0" y="8"/>
                        <a:pt x="0" y="16"/>
                      </a:cubicBezTo>
                      <a:cubicBezTo>
                        <a:pt x="92" y="16"/>
                        <a:pt x="92" y="16"/>
                        <a:pt x="92" y="16"/>
                      </a:cubicBezTo>
                      <a:cubicBezTo>
                        <a:pt x="92" y="8"/>
                        <a:pt x="85" y="0"/>
                        <a:pt x="76" y="0"/>
                      </a:cubicBezTo>
                      <a:close/>
                    </a:path>
                  </a:pathLst>
                </a:custGeom>
                <a:noFill/>
                <a:ln w="14288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rtl="0"/>
                  <a:endParaRPr lang="ru-RU" dirty="0"/>
                </a:p>
              </p:txBody>
            </p:sp>
          </p:grpSp>
          <p:sp>
            <p:nvSpPr>
              <p:cNvPr id="94" name="Прямоугольник 93">
                <a:extLst>
                  <a:ext uri="{FF2B5EF4-FFF2-40B4-BE49-F238E27FC236}">
                    <a16:creationId xmlns:a16="http://schemas.microsoft.com/office/drawing/2014/main" xmlns="" id="{9482C2C4-A83F-481A-A4DA-8A5D9AD7A680}"/>
                  </a:ext>
                </a:extLst>
              </p:cNvPr>
              <p:cNvSpPr/>
              <p:nvPr/>
            </p:nvSpPr>
            <p:spPr>
              <a:xfrm>
                <a:off x="5642387" y="4560242"/>
                <a:ext cx="2488294" cy="246221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rtl="0"/>
                <a:r>
                  <a:rPr lang="ru-RU" sz="1600" i="1" dirty="0">
                    <a:solidFill>
                      <a:schemeClr val="bg1"/>
                    </a:solidFill>
                    <a:latin typeface="+mj-lt"/>
                    <a:cs typeface="Segoe UI" panose="020B0502040204020203" pitchFamily="34" charset="0"/>
                  </a:rPr>
                  <a:t>Нейросети и ИИ </a:t>
                </a:r>
              </a:p>
            </p:txBody>
          </p:sp>
        </p:grpSp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xmlns="" id="{4AF81162-F8E5-4429-8E39-AF70CBB53233}"/>
                </a:ext>
              </a:extLst>
            </p:cNvPr>
            <p:cNvGrpSpPr/>
            <p:nvPr/>
          </p:nvGrpSpPr>
          <p:grpSpPr>
            <a:xfrm>
              <a:off x="5298431" y="2821035"/>
              <a:ext cx="2421164" cy="88596"/>
              <a:chOff x="4674462" y="2940354"/>
              <a:chExt cx="3045133" cy="81030"/>
            </a:xfrm>
          </p:grpSpPr>
          <p:sp>
            <p:nvSpPr>
              <p:cNvPr id="7" name="Прямоугольник: Скругленные углы 6">
                <a:extLst>
                  <a:ext uri="{FF2B5EF4-FFF2-40B4-BE49-F238E27FC236}">
                    <a16:creationId xmlns:a16="http://schemas.microsoft.com/office/drawing/2014/main" xmlns="" id="{946F7D42-7783-4AA6-ADD6-AB6D2DF05CAF}"/>
                  </a:ext>
                </a:extLst>
              </p:cNvPr>
              <p:cNvSpPr/>
              <p:nvPr/>
            </p:nvSpPr>
            <p:spPr>
              <a:xfrm>
                <a:off x="4674462" y="2940367"/>
                <a:ext cx="3045133" cy="81017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6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  <p:sp>
            <p:nvSpPr>
              <p:cNvPr id="71" name="Прямоугольник: Скругленные углы 70">
                <a:extLst>
                  <a:ext uri="{FF2B5EF4-FFF2-40B4-BE49-F238E27FC236}">
                    <a16:creationId xmlns:a16="http://schemas.microsoft.com/office/drawing/2014/main" xmlns="" id="{0A78528F-E9CB-4B99-BD4F-A6AE016C76C8}"/>
                  </a:ext>
                </a:extLst>
              </p:cNvPr>
              <p:cNvSpPr/>
              <p:nvPr/>
            </p:nvSpPr>
            <p:spPr>
              <a:xfrm>
                <a:off x="4674463" y="2940354"/>
                <a:ext cx="1834287" cy="81017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6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</p:grpSp>
        <p:grpSp>
          <p:nvGrpSpPr>
            <p:cNvPr id="78" name="Группа 77">
              <a:extLst>
                <a:ext uri="{FF2B5EF4-FFF2-40B4-BE49-F238E27FC236}">
                  <a16:creationId xmlns:a16="http://schemas.microsoft.com/office/drawing/2014/main" xmlns="" id="{19E0996D-AF4A-4FFB-A88F-2FEE0A9EDCD2}"/>
                </a:ext>
              </a:extLst>
            </p:cNvPr>
            <p:cNvGrpSpPr/>
            <p:nvPr/>
          </p:nvGrpSpPr>
          <p:grpSpPr>
            <a:xfrm>
              <a:off x="5298431" y="3809133"/>
              <a:ext cx="2421164" cy="88596"/>
              <a:chOff x="4674462" y="2940354"/>
              <a:chExt cx="3045133" cy="81030"/>
            </a:xfrm>
          </p:grpSpPr>
          <p:sp>
            <p:nvSpPr>
              <p:cNvPr id="79" name="Прямоугольник: Скругленные углы 78">
                <a:extLst>
                  <a:ext uri="{FF2B5EF4-FFF2-40B4-BE49-F238E27FC236}">
                    <a16:creationId xmlns:a16="http://schemas.microsoft.com/office/drawing/2014/main" xmlns="" id="{214774FE-1FFD-4D64-8A37-76CB44EB021C}"/>
                  </a:ext>
                </a:extLst>
              </p:cNvPr>
              <p:cNvSpPr/>
              <p:nvPr/>
            </p:nvSpPr>
            <p:spPr>
              <a:xfrm>
                <a:off x="4674462" y="2940367"/>
                <a:ext cx="3045133" cy="81017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6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  <p:sp>
            <p:nvSpPr>
              <p:cNvPr id="80" name="Прямоугольник: Скругленные углы 79">
                <a:extLst>
                  <a:ext uri="{FF2B5EF4-FFF2-40B4-BE49-F238E27FC236}">
                    <a16:creationId xmlns:a16="http://schemas.microsoft.com/office/drawing/2014/main" xmlns="" id="{CCFD5BBD-3EB8-4D70-947E-F5AFBFF96EC0}"/>
                  </a:ext>
                </a:extLst>
              </p:cNvPr>
              <p:cNvSpPr/>
              <p:nvPr/>
            </p:nvSpPr>
            <p:spPr>
              <a:xfrm>
                <a:off x="4674465" y="2940354"/>
                <a:ext cx="1569155" cy="81017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6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</p:grpSp>
        <p:grpSp>
          <p:nvGrpSpPr>
            <p:cNvPr id="83" name="Группа 82">
              <a:extLst>
                <a:ext uri="{FF2B5EF4-FFF2-40B4-BE49-F238E27FC236}">
                  <a16:creationId xmlns:a16="http://schemas.microsoft.com/office/drawing/2014/main" xmlns="" id="{FBA54A74-91C7-4A8E-8256-29CECA65EBE5}"/>
                </a:ext>
              </a:extLst>
            </p:cNvPr>
            <p:cNvGrpSpPr/>
            <p:nvPr/>
          </p:nvGrpSpPr>
          <p:grpSpPr>
            <a:xfrm>
              <a:off x="5298431" y="4797232"/>
              <a:ext cx="2421164" cy="88596"/>
              <a:chOff x="4674462" y="2940354"/>
              <a:chExt cx="3045133" cy="81030"/>
            </a:xfrm>
          </p:grpSpPr>
          <p:sp>
            <p:nvSpPr>
              <p:cNvPr id="84" name="Прямоугольник: Скругленные углы 83">
                <a:extLst>
                  <a:ext uri="{FF2B5EF4-FFF2-40B4-BE49-F238E27FC236}">
                    <a16:creationId xmlns:a16="http://schemas.microsoft.com/office/drawing/2014/main" xmlns="" id="{BAF05105-E146-4A76-80BC-D132339D80CC}"/>
                  </a:ext>
                </a:extLst>
              </p:cNvPr>
              <p:cNvSpPr/>
              <p:nvPr/>
            </p:nvSpPr>
            <p:spPr>
              <a:xfrm>
                <a:off x="4674462" y="2940367"/>
                <a:ext cx="3045133" cy="81017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6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  <p:sp>
            <p:nvSpPr>
              <p:cNvPr id="85" name="Прямоугольник: Скругленные углы 84">
                <a:extLst>
                  <a:ext uri="{FF2B5EF4-FFF2-40B4-BE49-F238E27FC236}">
                    <a16:creationId xmlns:a16="http://schemas.microsoft.com/office/drawing/2014/main" xmlns="" id="{C85F8D48-F497-4FF4-86A4-A306F3F0ED91}"/>
                  </a:ext>
                </a:extLst>
              </p:cNvPr>
              <p:cNvSpPr/>
              <p:nvPr/>
            </p:nvSpPr>
            <p:spPr>
              <a:xfrm>
                <a:off x="4674463" y="2940354"/>
                <a:ext cx="2392762" cy="81017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6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</p:grpSp>
        <p:grpSp>
          <p:nvGrpSpPr>
            <p:cNvPr id="87" name="Группа 86">
              <a:extLst>
                <a:ext uri="{FF2B5EF4-FFF2-40B4-BE49-F238E27FC236}">
                  <a16:creationId xmlns:a16="http://schemas.microsoft.com/office/drawing/2014/main" xmlns="" id="{C7ADDD0C-4947-4DFD-8604-1C7FC185D6F1}"/>
                </a:ext>
              </a:extLst>
            </p:cNvPr>
            <p:cNvGrpSpPr/>
            <p:nvPr/>
          </p:nvGrpSpPr>
          <p:grpSpPr>
            <a:xfrm>
              <a:off x="5298431" y="5785330"/>
              <a:ext cx="2421164" cy="88596"/>
              <a:chOff x="4674462" y="2940354"/>
              <a:chExt cx="3045133" cy="81030"/>
            </a:xfrm>
          </p:grpSpPr>
          <p:sp>
            <p:nvSpPr>
              <p:cNvPr id="88" name="Прямоугольник: Скругленные углы 87">
                <a:extLst>
                  <a:ext uri="{FF2B5EF4-FFF2-40B4-BE49-F238E27FC236}">
                    <a16:creationId xmlns:a16="http://schemas.microsoft.com/office/drawing/2014/main" xmlns="" id="{3EE0ED0C-1321-4AB3-B03A-B7AD85571E6C}"/>
                  </a:ext>
                </a:extLst>
              </p:cNvPr>
              <p:cNvSpPr/>
              <p:nvPr/>
            </p:nvSpPr>
            <p:spPr>
              <a:xfrm>
                <a:off x="4674462" y="2940367"/>
                <a:ext cx="3045133" cy="81017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6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  <p:sp>
            <p:nvSpPr>
              <p:cNvPr id="89" name="Прямоугольник: Скругленные углы 88">
                <a:extLst>
                  <a:ext uri="{FF2B5EF4-FFF2-40B4-BE49-F238E27FC236}">
                    <a16:creationId xmlns:a16="http://schemas.microsoft.com/office/drawing/2014/main" xmlns="" id="{4409F7EA-DE17-4C15-80F3-78361F8366BE}"/>
                  </a:ext>
                </a:extLst>
              </p:cNvPr>
              <p:cNvSpPr/>
              <p:nvPr/>
            </p:nvSpPr>
            <p:spPr>
              <a:xfrm>
                <a:off x="4674465" y="2940354"/>
                <a:ext cx="949205" cy="81017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6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ru-RU" dirty="0"/>
              </a:p>
            </p:txBody>
          </p:sp>
        </p:grp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xmlns="" id="{294AEDC0-6B1D-4A3D-860D-83756CC387D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/>
        </p:nvGrpSpPr>
        <p:grpSpPr>
          <a:xfrm>
            <a:off x="8446733" y="1300475"/>
            <a:ext cx="3105342" cy="5229218"/>
            <a:chOff x="8462691" y="1300476"/>
            <a:chExt cx="3105342" cy="5016793"/>
          </a:xfrm>
        </p:grpSpPr>
        <p:sp>
          <p:nvSpPr>
            <p:cNvPr id="101" name="Надпись 100">
              <a:extLst>
                <a:ext uri="{FF2B5EF4-FFF2-40B4-BE49-F238E27FC236}">
                  <a16:creationId xmlns:a16="http://schemas.microsoft.com/office/drawing/2014/main" xmlns="" id="{CAECCF3F-B2FA-4F0A-96EE-B54207D66547}"/>
                </a:ext>
              </a:extLst>
            </p:cNvPr>
            <p:cNvSpPr txBox="1"/>
            <p:nvPr/>
          </p:nvSpPr>
          <p:spPr>
            <a:xfrm>
              <a:off x="8462691" y="1300476"/>
              <a:ext cx="304713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rtl="0"/>
              <a:r>
                <a:rPr lang="ru-RU" sz="16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Автоматизация сбора и регистрации данных</a:t>
              </a:r>
            </a:p>
          </p:txBody>
        </p:sp>
        <p:sp>
          <p:nvSpPr>
            <p:cNvPr id="103" name="Прямоугольник 102">
              <a:extLst>
                <a:ext uri="{FF2B5EF4-FFF2-40B4-BE49-F238E27FC236}">
                  <a16:creationId xmlns:a16="http://schemas.microsoft.com/office/drawing/2014/main" xmlns="" id="{CDAD2E5F-3DBB-47BA-B90E-DDB45972B6AF}"/>
                </a:ext>
              </a:extLst>
            </p:cNvPr>
            <p:cNvSpPr/>
            <p:nvPr/>
          </p:nvSpPr>
          <p:spPr>
            <a:xfrm>
              <a:off x="8483139" y="1918414"/>
              <a:ext cx="2975669" cy="738664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rtl="0"/>
              <a:r>
                <a:rPr lang="ru-RU" sz="1600" i="1" dirty="0">
                  <a:solidFill>
                    <a:srgbClr val="002060"/>
                  </a:solidFill>
                  <a:latin typeface="+mj-lt"/>
                  <a:cs typeface="Segoe UI" panose="020B0502040204020203" pitchFamily="34" charset="0"/>
                </a:rPr>
                <a:t>Автоматизация учета налогоплательщиков и их информационного профиля</a:t>
              </a:r>
            </a:p>
          </p:txBody>
        </p:sp>
        <p:sp>
          <p:nvSpPr>
            <p:cNvPr id="104" name="Надпись 103">
              <a:extLst>
                <a:ext uri="{FF2B5EF4-FFF2-40B4-BE49-F238E27FC236}">
                  <a16:creationId xmlns:a16="http://schemas.microsoft.com/office/drawing/2014/main" xmlns="" id="{36650A66-75C3-4933-AFC0-6AB58DFE89D9}"/>
                </a:ext>
              </a:extLst>
            </p:cNvPr>
            <p:cNvSpPr txBox="1"/>
            <p:nvPr/>
          </p:nvSpPr>
          <p:spPr>
            <a:xfrm>
              <a:off x="8520895" y="2649606"/>
              <a:ext cx="3047138" cy="9848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rtl="0"/>
              <a:r>
                <a:rPr lang="en-US" sz="16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T – </a:t>
              </a:r>
              <a:r>
                <a:rPr lang="ru-RU" sz="16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технологии прослеживания информационных потоков и товаров</a:t>
              </a:r>
            </a:p>
          </p:txBody>
        </p:sp>
        <p:sp>
          <p:nvSpPr>
            <p:cNvPr id="105" name="Прямоугольник 104">
              <a:extLst>
                <a:ext uri="{FF2B5EF4-FFF2-40B4-BE49-F238E27FC236}">
                  <a16:creationId xmlns:a16="http://schemas.microsoft.com/office/drawing/2014/main" xmlns="" id="{AD1F5E0B-9D11-43FF-9946-9B61EF9D6E88}"/>
                </a:ext>
              </a:extLst>
            </p:cNvPr>
            <p:cNvSpPr/>
            <p:nvPr/>
          </p:nvSpPr>
          <p:spPr>
            <a:xfrm>
              <a:off x="8483139" y="3633268"/>
              <a:ext cx="2975669" cy="123110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rtl="0"/>
              <a:r>
                <a:rPr lang="ru-RU" sz="1600" i="1" dirty="0">
                  <a:solidFill>
                    <a:srgbClr val="002060"/>
                  </a:solidFill>
                  <a:latin typeface="+mj-lt"/>
                  <a:cs typeface="Segoe UI" panose="020B0502040204020203" pitchFamily="34" charset="0"/>
                </a:rPr>
                <a:t>Электронный документооборот. </a:t>
              </a:r>
              <a:r>
                <a:rPr lang="en-US" sz="1600" i="1" dirty="0">
                  <a:solidFill>
                    <a:srgbClr val="002060"/>
                  </a:solidFill>
                  <a:latin typeface="+mj-lt"/>
                  <a:cs typeface="Segoe UI" panose="020B0502040204020203" pitchFamily="34" charset="0"/>
                </a:rPr>
                <a:t>IT</a:t>
              </a:r>
              <a:r>
                <a:rPr lang="ru-RU" sz="1600" i="1" dirty="0">
                  <a:solidFill>
                    <a:srgbClr val="002060"/>
                  </a:solidFill>
                  <a:latin typeface="+mj-lt"/>
                  <a:cs typeface="Segoe UI" panose="020B0502040204020203" pitchFamily="34" charset="0"/>
                </a:rPr>
                <a:t> –инфраструктура потоков информации, электронная отчетность,  аналитика</a:t>
              </a:r>
            </a:p>
          </p:txBody>
        </p:sp>
        <p:sp>
          <p:nvSpPr>
            <p:cNvPr id="106" name="Надпись 105">
              <a:extLst>
                <a:ext uri="{FF2B5EF4-FFF2-40B4-BE49-F238E27FC236}">
                  <a16:creationId xmlns:a16="http://schemas.microsoft.com/office/drawing/2014/main" xmlns="" id="{2BACDD99-66AF-423B-B714-10B1BD09EBE4}"/>
                </a:ext>
              </a:extLst>
            </p:cNvPr>
            <p:cNvSpPr txBox="1"/>
            <p:nvPr/>
          </p:nvSpPr>
          <p:spPr>
            <a:xfrm>
              <a:off x="8462691" y="4922926"/>
              <a:ext cx="304713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rtl="0"/>
              <a:r>
                <a:rPr lang="en-US" sz="16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T - </a:t>
              </a:r>
              <a:r>
                <a:rPr lang="ru-RU" sz="1600" b="1" dirty="0">
                  <a:solidFill>
                    <a:srgbClr val="002060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диалог с налогоплательщиком</a:t>
              </a:r>
            </a:p>
          </p:txBody>
        </p:sp>
        <p:sp>
          <p:nvSpPr>
            <p:cNvPr id="107" name="Прямоугольник 106">
              <a:extLst>
                <a:ext uri="{FF2B5EF4-FFF2-40B4-BE49-F238E27FC236}">
                  <a16:creationId xmlns:a16="http://schemas.microsoft.com/office/drawing/2014/main" xmlns="" id="{D6D9691D-4606-4981-97A5-3BEAC7F0804E}"/>
                </a:ext>
              </a:extLst>
            </p:cNvPr>
            <p:cNvSpPr/>
            <p:nvPr/>
          </p:nvSpPr>
          <p:spPr>
            <a:xfrm>
              <a:off x="8483139" y="5372393"/>
              <a:ext cx="2975669" cy="944876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/>
            <a:p>
              <a:pPr rtl="0"/>
              <a:r>
                <a:rPr lang="ru-RU" sz="1600" i="1" dirty="0">
                  <a:solidFill>
                    <a:srgbClr val="002060"/>
                  </a:solidFill>
                  <a:latin typeface="+mj-lt"/>
                  <a:cs typeface="Segoe UI" panose="020B0502040204020203" pitchFamily="34" charset="0"/>
                </a:rPr>
                <a:t>Цифровая экосистема двусторонней коммуникации с налогоплательщиком</a:t>
              </a:r>
            </a:p>
          </p:txBody>
        </p:sp>
        <p:cxnSp>
          <p:nvCxnSpPr>
            <p:cNvPr id="72" name="Прямая соединительная линия 71">
              <a:extLst>
                <a:ext uri="{FF2B5EF4-FFF2-40B4-BE49-F238E27FC236}">
                  <a16:creationId xmlns:a16="http://schemas.microsoft.com/office/drawing/2014/main" xmlns="" id="{281FF210-334C-43FA-80C2-0E1E9F3F51C4}"/>
                </a:ext>
              </a:extLst>
            </p:cNvPr>
            <p:cNvCxnSpPr>
              <a:cxnSpLocks/>
            </p:cNvCxnSpPr>
            <p:nvPr/>
          </p:nvCxnSpPr>
          <p:spPr>
            <a:xfrm>
              <a:off x="8462691" y="4385043"/>
              <a:ext cx="299611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Прямая соединительная линия 107">
              <a:extLst>
                <a:ext uri="{FF2B5EF4-FFF2-40B4-BE49-F238E27FC236}">
                  <a16:creationId xmlns:a16="http://schemas.microsoft.com/office/drawing/2014/main" xmlns="" id="{8F599308-2B51-4D9D-9F9B-2C2E81CA918F}"/>
                </a:ext>
              </a:extLst>
            </p:cNvPr>
            <p:cNvCxnSpPr>
              <a:cxnSpLocks/>
            </p:cNvCxnSpPr>
            <p:nvPr/>
          </p:nvCxnSpPr>
          <p:spPr>
            <a:xfrm>
              <a:off x="8462691" y="2651992"/>
              <a:ext cx="299611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609449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 hidden="1">
            <a:extLst>
              <a:ext uri="{FF2B5EF4-FFF2-40B4-BE49-F238E27FC236}">
                <a16:creationId xmlns:a16="http://schemas.microsoft.com/office/drawing/2014/main" xmlns="" id="{9B326F38-4E3F-467E-B912-22D5333F420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10515600" cy="1325563"/>
          </a:xfrm>
        </p:spPr>
        <p:txBody>
          <a:bodyPr rtlCol="0">
            <a:normAutofit fontScale="90000"/>
          </a:bodyPr>
          <a:lstStyle>
            <a:defPPr>
              <a:defRPr lang="ru-RU"/>
            </a:defPPr>
          </a:lstStyle>
          <a:p>
            <a:pPr rtl="0"/>
            <a:r>
              <a:rPr lang="ru-RU" dirty="0"/>
              <a:t>Слайд 2 сбалансированной системы показателей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7A5D2A43-E613-4861-B777-A0FBFF47453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sp>
        <p:nvSpPr>
          <p:cNvPr id="13" name="Надпись 12">
            <a:extLst>
              <a:ext uri="{FF2B5EF4-FFF2-40B4-BE49-F238E27FC236}">
                <a16:creationId xmlns:a16="http://schemas.microsoft.com/office/drawing/2014/main" xmlns="" id="{63C92C2E-8888-42AB-A36D-D6F2B362B0CD}"/>
              </a:ext>
            </a:extLst>
          </p:cNvPr>
          <p:cNvSpPr txBox="1"/>
          <p:nvPr/>
        </p:nvSpPr>
        <p:spPr>
          <a:xfrm>
            <a:off x="1380780" y="262446"/>
            <a:ext cx="9444241" cy="98488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</a:lstStyle>
          <a:p>
            <a:pPr algn="ctr" rtl="0"/>
            <a:r>
              <a:rPr lang="ru-RU" sz="3200" b="1" dirty="0">
                <a:latin typeface="+mj-lt"/>
              </a:rPr>
              <a:t>Налоговые сервисы на платформе НАЛОГОВОГО КОМИТЕТА РТ</a:t>
            </a:r>
            <a:endParaRPr lang="ru-RU" sz="3600" dirty="0">
              <a:latin typeface="+mj-lt"/>
            </a:endParaRPr>
          </a:p>
        </p:txBody>
      </p:sp>
      <p:sp>
        <p:nvSpPr>
          <p:cNvPr id="14" name="Надпись 13">
            <a:extLst>
              <a:ext uri="{FF2B5EF4-FFF2-40B4-BE49-F238E27FC236}">
                <a16:creationId xmlns:a16="http://schemas.microsoft.com/office/drawing/2014/main" xmlns="" id="{CABF686F-91C6-49D1-A69F-A2D1290E7E30}"/>
              </a:ext>
            </a:extLst>
          </p:cNvPr>
          <p:cNvSpPr txBox="1"/>
          <p:nvPr/>
        </p:nvSpPr>
        <p:spPr>
          <a:xfrm>
            <a:off x="1231070" y="1318973"/>
            <a:ext cx="995348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</a:lstStyle>
          <a:p>
            <a:pPr algn="ctr" rtl="0"/>
            <a:r>
              <a:rPr lang="ru-RU" sz="1600" b="1" i="1" dirty="0">
                <a:solidFill>
                  <a:srgbClr val="0070C0"/>
                </a:solidFill>
              </a:rPr>
              <a:t>Качество  и удовлетворенность налоговыми сервисами  оценивается в режиме он-лайн  по стандартам НК РТ</a:t>
            </a:r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xmlns="" id="{CF8A7EC5-3DC6-491A-B43F-24CA6DEFBE6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/>
        </p:nvGrpSpPr>
        <p:grpSpPr>
          <a:xfrm>
            <a:off x="682733" y="2147002"/>
            <a:ext cx="10797949" cy="3768339"/>
            <a:chOff x="759569" y="2147002"/>
            <a:chExt cx="10797949" cy="3768339"/>
          </a:xfrm>
        </p:grpSpPr>
        <p:grpSp>
          <p:nvGrpSpPr>
            <p:cNvPr id="29" name="Группа 28">
              <a:extLst>
                <a:ext uri="{FF2B5EF4-FFF2-40B4-BE49-F238E27FC236}">
                  <a16:creationId xmlns:a16="http://schemas.microsoft.com/office/drawing/2014/main" xmlns="" id="{17632067-409A-4C6C-9C61-655CF362D017}"/>
                </a:ext>
              </a:extLst>
            </p:cNvPr>
            <p:cNvGrpSpPr/>
            <p:nvPr/>
          </p:nvGrpSpPr>
          <p:grpSpPr>
            <a:xfrm>
              <a:off x="8324290" y="2147002"/>
              <a:ext cx="3233228" cy="1902923"/>
              <a:chOff x="8209472" y="2043791"/>
              <a:chExt cx="3233228" cy="1902923"/>
            </a:xfrm>
          </p:grpSpPr>
          <p:sp>
            <p:nvSpPr>
              <p:cNvPr id="30" name="Надпись 29">
                <a:extLst>
                  <a:ext uri="{FF2B5EF4-FFF2-40B4-BE49-F238E27FC236}">
                    <a16:creationId xmlns:a16="http://schemas.microsoft.com/office/drawing/2014/main" xmlns="" id="{1BF6ABAB-99E8-47DB-B0E7-7897C92C3938}"/>
                  </a:ext>
                </a:extLst>
              </p:cNvPr>
              <p:cNvSpPr txBox="1"/>
              <p:nvPr/>
            </p:nvSpPr>
            <p:spPr>
              <a:xfrm>
                <a:off x="8209472" y="2961829"/>
                <a:ext cx="3233228" cy="984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</a:lstStyle>
              <a:p>
                <a:pPr rtl="0"/>
                <a:r>
                  <a:rPr lang="ru-RU" sz="1600" dirty="0"/>
                  <a:t>Электронный документооборот, он-лайн КККТ нового поколения, он-лайн склад, автоматизация учета НДС . </a:t>
                </a:r>
              </a:p>
            </p:txBody>
          </p:sp>
          <p:sp>
            <p:nvSpPr>
              <p:cNvPr id="31" name="Надпись 30">
                <a:extLst>
                  <a:ext uri="{FF2B5EF4-FFF2-40B4-BE49-F238E27FC236}">
                    <a16:creationId xmlns:a16="http://schemas.microsoft.com/office/drawing/2014/main" xmlns="" id="{1A8B7CBA-912D-4B48-A3A6-8510F1ACEF46}"/>
                  </a:ext>
                </a:extLst>
              </p:cNvPr>
              <p:cNvSpPr txBox="1"/>
              <p:nvPr/>
            </p:nvSpPr>
            <p:spPr>
              <a:xfrm>
                <a:off x="8209472" y="2043791"/>
                <a:ext cx="3233228" cy="8309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</a:lstStyle>
              <a:p>
                <a:pPr rtl="0"/>
                <a:r>
                  <a:rPr lang="ru-RU" b="1" dirty="0"/>
                  <a:t>Прослеживание сделок,  бизнес-связей и коммуникаций налогоплательщика</a:t>
                </a:r>
              </a:p>
            </p:txBody>
          </p:sp>
        </p:grpSp>
        <p:grpSp>
          <p:nvGrpSpPr>
            <p:cNvPr id="32" name="Группа 31">
              <a:extLst>
                <a:ext uri="{FF2B5EF4-FFF2-40B4-BE49-F238E27FC236}">
                  <a16:creationId xmlns:a16="http://schemas.microsoft.com/office/drawing/2014/main" xmlns="" id="{D704045F-06DF-4855-BAA9-72DBCFFEC77E}"/>
                </a:ext>
              </a:extLst>
            </p:cNvPr>
            <p:cNvGrpSpPr/>
            <p:nvPr/>
          </p:nvGrpSpPr>
          <p:grpSpPr>
            <a:xfrm>
              <a:off x="8227195" y="4192563"/>
              <a:ext cx="3241529" cy="1722778"/>
              <a:chOff x="8227195" y="4192563"/>
              <a:chExt cx="3241529" cy="1722778"/>
            </a:xfrm>
          </p:grpSpPr>
          <p:sp>
            <p:nvSpPr>
              <p:cNvPr id="34" name="Надпись 33">
                <a:extLst>
                  <a:ext uri="{FF2B5EF4-FFF2-40B4-BE49-F238E27FC236}">
                    <a16:creationId xmlns:a16="http://schemas.microsoft.com/office/drawing/2014/main" xmlns="" id="{C843676A-60C6-4359-9F0F-B8AE0300D43B}"/>
                  </a:ext>
                </a:extLst>
              </p:cNvPr>
              <p:cNvSpPr txBox="1"/>
              <p:nvPr/>
            </p:nvSpPr>
            <p:spPr>
              <a:xfrm>
                <a:off x="8235496" y="4192563"/>
                <a:ext cx="3233228" cy="123110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</a:lstStyle>
              <a:p>
                <a:pPr rtl="0"/>
                <a:r>
                  <a:rPr lang="ru-RU" sz="1600" dirty="0"/>
                  <a:t>Он-лайн консультант, электронная библиотека, электронная подача жалоб и обращений, заявления о льготах,  публичные сведения о неплательщиках,</a:t>
                </a:r>
              </a:p>
            </p:txBody>
          </p:sp>
          <p:sp>
            <p:nvSpPr>
              <p:cNvPr id="35" name="Надпись 34">
                <a:extLst>
                  <a:ext uri="{FF2B5EF4-FFF2-40B4-BE49-F238E27FC236}">
                    <a16:creationId xmlns:a16="http://schemas.microsoft.com/office/drawing/2014/main" xmlns="" id="{22B1BDB2-A577-4B8C-86DE-9B1FA359B37E}"/>
                  </a:ext>
                </a:extLst>
              </p:cNvPr>
              <p:cNvSpPr txBox="1"/>
              <p:nvPr/>
            </p:nvSpPr>
            <p:spPr>
              <a:xfrm>
                <a:off x="8227195" y="5361343"/>
                <a:ext cx="323322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</a:lstStyle>
              <a:p>
                <a:pPr rtl="0"/>
                <a:r>
                  <a:rPr lang="en-US" b="1" dirty="0"/>
                  <a:t>IT – </a:t>
                </a:r>
                <a:r>
                  <a:rPr lang="ru-RU" b="1" dirty="0"/>
                  <a:t>диалог с налогоплательщиком</a:t>
                </a:r>
              </a:p>
            </p:txBody>
          </p:sp>
        </p:grpSp>
        <p:grpSp>
          <p:nvGrpSpPr>
            <p:cNvPr id="37" name="Группа 36">
              <a:extLst>
                <a:ext uri="{FF2B5EF4-FFF2-40B4-BE49-F238E27FC236}">
                  <a16:creationId xmlns:a16="http://schemas.microsoft.com/office/drawing/2014/main" xmlns="" id="{A044F10B-8F3E-4EA6-8911-9BACF6193C46}"/>
                </a:ext>
              </a:extLst>
            </p:cNvPr>
            <p:cNvGrpSpPr/>
            <p:nvPr/>
          </p:nvGrpSpPr>
          <p:grpSpPr>
            <a:xfrm>
              <a:off x="788154" y="2147002"/>
              <a:ext cx="3233228" cy="1066786"/>
              <a:chOff x="8209472" y="2043791"/>
              <a:chExt cx="3233228" cy="1066786"/>
            </a:xfrm>
          </p:grpSpPr>
          <p:sp>
            <p:nvSpPr>
              <p:cNvPr id="38" name="Надпись 37">
                <a:extLst>
                  <a:ext uri="{FF2B5EF4-FFF2-40B4-BE49-F238E27FC236}">
                    <a16:creationId xmlns:a16="http://schemas.microsoft.com/office/drawing/2014/main" xmlns="" id="{5E98DE8D-D741-4A2E-A595-F7320F8BE839}"/>
                  </a:ext>
                </a:extLst>
              </p:cNvPr>
              <p:cNvSpPr txBox="1"/>
              <p:nvPr/>
            </p:nvSpPr>
            <p:spPr>
              <a:xfrm>
                <a:off x="8209472" y="2371913"/>
                <a:ext cx="3233228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</a:lstStyle>
              <a:p>
                <a:pPr algn="r" rtl="0"/>
                <a:r>
                  <a:rPr lang="ru-RU" sz="1600" dirty="0"/>
                  <a:t>Личный кабинет налогоплательщика, </a:t>
                </a:r>
                <a:r>
                  <a:rPr lang="en-US" sz="1600" dirty="0"/>
                  <a:t>e-FF</a:t>
                </a:r>
                <a:r>
                  <a:rPr lang="ru-RU" sz="1600" dirty="0"/>
                  <a:t>, единый госреестр, электронные справки. </a:t>
                </a:r>
              </a:p>
            </p:txBody>
          </p:sp>
          <p:sp>
            <p:nvSpPr>
              <p:cNvPr id="39" name="Надпись 38">
                <a:extLst>
                  <a:ext uri="{FF2B5EF4-FFF2-40B4-BE49-F238E27FC236}">
                    <a16:creationId xmlns:a16="http://schemas.microsoft.com/office/drawing/2014/main" xmlns="" id="{AEE0DDEB-94B0-4768-9871-27F6BE297153}"/>
                  </a:ext>
                </a:extLst>
              </p:cNvPr>
              <p:cNvSpPr txBox="1"/>
              <p:nvPr/>
            </p:nvSpPr>
            <p:spPr>
              <a:xfrm>
                <a:off x="8209472" y="2043791"/>
                <a:ext cx="323322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</a:lstStyle>
              <a:p>
                <a:pPr algn="r" rtl="0"/>
                <a:r>
                  <a:rPr lang="en-US" b="1" dirty="0"/>
                  <a:t>IT</a:t>
                </a:r>
                <a:r>
                  <a:rPr lang="ru-RU" b="1" dirty="0"/>
                  <a:t>- профиль налогоплательщика</a:t>
                </a:r>
              </a:p>
            </p:txBody>
          </p:sp>
        </p:grpSp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xmlns="" id="{37CFE83A-7B9A-4948-8C8F-A20544A4E3F8}"/>
                </a:ext>
              </a:extLst>
            </p:cNvPr>
            <p:cNvGrpSpPr/>
            <p:nvPr/>
          </p:nvGrpSpPr>
          <p:grpSpPr>
            <a:xfrm>
              <a:off x="759569" y="3823231"/>
              <a:ext cx="3261813" cy="2082449"/>
              <a:chOff x="8295705" y="3823231"/>
              <a:chExt cx="3261813" cy="2082449"/>
            </a:xfrm>
          </p:grpSpPr>
          <p:sp>
            <p:nvSpPr>
              <p:cNvPr id="41" name="Надпись 40">
                <a:extLst>
                  <a:ext uri="{FF2B5EF4-FFF2-40B4-BE49-F238E27FC236}">
                    <a16:creationId xmlns:a16="http://schemas.microsoft.com/office/drawing/2014/main" xmlns="" id="{F0163476-7C3B-4403-BCBE-6E2197D4AF48}"/>
                  </a:ext>
                </a:extLst>
              </p:cNvPr>
              <p:cNvSpPr txBox="1"/>
              <p:nvPr/>
            </p:nvSpPr>
            <p:spPr>
              <a:xfrm>
                <a:off x="8295705" y="3823231"/>
                <a:ext cx="3233228" cy="147732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</a:lstStyle>
              <a:p>
                <a:pPr algn="r" rtl="0"/>
                <a:r>
                  <a:rPr lang="ru-RU" sz="1600" dirty="0"/>
                  <a:t>Расчет  отдельных видов налогов (транспорт, недвижимость).  В перспективе – сельхозналог  и электронная подача отчетности. Уплата налогов через систему ЭП  на сайте  </a:t>
                </a:r>
              </a:p>
            </p:txBody>
          </p:sp>
          <p:sp>
            <p:nvSpPr>
              <p:cNvPr id="42" name="Надпись 41">
                <a:extLst>
                  <a:ext uri="{FF2B5EF4-FFF2-40B4-BE49-F238E27FC236}">
                    <a16:creationId xmlns:a16="http://schemas.microsoft.com/office/drawing/2014/main" xmlns="" id="{3CC98909-5ABB-4A3D-BC52-5BB105E69483}"/>
                  </a:ext>
                </a:extLst>
              </p:cNvPr>
              <p:cNvSpPr txBox="1"/>
              <p:nvPr/>
            </p:nvSpPr>
            <p:spPr>
              <a:xfrm>
                <a:off x="8324290" y="5351682"/>
                <a:ext cx="3233228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ru-RU"/>
                </a:defPPr>
              </a:lstStyle>
              <a:p>
                <a:pPr algn="r" rtl="0"/>
                <a:r>
                  <a:rPr lang="ru-RU" b="1" dirty="0"/>
                  <a:t>Автоматизация расчетов и отчетности</a:t>
                </a:r>
              </a:p>
            </p:txBody>
          </p:sp>
        </p:grp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xmlns="" id="{7C25CC7E-9659-4033-AF7E-F4036E3423C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/>
        </p:nvGrpSpPr>
        <p:grpSpPr>
          <a:xfrm>
            <a:off x="4216400" y="2008772"/>
            <a:ext cx="3759200" cy="3758138"/>
            <a:chOff x="5540375" y="2870200"/>
            <a:chExt cx="1078219" cy="1077914"/>
          </a:xfrm>
          <a:solidFill>
            <a:schemeClr val="bg2"/>
          </a:solidFill>
        </p:grpSpPr>
        <p:sp>
          <p:nvSpPr>
            <p:cNvPr id="19" name="Полилиния 5">
              <a:extLst>
                <a:ext uri="{FF2B5EF4-FFF2-40B4-BE49-F238E27FC236}">
                  <a16:creationId xmlns:a16="http://schemas.microsoft.com/office/drawing/2014/main" xmlns="" id="{91B12C34-F8FA-4B08-9D46-F5EA12FAB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376" y="3429001"/>
              <a:ext cx="515938" cy="519113"/>
            </a:xfrm>
            <a:custGeom>
              <a:avLst/>
              <a:gdLst>
                <a:gd name="T0" fmla="*/ 172 w 172"/>
                <a:gd name="T1" fmla="*/ 90 h 173"/>
                <a:gd name="T2" fmla="*/ 172 w 172"/>
                <a:gd name="T3" fmla="*/ 173 h 173"/>
                <a:gd name="T4" fmla="*/ 0 w 172"/>
                <a:gd name="T5" fmla="*/ 0 h 173"/>
                <a:gd name="T6" fmla="*/ 82 w 172"/>
                <a:gd name="T7" fmla="*/ 0 h 173"/>
                <a:gd name="T8" fmla="*/ 172 w 172"/>
                <a:gd name="T9" fmla="*/ 9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173">
                  <a:moveTo>
                    <a:pt x="172" y="90"/>
                  </a:moveTo>
                  <a:cubicBezTo>
                    <a:pt x="172" y="173"/>
                    <a:pt x="172" y="173"/>
                    <a:pt x="172" y="173"/>
                  </a:cubicBezTo>
                  <a:cubicBezTo>
                    <a:pt x="80" y="166"/>
                    <a:pt x="6" y="93"/>
                    <a:pt x="0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8" y="47"/>
                    <a:pt x="125" y="84"/>
                    <a:pt x="172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20" name="Полилиния 6">
              <a:extLst>
                <a:ext uri="{FF2B5EF4-FFF2-40B4-BE49-F238E27FC236}">
                  <a16:creationId xmlns:a16="http://schemas.microsoft.com/office/drawing/2014/main" xmlns="" id="{C6E57602-3060-43F3-8678-84886548F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894" y="3429001"/>
              <a:ext cx="520700" cy="519113"/>
            </a:xfrm>
            <a:custGeom>
              <a:avLst/>
              <a:gdLst>
                <a:gd name="T0" fmla="*/ 90 w 173"/>
                <a:gd name="T1" fmla="*/ 0 h 173"/>
                <a:gd name="T2" fmla="*/ 173 w 173"/>
                <a:gd name="T3" fmla="*/ 0 h 173"/>
                <a:gd name="T4" fmla="*/ 0 w 173"/>
                <a:gd name="T5" fmla="*/ 173 h 173"/>
                <a:gd name="T6" fmla="*/ 0 w 173"/>
                <a:gd name="T7" fmla="*/ 90 h 173"/>
                <a:gd name="T8" fmla="*/ 90 w 173"/>
                <a:gd name="T9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173">
                  <a:moveTo>
                    <a:pt x="90" y="0"/>
                  </a:moveTo>
                  <a:cubicBezTo>
                    <a:pt x="173" y="0"/>
                    <a:pt x="173" y="0"/>
                    <a:pt x="173" y="0"/>
                  </a:cubicBezTo>
                  <a:cubicBezTo>
                    <a:pt x="166" y="93"/>
                    <a:pt x="92" y="166"/>
                    <a:pt x="0" y="173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47" y="84"/>
                    <a:pt x="84" y="47"/>
                    <a:pt x="9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21" name="Полилиния 7">
              <a:extLst>
                <a:ext uri="{FF2B5EF4-FFF2-40B4-BE49-F238E27FC236}">
                  <a16:creationId xmlns:a16="http://schemas.microsoft.com/office/drawing/2014/main" xmlns="" id="{2252E87A-6A81-40D1-9461-95D5224F0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894" y="2870200"/>
              <a:ext cx="520700" cy="515938"/>
            </a:xfrm>
            <a:custGeom>
              <a:avLst/>
              <a:gdLst>
                <a:gd name="T0" fmla="*/ 0 w 173"/>
                <a:gd name="T1" fmla="*/ 82 h 172"/>
                <a:gd name="T2" fmla="*/ 0 w 173"/>
                <a:gd name="T3" fmla="*/ 0 h 172"/>
                <a:gd name="T4" fmla="*/ 173 w 173"/>
                <a:gd name="T5" fmla="*/ 172 h 172"/>
                <a:gd name="T6" fmla="*/ 90 w 173"/>
                <a:gd name="T7" fmla="*/ 172 h 172"/>
                <a:gd name="T8" fmla="*/ 0 w 173"/>
                <a:gd name="T9" fmla="*/ 8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172">
                  <a:moveTo>
                    <a:pt x="0" y="8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2" y="7"/>
                    <a:pt x="166" y="80"/>
                    <a:pt x="173" y="172"/>
                  </a:cubicBezTo>
                  <a:cubicBezTo>
                    <a:pt x="90" y="172"/>
                    <a:pt x="90" y="172"/>
                    <a:pt x="90" y="172"/>
                  </a:cubicBezTo>
                  <a:cubicBezTo>
                    <a:pt x="84" y="126"/>
                    <a:pt x="47" y="88"/>
                    <a:pt x="0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22" name="Полилиния 8">
              <a:extLst>
                <a:ext uri="{FF2B5EF4-FFF2-40B4-BE49-F238E27FC236}">
                  <a16:creationId xmlns:a16="http://schemas.microsoft.com/office/drawing/2014/main" xmlns="" id="{ADBD0F45-41D0-4808-9E29-70A3C395B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375" y="2870200"/>
              <a:ext cx="515938" cy="515938"/>
            </a:xfrm>
            <a:custGeom>
              <a:avLst/>
              <a:gdLst>
                <a:gd name="T0" fmla="*/ 82 w 172"/>
                <a:gd name="T1" fmla="*/ 172 h 172"/>
                <a:gd name="T2" fmla="*/ 0 w 172"/>
                <a:gd name="T3" fmla="*/ 172 h 172"/>
                <a:gd name="T4" fmla="*/ 172 w 172"/>
                <a:gd name="T5" fmla="*/ 0 h 172"/>
                <a:gd name="T6" fmla="*/ 172 w 172"/>
                <a:gd name="T7" fmla="*/ 82 h 172"/>
                <a:gd name="T8" fmla="*/ 82 w 172"/>
                <a:gd name="T9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172">
                  <a:moveTo>
                    <a:pt x="82" y="172"/>
                  </a:moveTo>
                  <a:cubicBezTo>
                    <a:pt x="0" y="172"/>
                    <a:pt x="0" y="172"/>
                    <a:pt x="0" y="172"/>
                  </a:cubicBezTo>
                  <a:cubicBezTo>
                    <a:pt x="6" y="80"/>
                    <a:pt x="80" y="7"/>
                    <a:pt x="172" y="0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25" y="88"/>
                    <a:pt x="88" y="126"/>
                    <a:pt x="82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</p:grpSp>
      <p:sp>
        <p:nvSpPr>
          <p:cNvPr id="26" name="Овал 25">
            <a:extLst>
              <a:ext uri="{FF2B5EF4-FFF2-40B4-BE49-F238E27FC236}">
                <a16:creationId xmlns:a16="http://schemas.microsoft.com/office/drawing/2014/main" xmlns="" id="{32050594-ED75-4BD6-9F30-3FF422F2D10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4324312" y="2268027"/>
            <a:ext cx="1052680" cy="10526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xmlns="" id="{D570AF8D-5346-44BD-82DE-4E39FE2807C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6931221" y="2147002"/>
            <a:ext cx="1052680" cy="105268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xmlns="" id="{42195816-E0EF-4C06-9319-FA2742100C3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4208099" y="4576001"/>
            <a:ext cx="1052680" cy="105268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xmlns="" id="{48342780-6568-4E96-8C62-B4B262CB896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6931221" y="4576001"/>
            <a:ext cx="1052680" cy="10526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grpSp>
        <p:nvGrpSpPr>
          <p:cNvPr id="75" name="Группа 74" descr="Это изображение содержит значок человека. ">
            <a:extLst>
              <a:ext uri="{FF2B5EF4-FFF2-40B4-BE49-F238E27FC236}">
                <a16:creationId xmlns:a16="http://schemas.microsoft.com/office/drawing/2014/main" xmlns="" id="{03658782-57B9-4C48-9C71-07695163187A}"/>
              </a:ext>
            </a:extLst>
          </p:cNvPr>
          <p:cNvGrpSpPr/>
          <p:nvPr/>
        </p:nvGrpSpPr>
        <p:grpSpPr>
          <a:xfrm>
            <a:off x="7284682" y="2522553"/>
            <a:ext cx="345758" cy="301578"/>
            <a:chOff x="9312275" y="5386388"/>
            <a:chExt cx="285750" cy="249238"/>
          </a:xfrm>
          <a:solidFill>
            <a:schemeClr val="bg1"/>
          </a:solidFill>
        </p:grpSpPr>
        <p:sp>
          <p:nvSpPr>
            <p:cNvPr id="76" name="Полилиния 3445">
              <a:extLst>
                <a:ext uri="{FF2B5EF4-FFF2-40B4-BE49-F238E27FC236}">
                  <a16:creationId xmlns:a16="http://schemas.microsoft.com/office/drawing/2014/main" xmlns="" id="{7542754E-CB96-41C7-B68A-87941CFD3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2275" y="5386388"/>
              <a:ext cx="225425" cy="249238"/>
            </a:xfrm>
            <a:custGeom>
              <a:avLst/>
              <a:gdLst>
                <a:gd name="T0" fmla="*/ 384 w 569"/>
                <a:gd name="T1" fmla="*/ 376 h 628"/>
                <a:gd name="T2" fmla="*/ 359 w 569"/>
                <a:gd name="T3" fmla="*/ 309 h 628"/>
                <a:gd name="T4" fmla="*/ 379 w 569"/>
                <a:gd name="T5" fmla="*/ 290 h 628"/>
                <a:gd name="T6" fmla="*/ 397 w 569"/>
                <a:gd name="T7" fmla="*/ 253 h 628"/>
                <a:gd name="T8" fmla="*/ 406 w 569"/>
                <a:gd name="T9" fmla="*/ 213 h 628"/>
                <a:gd name="T10" fmla="*/ 415 w 569"/>
                <a:gd name="T11" fmla="*/ 203 h 628"/>
                <a:gd name="T12" fmla="*/ 420 w 569"/>
                <a:gd name="T13" fmla="*/ 184 h 628"/>
                <a:gd name="T14" fmla="*/ 416 w 569"/>
                <a:gd name="T15" fmla="*/ 154 h 628"/>
                <a:gd name="T16" fmla="*/ 411 w 569"/>
                <a:gd name="T17" fmla="*/ 123 h 628"/>
                <a:gd name="T18" fmla="*/ 420 w 569"/>
                <a:gd name="T19" fmla="*/ 78 h 628"/>
                <a:gd name="T20" fmla="*/ 415 w 569"/>
                <a:gd name="T21" fmla="*/ 46 h 628"/>
                <a:gd name="T22" fmla="*/ 402 w 569"/>
                <a:gd name="T23" fmla="*/ 28 h 628"/>
                <a:gd name="T24" fmla="*/ 382 w 569"/>
                <a:gd name="T25" fmla="*/ 15 h 628"/>
                <a:gd name="T26" fmla="*/ 341 w 569"/>
                <a:gd name="T27" fmla="*/ 3 h 628"/>
                <a:gd name="T28" fmla="*/ 291 w 569"/>
                <a:gd name="T29" fmla="*/ 1 h 628"/>
                <a:gd name="T30" fmla="*/ 245 w 569"/>
                <a:gd name="T31" fmla="*/ 10 h 628"/>
                <a:gd name="T32" fmla="*/ 213 w 569"/>
                <a:gd name="T33" fmla="*/ 27 h 628"/>
                <a:gd name="T34" fmla="*/ 200 w 569"/>
                <a:gd name="T35" fmla="*/ 42 h 628"/>
                <a:gd name="T36" fmla="*/ 181 w 569"/>
                <a:gd name="T37" fmla="*/ 44 h 628"/>
                <a:gd name="T38" fmla="*/ 163 w 569"/>
                <a:gd name="T39" fmla="*/ 56 h 628"/>
                <a:gd name="T40" fmla="*/ 154 w 569"/>
                <a:gd name="T41" fmla="*/ 86 h 628"/>
                <a:gd name="T42" fmla="*/ 164 w 569"/>
                <a:gd name="T43" fmla="*/ 139 h 628"/>
                <a:gd name="T44" fmla="*/ 160 w 569"/>
                <a:gd name="T45" fmla="*/ 141 h 628"/>
                <a:gd name="T46" fmla="*/ 153 w 569"/>
                <a:gd name="T47" fmla="*/ 154 h 628"/>
                <a:gd name="T48" fmla="*/ 149 w 569"/>
                <a:gd name="T49" fmla="*/ 184 h 628"/>
                <a:gd name="T50" fmla="*/ 153 w 569"/>
                <a:gd name="T51" fmla="*/ 202 h 628"/>
                <a:gd name="T52" fmla="*/ 163 w 569"/>
                <a:gd name="T53" fmla="*/ 213 h 628"/>
                <a:gd name="T54" fmla="*/ 169 w 569"/>
                <a:gd name="T55" fmla="*/ 236 h 628"/>
                <a:gd name="T56" fmla="*/ 180 w 569"/>
                <a:gd name="T57" fmla="*/ 268 h 628"/>
                <a:gd name="T58" fmla="*/ 203 w 569"/>
                <a:gd name="T59" fmla="*/ 299 h 628"/>
                <a:gd name="T60" fmla="*/ 215 w 569"/>
                <a:gd name="T61" fmla="*/ 367 h 628"/>
                <a:gd name="T62" fmla="*/ 177 w 569"/>
                <a:gd name="T63" fmla="*/ 381 h 628"/>
                <a:gd name="T64" fmla="*/ 111 w 569"/>
                <a:gd name="T65" fmla="*/ 404 h 628"/>
                <a:gd name="T66" fmla="*/ 47 w 569"/>
                <a:gd name="T67" fmla="*/ 434 h 628"/>
                <a:gd name="T68" fmla="*/ 22 w 569"/>
                <a:gd name="T69" fmla="*/ 456 h 628"/>
                <a:gd name="T70" fmla="*/ 10 w 569"/>
                <a:gd name="T71" fmla="*/ 487 h 628"/>
                <a:gd name="T72" fmla="*/ 1 w 569"/>
                <a:gd name="T73" fmla="*/ 557 h 628"/>
                <a:gd name="T74" fmla="*/ 0 w 569"/>
                <a:gd name="T75" fmla="*/ 620 h 628"/>
                <a:gd name="T76" fmla="*/ 11 w 569"/>
                <a:gd name="T77" fmla="*/ 628 h 628"/>
                <a:gd name="T78" fmla="*/ 565 w 569"/>
                <a:gd name="T79" fmla="*/ 624 h 628"/>
                <a:gd name="T80" fmla="*/ 569 w 569"/>
                <a:gd name="T81" fmla="*/ 597 h 628"/>
                <a:gd name="T82" fmla="*/ 562 w 569"/>
                <a:gd name="T83" fmla="*/ 510 h 628"/>
                <a:gd name="T84" fmla="*/ 551 w 569"/>
                <a:gd name="T85" fmla="*/ 461 h 628"/>
                <a:gd name="T86" fmla="*/ 537 w 569"/>
                <a:gd name="T87" fmla="*/ 444 h 628"/>
                <a:gd name="T88" fmla="*/ 484 w 569"/>
                <a:gd name="T89" fmla="*/ 413 h 628"/>
                <a:gd name="T90" fmla="*/ 408 w 569"/>
                <a:gd name="T91" fmla="*/ 385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69" h="628">
                  <a:moveTo>
                    <a:pt x="408" y="385"/>
                  </a:moveTo>
                  <a:lnTo>
                    <a:pt x="397" y="380"/>
                  </a:lnTo>
                  <a:lnTo>
                    <a:pt x="384" y="376"/>
                  </a:lnTo>
                  <a:lnTo>
                    <a:pt x="372" y="372"/>
                  </a:lnTo>
                  <a:lnTo>
                    <a:pt x="359" y="367"/>
                  </a:lnTo>
                  <a:lnTo>
                    <a:pt x="359" y="309"/>
                  </a:lnTo>
                  <a:lnTo>
                    <a:pt x="366" y="306"/>
                  </a:lnTo>
                  <a:lnTo>
                    <a:pt x="371" y="299"/>
                  </a:lnTo>
                  <a:lnTo>
                    <a:pt x="379" y="290"/>
                  </a:lnTo>
                  <a:lnTo>
                    <a:pt x="385" y="280"/>
                  </a:lnTo>
                  <a:lnTo>
                    <a:pt x="390" y="268"/>
                  </a:lnTo>
                  <a:lnTo>
                    <a:pt x="397" y="253"/>
                  </a:lnTo>
                  <a:lnTo>
                    <a:pt x="400" y="236"/>
                  </a:lnTo>
                  <a:lnTo>
                    <a:pt x="402" y="216"/>
                  </a:lnTo>
                  <a:lnTo>
                    <a:pt x="406" y="213"/>
                  </a:lnTo>
                  <a:lnTo>
                    <a:pt x="409" y="211"/>
                  </a:lnTo>
                  <a:lnTo>
                    <a:pt x="412" y="207"/>
                  </a:lnTo>
                  <a:lnTo>
                    <a:pt x="415" y="203"/>
                  </a:lnTo>
                  <a:lnTo>
                    <a:pt x="417" y="198"/>
                  </a:lnTo>
                  <a:lnTo>
                    <a:pt x="418" y="191"/>
                  </a:lnTo>
                  <a:lnTo>
                    <a:pt x="420" y="184"/>
                  </a:lnTo>
                  <a:lnTo>
                    <a:pt x="420" y="177"/>
                  </a:lnTo>
                  <a:lnTo>
                    <a:pt x="418" y="164"/>
                  </a:lnTo>
                  <a:lnTo>
                    <a:pt x="416" y="154"/>
                  </a:lnTo>
                  <a:lnTo>
                    <a:pt x="411" y="145"/>
                  </a:lnTo>
                  <a:lnTo>
                    <a:pt x="406" y="140"/>
                  </a:lnTo>
                  <a:lnTo>
                    <a:pt x="411" y="123"/>
                  </a:lnTo>
                  <a:lnTo>
                    <a:pt x="417" y="101"/>
                  </a:lnTo>
                  <a:lnTo>
                    <a:pt x="418" y="90"/>
                  </a:lnTo>
                  <a:lnTo>
                    <a:pt x="420" y="78"/>
                  </a:lnTo>
                  <a:lnTo>
                    <a:pt x="420" y="65"/>
                  </a:lnTo>
                  <a:lnTo>
                    <a:pt x="417" y="53"/>
                  </a:lnTo>
                  <a:lnTo>
                    <a:pt x="415" y="46"/>
                  </a:lnTo>
                  <a:lnTo>
                    <a:pt x="412" y="40"/>
                  </a:lnTo>
                  <a:lnTo>
                    <a:pt x="407" y="33"/>
                  </a:lnTo>
                  <a:lnTo>
                    <a:pt x="402" y="28"/>
                  </a:lnTo>
                  <a:lnTo>
                    <a:pt x="397" y="23"/>
                  </a:lnTo>
                  <a:lnTo>
                    <a:pt x="390" y="19"/>
                  </a:lnTo>
                  <a:lnTo>
                    <a:pt x="382" y="15"/>
                  </a:lnTo>
                  <a:lnTo>
                    <a:pt x="375" y="11"/>
                  </a:lnTo>
                  <a:lnTo>
                    <a:pt x="359" y="6"/>
                  </a:lnTo>
                  <a:lnTo>
                    <a:pt x="341" y="3"/>
                  </a:lnTo>
                  <a:lnTo>
                    <a:pt x="325" y="1"/>
                  </a:lnTo>
                  <a:lnTo>
                    <a:pt x="307" y="0"/>
                  </a:lnTo>
                  <a:lnTo>
                    <a:pt x="291" y="1"/>
                  </a:lnTo>
                  <a:lnTo>
                    <a:pt x="276" y="3"/>
                  </a:lnTo>
                  <a:lnTo>
                    <a:pt x="259" y="5"/>
                  </a:lnTo>
                  <a:lnTo>
                    <a:pt x="245" y="10"/>
                  </a:lnTo>
                  <a:lnTo>
                    <a:pt x="231" y="15"/>
                  </a:lnTo>
                  <a:lnTo>
                    <a:pt x="218" y="23"/>
                  </a:lnTo>
                  <a:lnTo>
                    <a:pt x="213" y="27"/>
                  </a:lnTo>
                  <a:lnTo>
                    <a:pt x="208" y="32"/>
                  </a:lnTo>
                  <a:lnTo>
                    <a:pt x="204" y="37"/>
                  </a:lnTo>
                  <a:lnTo>
                    <a:pt x="200" y="42"/>
                  </a:lnTo>
                  <a:lnTo>
                    <a:pt x="194" y="42"/>
                  </a:lnTo>
                  <a:lnTo>
                    <a:pt x="186" y="42"/>
                  </a:lnTo>
                  <a:lnTo>
                    <a:pt x="181" y="44"/>
                  </a:lnTo>
                  <a:lnTo>
                    <a:pt x="176" y="46"/>
                  </a:lnTo>
                  <a:lnTo>
                    <a:pt x="168" y="51"/>
                  </a:lnTo>
                  <a:lnTo>
                    <a:pt x="163" y="56"/>
                  </a:lnTo>
                  <a:lnTo>
                    <a:pt x="158" y="65"/>
                  </a:lnTo>
                  <a:lnTo>
                    <a:pt x="155" y="76"/>
                  </a:lnTo>
                  <a:lnTo>
                    <a:pt x="154" y="86"/>
                  </a:lnTo>
                  <a:lnTo>
                    <a:pt x="155" y="98"/>
                  </a:lnTo>
                  <a:lnTo>
                    <a:pt x="159" y="11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0" y="141"/>
                  </a:lnTo>
                  <a:lnTo>
                    <a:pt x="158" y="145"/>
                  </a:lnTo>
                  <a:lnTo>
                    <a:pt x="155" y="149"/>
                  </a:lnTo>
                  <a:lnTo>
                    <a:pt x="153" y="154"/>
                  </a:lnTo>
                  <a:lnTo>
                    <a:pt x="149" y="164"/>
                  </a:lnTo>
                  <a:lnTo>
                    <a:pt x="149" y="177"/>
                  </a:lnTo>
                  <a:lnTo>
                    <a:pt x="149" y="184"/>
                  </a:lnTo>
                  <a:lnTo>
                    <a:pt x="150" y="190"/>
                  </a:lnTo>
                  <a:lnTo>
                    <a:pt x="151" y="196"/>
                  </a:lnTo>
                  <a:lnTo>
                    <a:pt x="153" y="202"/>
                  </a:lnTo>
                  <a:lnTo>
                    <a:pt x="155" y="205"/>
                  </a:lnTo>
                  <a:lnTo>
                    <a:pt x="159" y="211"/>
                  </a:lnTo>
                  <a:lnTo>
                    <a:pt x="163" y="213"/>
                  </a:lnTo>
                  <a:lnTo>
                    <a:pt x="167" y="216"/>
                  </a:lnTo>
                  <a:lnTo>
                    <a:pt x="167" y="226"/>
                  </a:lnTo>
                  <a:lnTo>
                    <a:pt x="169" y="236"/>
                  </a:lnTo>
                  <a:lnTo>
                    <a:pt x="171" y="245"/>
                  </a:lnTo>
                  <a:lnTo>
                    <a:pt x="173" y="253"/>
                  </a:lnTo>
                  <a:lnTo>
                    <a:pt x="180" y="268"/>
                  </a:lnTo>
                  <a:lnTo>
                    <a:pt x="187" y="281"/>
                  </a:lnTo>
                  <a:lnTo>
                    <a:pt x="195" y="291"/>
                  </a:lnTo>
                  <a:lnTo>
                    <a:pt x="203" y="299"/>
                  </a:lnTo>
                  <a:lnTo>
                    <a:pt x="209" y="306"/>
                  </a:lnTo>
                  <a:lnTo>
                    <a:pt x="215" y="311"/>
                  </a:lnTo>
                  <a:lnTo>
                    <a:pt x="215" y="367"/>
                  </a:lnTo>
                  <a:lnTo>
                    <a:pt x="203" y="372"/>
                  </a:lnTo>
                  <a:lnTo>
                    <a:pt x="190" y="376"/>
                  </a:lnTo>
                  <a:lnTo>
                    <a:pt x="177" y="381"/>
                  </a:lnTo>
                  <a:lnTo>
                    <a:pt x="164" y="385"/>
                  </a:lnTo>
                  <a:lnTo>
                    <a:pt x="137" y="395"/>
                  </a:lnTo>
                  <a:lnTo>
                    <a:pt x="111" y="404"/>
                  </a:lnTo>
                  <a:lnTo>
                    <a:pt x="87" y="413"/>
                  </a:lnTo>
                  <a:lnTo>
                    <a:pt x="65" y="424"/>
                  </a:lnTo>
                  <a:lnTo>
                    <a:pt x="47" y="434"/>
                  </a:lnTo>
                  <a:lnTo>
                    <a:pt x="32" y="444"/>
                  </a:lnTo>
                  <a:lnTo>
                    <a:pt x="25" y="449"/>
                  </a:lnTo>
                  <a:lnTo>
                    <a:pt x="22" y="456"/>
                  </a:lnTo>
                  <a:lnTo>
                    <a:pt x="18" y="462"/>
                  </a:lnTo>
                  <a:lnTo>
                    <a:pt x="14" y="467"/>
                  </a:lnTo>
                  <a:lnTo>
                    <a:pt x="10" y="487"/>
                  </a:lnTo>
                  <a:lnTo>
                    <a:pt x="6" y="510"/>
                  </a:lnTo>
                  <a:lnTo>
                    <a:pt x="4" y="533"/>
                  </a:lnTo>
                  <a:lnTo>
                    <a:pt x="1" y="557"/>
                  </a:lnTo>
                  <a:lnTo>
                    <a:pt x="0" y="597"/>
                  </a:lnTo>
                  <a:lnTo>
                    <a:pt x="0" y="616"/>
                  </a:lnTo>
                  <a:lnTo>
                    <a:pt x="0" y="620"/>
                  </a:lnTo>
                  <a:lnTo>
                    <a:pt x="2" y="624"/>
                  </a:lnTo>
                  <a:lnTo>
                    <a:pt x="6" y="627"/>
                  </a:lnTo>
                  <a:lnTo>
                    <a:pt x="11" y="628"/>
                  </a:lnTo>
                  <a:lnTo>
                    <a:pt x="557" y="628"/>
                  </a:lnTo>
                  <a:lnTo>
                    <a:pt x="561" y="627"/>
                  </a:lnTo>
                  <a:lnTo>
                    <a:pt x="565" y="624"/>
                  </a:lnTo>
                  <a:lnTo>
                    <a:pt x="567" y="620"/>
                  </a:lnTo>
                  <a:lnTo>
                    <a:pt x="569" y="616"/>
                  </a:lnTo>
                  <a:lnTo>
                    <a:pt x="569" y="597"/>
                  </a:lnTo>
                  <a:lnTo>
                    <a:pt x="567" y="557"/>
                  </a:lnTo>
                  <a:lnTo>
                    <a:pt x="565" y="533"/>
                  </a:lnTo>
                  <a:lnTo>
                    <a:pt x="562" y="510"/>
                  </a:lnTo>
                  <a:lnTo>
                    <a:pt x="558" y="487"/>
                  </a:lnTo>
                  <a:lnTo>
                    <a:pt x="555" y="467"/>
                  </a:lnTo>
                  <a:lnTo>
                    <a:pt x="551" y="461"/>
                  </a:lnTo>
                  <a:lnTo>
                    <a:pt x="547" y="456"/>
                  </a:lnTo>
                  <a:lnTo>
                    <a:pt x="543" y="449"/>
                  </a:lnTo>
                  <a:lnTo>
                    <a:pt x="537" y="444"/>
                  </a:lnTo>
                  <a:lnTo>
                    <a:pt x="522" y="433"/>
                  </a:lnTo>
                  <a:lnTo>
                    <a:pt x="504" y="422"/>
                  </a:lnTo>
                  <a:lnTo>
                    <a:pt x="484" y="413"/>
                  </a:lnTo>
                  <a:lnTo>
                    <a:pt x="461" y="404"/>
                  </a:lnTo>
                  <a:lnTo>
                    <a:pt x="435" y="394"/>
                  </a:lnTo>
                  <a:lnTo>
                    <a:pt x="408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77" name="Полилиния 3446">
              <a:extLst>
                <a:ext uri="{FF2B5EF4-FFF2-40B4-BE49-F238E27FC236}">
                  <a16:creationId xmlns:a16="http://schemas.microsoft.com/office/drawing/2014/main" xmlns="" id="{334072C5-8E7E-4A65-ABAD-8FD2AA02B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5313" y="5387975"/>
              <a:ext cx="112712" cy="247650"/>
            </a:xfrm>
            <a:custGeom>
              <a:avLst/>
              <a:gdLst>
                <a:gd name="T0" fmla="*/ 258 w 281"/>
                <a:gd name="T1" fmla="*/ 450 h 625"/>
                <a:gd name="T2" fmla="*/ 234 w 281"/>
                <a:gd name="T3" fmla="*/ 428 h 625"/>
                <a:gd name="T4" fmla="*/ 199 w 281"/>
                <a:gd name="T5" fmla="*/ 408 h 625"/>
                <a:gd name="T6" fmla="*/ 103 w 281"/>
                <a:gd name="T7" fmla="*/ 367 h 625"/>
                <a:gd name="T8" fmla="*/ 65 w 281"/>
                <a:gd name="T9" fmla="*/ 319 h 625"/>
                <a:gd name="T10" fmla="*/ 86 w 281"/>
                <a:gd name="T11" fmla="*/ 301 h 625"/>
                <a:gd name="T12" fmla="*/ 108 w 281"/>
                <a:gd name="T13" fmla="*/ 265 h 625"/>
                <a:gd name="T14" fmla="*/ 113 w 281"/>
                <a:gd name="T15" fmla="*/ 238 h 625"/>
                <a:gd name="T16" fmla="*/ 122 w 281"/>
                <a:gd name="T17" fmla="*/ 223 h 625"/>
                <a:gd name="T18" fmla="*/ 130 w 281"/>
                <a:gd name="T19" fmla="*/ 209 h 625"/>
                <a:gd name="T20" fmla="*/ 132 w 281"/>
                <a:gd name="T21" fmla="*/ 188 h 625"/>
                <a:gd name="T22" fmla="*/ 123 w 281"/>
                <a:gd name="T23" fmla="*/ 157 h 625"/>
                <a:gd name="T24" fmla="*/ 118 w 281"/>
                <a:gd name="T25" fmla="*/ 151 h 625"/>
                <a:gd name="T26" fmla="*/ 131 w 281"/>
                <a:gd name="T27" fmla="*/ 97 h 625"/>
                <a:gd name="T28" fmla="*/ 130 w 281"/>
                <a:gd name="T29" fmla="*/ 59 h 625"/>
                <a:gd name="T30" fmla="*/ 117 w 281"/>
                <a:gd name="T31" fmla="*/ 35 h 625"/>
                <a:gd name="T32" fmla="*/ 94 w 281"/>
                <a:gd name="T33" fmla="*/ 15 h 625"/>
                <a:gd name="T34" fmla="*/ 65 w 281"/>
                <a:gd name="T35" fmla="*/ 2 h 625"/>
                <a:gd name="T36" fmla="*/ 38 w 281"/>
                <a:gd name="T37" fmla="*/ 0 h 625"/>
                <a:gd name="T38" fmla="*/ 13 w 281"/>
                <a:gd name="T39" fmla="*/ 7 h 625"/>
                <a:gd name="T40" fmla="*/ 0 w 281"/>
                <a:gd name="T41" fmla="*/ 20 h 625"/>
                <a:gd name="T42" fmla="*/ 5 w 281"/>
                <a:gd name="T43" fmla="*/ 32 h 625"/>
                <a:gd name="T44" fmla="*/ 18 w 281"/>
                <a:gd name="T45" fmla="*/ 32 h 625"/>
                <a:gd name="T46" fmla="*/ 38 w 281"/>
                <a:gd name="T47" fmla="*/ 24 h 625"/>
                <a:gd name="T48" fmla="*/ 67 w 281"/>
                <a:gd name="T49" fmla="*/ 28 h 625"/>
                <a:gd name="T50" fmla="*/ 89 w 281"/>
                <a:gd name="T51" fmla="*/ 41 h 625"/>
                <a:gd name="T52" fmla="*/ 103 w 281"/>
                <a:gd name="T53" fmla="*/ 56 h 625"/>
                <a:gd name="T54" fmla="*/ 108 w 281"/>
                <a:gd name="T55" fmla="*/ 75 h 625"/>
                <a:gd name="T56" fmla="*/ 105 w 281"/>
                <a:gd name="T57" fmla="*/ 107 h 625"/>
                <a:gd name="T58" fmla="*/ 92 w 281"/>
                <a:gd name="T59" fmla="*/ 152 h 625"/>
                <a:gd name="T60" fmla="*/ 94 w 281"/>
                <a:gd name="T61" fmla="*/ 166 h 625"/>
                <a:gd name="T62" fmla="*/ 104 w 281"/>
                <a:gd name="T63" fmla="*/ 172 h 625"/>
                <a:gd name="T64" fmla="*/ 109 w 281"/>
                <a:gd name="T65" fmla="*/ 188 h 625"/>
                <a:gd name="T66" fmla="*/ 104 w 281"/>
                <a:gd name="T67" fmla="*/ 206 h 625"/>
                <a:gd name="T68" fmla="*/ 94 w 281"/>
                <a:gd name="T69" fmla="*/ 210 h 625"/>
                <a:gd name="T70" fmla="*/ 90 w 281"/>
                <a:gd name="T71" fmla="*/ 231 h 625"/>
                <a:gd name="T72" fmla="*/ 85 w 281"/>
                <a:gd name="T73" fmla="*/ 259 h 625"/>
                <a:gd name="T74" fmla="*/ 55 w 281"/>
                <a:gd name="T75" fmla="*/ 297 h 625"/>
                <a:gd name="T76" fmla="*/ 44 w 281"/>
                <a:gd name="T77" fmla="*/ 306 h 625"/>
                <a:gd name="T78" fmla="*/ 41 w 281"/>
                <a:gd name="T79" fmla="*/ 360 h 625"/>
                <a:gd name="T80" fmla="*/ 46 w 281"/>
                <a:gd name="T81" fmla="*/ 371 h 625"/>
                <a:gd name="T82" fmla="*/ 119 w 281"/>
                <a:gd name="T83" fmla="*/ 399 h 625"/>
                <a:gd name="T84" fmla="*/ 222 w 281"/>
                <a:gd name="T85" fmla="*/ 449 h 625"/>
                <a:gd name="T86" fmla="*/ 241 w 281"/>
                <a:gd name="T87" fmla="*/ 467 h 625"/>
                <a:gd name="T88" fmla="*/ 250 w 281"/>
                <a:gd name="T89" fmla="*/ 503 h 625"/>
                <a:gd name="T90" fmla="*/ 257 w 281"/>
                <a:gd name="T91" fmla="*/ 574 h 625"/>
                <a:gd name="T92" fmla="*/ 204 w 281"/>
                <a:gd name="T93" fmla="*/ 602 h 625"/>
                <a:gd name="T94" fmla="*/ 196 w 281"/>
                <a:gd name="T95" fmla="*/ 613 h 625"/>
                <a:gd name="T96" fmla="*/ 204 w 281"/>
                <a:gd name="T97" fmla="*/ 624 h 625"/>
                <a:gd name="T98" fmla="*/ 273 w 281"/>
                <a:gd name="T99" fmla="*/ 624 h 625"/>
                <a:gd name="T100" fmla="*/ 281 w 281"/>
                <a:gd name="T101" fmla="*/ 613 h 625"/>
                <a:gd name="T102" fmla="*/ 277 w 281"/>
                <a:gd name="T103" fmla="*/ 530 h 625"/>
                <a:gd name="T104" fmla="*/ 267 w 281"/>
                <a:gd name="T105" fmla="*/ 464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1" h="625">
                  <a:moveTo>
                    <a:pt x="267" y="464"/>
                  </a:moveTo>
                  <a:lnTo>
                    <a:pt x="263" y="457"/>
                  </a:lnTo>
                  <a:lnTo>
                    <a:pt x="258" y="450"/>
                  </a:lnTo>
                  <a:lnTo>
                    <a:pt x="252" y="443"/>
                  </a:lnTo>
                  <a:lnTo>
                    <a:pt x="244" y="435"/>
                  </a:lnTo>
                  <a:lnTo>
                    <a:pt x="234" y="428"/>
                  </a:lnTo>
                  <a:lnTo>
                    <a:pt x="223" y="421"/>
                  </a:lnTo>
                  <a:lnTo>
                    <a:pt x="212" y="414"/>
                  </a:lnTo>
                  <a:lnTo>
                    <a:pt x="199" y="408"/>
                  </a:lnTo>
                  <a:lnTo>
                    <a:pt x="169" y="394"/>
                  </a:lnTo>
                  <a:lnTo>
                    <a:pt x="137" y="381"/>
                  </a:lnTo>
                  <a:lnTo>
                    <a:pt x="103" y="367"/>
                  </a:lnTo>
                  <a:lnTo>
                    <a:pt x="65" y="353"/>
                  </a:lnTo>
                  <a:lnTo>
                    <a:pt x="65" y="353"/>
                  </a:lnTo>
                  <a:lnTo>
                    <a:pt x="65" y="319"/>
                  </a:lnTo>
                  <a:lnTo>
                    <a:pt x="72" y="315"/>
                  </a:lnTo>
                  <a:lnTo>
                    <a:pt x="78" y="309"/>
                  </a:lnTo>
                  <a:lnTo>
                    <a:pt x="86" y="301"/>
                  </a:lnTo>
                  <a:lnTo>
                    <a:pt x="94" y="292"/>
                  </a:lnTo>
                  <a:lnTo>
                    <a:pt x="101" y="279"/>
                  </a:lnTo>
                  <a:lnTo>
                    <a:pt x="108" y="265"/>
                  </a:lnTo>
                  <a:lnTo>
                    <a:pt x="110" y="256"/>
                  </a:lnTo>
                  <a:lnTo>
                    <a:pt x="112" y="247"/>
                  </a:lnTo>
                  <a:lnTo>
                    <a:pt x="113" y="238"/>
                  </a:lnTo>
                  <a:lnTo>
                    <a:pt x="114" y="228"/>
                  </a:lnTo>
                  <a:lnTo>
                    <a:pt x="118" y="226"/>
                  </a:lnTo>
                  <a:lnTo>
                    <a:pt x="122" y="223"/>
                  </a:lnTo>
                  <a:lnTo>
                    <a:pt x="125" y="219"/>
                  </a:lnTo>
                  <a:lnTo>
                    <a:pt x="127" y="215"/>
                  </a:lnTo>
                  <a:lnTo>
                    <a:pt x="130" y="209"/>
                  </a:lnTo>
                  <a:lnTo>
                    <a:pt x="131" y="202"/>
                  </a:lnTo>
                  <a:lnTo>
                    <a:pt x="132" y="196"/>
                  </a:lnTo>
                  <a:lnTo>
                    <a:pt x="132" y="188"/>
                  </a:lnTo>
                  <a:lnTo>
                    <a:pt x="131" y="177"/>
                  </a:lnTo>
                  <a:lnTo>
                    <a:pt x="128" y="166"/>
                  </a:lnTo>
                  <a:lnTo>
                    <a:pt x="123" y="157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8" y="151"/>
                  </a:lnTo>
                  <a:lnTo>
                    <a:pt x="123" y="133"/>
                  </a:lnTo>
                  <a:lnTo>
                    <a:pt x="130" y="110"/>
                  </a:lnTo>
                  <a:lnTo>
                    <a:pt x="131" y="97"/>
                  </a:lnTo>
                  <a:lnTo>
                    <a:pt x="132" y="84"/>
                  </a:lnTo>
                  <a:lnTo>
                    <a:pt x="132" y="71"/>
                  </a:lnTo>
                  <a:lnTo>
                    <a:pt x="130" y="59"/>
                  </a:lnTo>
                  <a:lnTo>
                    <a:pt x="127" y="51"/>
                  </a:lnTo>
                  <a:lnTo>
                    <a:pt x="122" y="43"/>
                  </a:lnTo>
                  <a:lnTo>
                    <a:pt x="117" y="35"/>
                  </a:lnTo>
                  <a:lnTo>
                    <a:pt x="110" y="28"/>
                  </a:lnTo>
                  <a:lnTo>
                    <a:pt x="103" y="21"/>
                  </a:lnTo>
                  <a:lnTo>
                    <a:pt x="94" y="15"/>
                  </a:lnTo>
                  <a:lnTo>
                    <a:pt x="85" y="10"/>
                  </a:lnTo>
                  <a:lnTo>
                    <a:pt x="76" y="6"/>
                  </a:lnTo>
                  <a:lnTo>
                    <a:pt x="65" y="2"/>
                  </a:lnTo>
                  <a:lnTo>
                    <a:pt x="56" y="1"/>
                  </a:lnTo>
                  <a:lnTo>
                    <a:pt x="47" y="0"/>
                  </a:lnTo>
                  <a:lnTo>
                    <a:pt x="38" y="0"/>
                  </a:lnTo>
                  <a:lnTo>
                    <a:pt x="29" y="2"/>
                  </a:lnTo>
                  <a:lnTo>
                    <a:pt x="22" y="3"/>
                  </a:lnTo>
                  <a:lnTo>
                    <a:pt x="13" y="7"/>
                  </a:lnTo>
                  <a:lnTo>
                    <a:pt x="5" y="12"/>
                  </a:lnTo>
                  <a:lnTo>
                    <a:pt x="1" y="15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1" y="29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4" y="34"/>
                  </a:lnTo>
                  <a:lnTo>
                    <a:pt x="18" y="32"/>
                  </a:lnTo>
                  <a:lnTo>
                    <a:pt x="26" y="29"/>
                  </a:lnTo>
                  <a:lnTo>
                    <a:pt x="32" y="26"/>
                  </a:lnTo>
                  <a:lnTo>
                    <a:pt x="38" y="24"/>
                  </a:lnTo>
                  <a:lnTo>
                    <a:pt x="45" y="24"/>
                  </a:lnTo>
                  <a:lnTo>
                    <a:pt x="56" y="25"/>
                  </a:lnTo>
                  <a:lnTo>
                    <a:pt x="67" y="28"/>
                  </a:lnTo>
                  <a:lnTo>
                    <a:pt x="74" y="32"/>
                  </a:lnTo>
                  <a:lnTo>
                    <a:pt x="82" y="35"/>
                  </a:lnTo>
                  <a:lnTo>
                    <a:pt x="89" y="41"/>
                  </a:lnTo>
                  <a:lnTo>
                    <a:pt x="94" y="46"/>
                  </a:lnTo>
                  <a:lnTo>
                    <a:pt x="99" y="51"/>
                  </a:lnTo>
                  <a:lnTo>
                    <a:pt x="103" y="56"/>
                  </a:lnTo>
                  <a:lnTo>
                    <a:pt x="105" y="61"/>
                  </a:lnTo>
                  <a:lnTo>
                    <a:pt x="107" y="65"/>
                  </a:lnTo>
                  <a:lnTo>
                    <a:pt x="108" y="75"/>
                  </a:lnTo>
                  <a:lnTo>
                    <a:pt x="108" y="86"/>
                  </a:lnTo>
                  <a:lnTo>
                    <a:pt x="108" y="97"/>
                  </a:lnTo>
                  <a:lnTo>
                    <a:pt x="105" y="107"/>
                  </a:lnTo>
                  <a:lnTo>
                    <a:pt x="100" y="127"/>
                  </a:lnTo>
                  <a:lnTo>
                    <a:pt x="95" y="142"/>
                  </a:lnTo>
                  <a:lnTo>
                    <a:pt x="92" y="152"/>
                  </a:lnTo>
                  <a:lnTo>
                    <a:pt x="91" y="159"/>
                  </a:lnTo>
                  <a:lnTo>
                    <a:pt x="91" y="163"/>
                  </a:lnTo>
                  <a:lnTo>
                    <a:pt x="94" y="166"/>
                  </a:lnTo>
                  <a:lnTo>
                    <a:pt x="98" y="169"/>
                  </a:lnTo>
                  <a:lnTo>
                    <a:pt x="103" y="170"/>
                  </a:lnTo>
                  <a:lnTo>
                    <a:pt x="104" y="172"/>
                  </a:lnTo>
                  <a:lnTo>
                    <a:pt x="107" y="175"/>
                  </a:lnTo>
                  <a:lnTo>
                    <a:pt x="108" y="181"/>
                  </a:lnTo>
                  <a:lnTo>
                    <a:pt x="109" y="188"/>
                  </a:lnTo>
                  <a:lnTo>
                    <a:pt x="108" y="197"/>
                  </a:lnTo>
                  <a:lnTo>
                    <a:pt x="105" y="204"/>
                  </a:lnTo>
                  <a:lnTo>
                    <a:pt x="104" y="206"/>
                  </a:lnTo>
                  <a:lnTo>
                    <a:pt x="103" y="208"/>
                  </a:lnTo>
                  <a:lnTo>
                    <a:pt x="98" y="208"/>
                  </a:lnTo>
                  <a:lnTo>
                    <a:pt x="94" y="210"/>
                  </a:lnTo>
                  <a:lnTo>
                    <a:pt x="91" y="214"/>
                  </a:lnTo>
                  <a:lnTo>
                    <a:pt x="91" y="219"/>
                  </a:lnTo>
                  <a:lnTo>
                    <a:pt x="90" y="231"/>
                  </a:lnTo>
                  <a:lnTo>
                    <a:pt x="89" y="241"/>
                  </a:lnTo>
                  <a:lnTo>
                    <a:pt x="87" y="250"/>
                  </a:lnTo>
                  <a:lnTo>
                    <a:pt x="85" y="259"/>
                  </a:lnTo>
                  <a:lnTo>
                    <a:pt x="78" y="273"/>
                  </a:lnTo>
                  <a:lnTo>
                    <a:pt x="71" y="283"/>
                  </a:lnTo>
                  <a:lnTo>
                    <a:pt x="55" y="297"/>
                  </a:lnTo>
                  <a:lnTo>
                    <a:pt x="49" y="301"/>
                  </a:lnTo>
                  <a:lnTo>
                    <a:pt x="45" y="304"/>
                  </a:lnTo>
                  <a:lnTo>
                    <a:pt x="44" y="306"/>
                  </a:lnTo>
                  <a:lnTo>
                    <a:pt x="41" y="309"/>
                  </a:lnTo>
                  <a:lnTo>
                    <a:pt x="41" y="313"/>
                  </a:lnTo>
                  <a:lnTo>
                    <a:pt x="41" y="360"/>
                  </a:lnTo>
                  <a:lnTo>
                    <a:pt x="41" y="364"/>
                  </a:lnTo>
                  <a:lnTo>
                    <a:pt x="44" y="368"/>
                  </a:lnTo>
                  <a:lnTo>
                    <a:pt x="46" y="371"/>
                  </a:lnTo>
                  <a:lnTo>
                    <a:pt x="49" y="372"/>
                  </a:lnTo>
                  <a:lnTo>
                    <a:pt x="58" y="376"/>
                  </a:lnTo>
                  <a:lnTo>
                    <a:pt x="119" y="399"/>
                  </a:lnTo>
                  <a:lnTo>
                    <a:pt x="177" y="423"/>
                  </a:lnTo>
                  <a:lnTo>
                    <a:pt x="202" y="436"/>
                  </a:lnTo>
                  <a:lnTo>
                    <a:pt x="222" y="449"/>
                  </a:lnTo>
                  <a:lnTo>
                    <a:pt x="230" y="454"/>
                  </a:lnTo>
                  <a:lnTo>
                    <a:pt x="236" y="461"/>
                  </a:lnTo>
                  <a:lnTo>
                    <a:pt x="241" y="467"/>
                  </a:lnTo>
                  <a:lnTo>
                    <a:pt x="244" y="472"/>
                  </a:lnTo>
                  <a:lnTo>
                    <a:pt x="248" y="486"/>
                  </a:lnTo>
                  <a:lnTo>
                    <a:pt x="250" y="503"/>
                  </a:lnTo>
                  <a:lnTo>
                    <a:pt x="253" y="520"/>
                  </a:lnTo>
                  <a:lnTo>
                    <a:pt x="254" y="539"/>
                  </a:lnTo>
                  <a:lnTo>
                    <a:pt x="257" y="574"/>
                  </a:lnTo>
                  <a:lnTo>
                    <a:pt x="257" y="601"/>
                  </a:lnTo>
                  <a:lnTo>
                    <a:pt x="209" y="601"/>
                  </a:lnTo>
                  <a:lnTo>
                    <a:pt x="204" y="602"/>
                  </a:lnTo>
                  <a:lnTo>
                    <a:pt x="200" y="604"/>
                  </a:lnTo>
                  <a:lnTo>
                    <a:pt x="198" y="608"/>
                  </a:lnTo>
                  <a:lnTo>
                    <a:pt x="196" y="613"/>
                  </a:lnTo>
                  <a:lnTo>
                    <a:pt x="198" y="617"/>
                  </a:lnTo>
                  <a:lnTo>
                    <a:pt x="200" y="621"/>
                  </a:lnTo>
                  <a:lnTo>
                    <a:pt x="204" y="624"/>
                  </a:lnTo>
                  <a:lnTo>
                    <a:pt x="209" y="625"/>
                  </a:lnTo>
                  <a:lnTo>
                    <a:pt x="270" y="625"/>
                  </a:lnTo>
                  <a:lnTo>
                    <a:pt x="273" y="624"/>
                  </a:lnTo>
                  <a:lnTo>
                    <a:pt x="277" y="621"/>
                  </a:lnTo>
                  <a:lnTo>
                    <a:pt x="280" y="617"/>
                  </a:lnTo>
                  <a:lnTo>
                    <a:pt x="281" y="613"/>
                  </a:lnTo>
                  <a:lnTo>
                    <a:pt x="281" y="594"/>
                  </a:lnTo>
                  <a:lnTo>
                    <a:pt x="280" y="554"/>
                  </a:lnTo>
                  <a:lnTo>
                    <a:pt x="277" y="530"/>
                  </a:lnTo>
                  <a:lnTo>
                    <a:pt x="275" y="507"/>
                  </a:lnTo>
                  <a:lnTo>
                    <a:pt x="271" y="484"/>
                  </a:lnTo>
                  <a:lnTo>
                    <a:pt x="267" y="4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</p:grpSp>
      <p:grpSp>
        <p:nvGrpSpPr>
          <p:cNvPr id="78" name="Группа 77" descr="Это изображение содержит значок с линейчатой диаграммой. ">
            <a:extLst>
              <a:ext uri="{FF2B5EF4-FFF2-40B4-BE49-F238E27FC236}">
                <a16:creationId xmlns:a16="http://schemas.microsoft.com/office/drawing/2014/main" xmlns="" id="{ABB60BDA-D4C1-4C07-BE44-8158EF962C92}"/>
              </a:ext>
            </a:extLst>
          </p:cNvPr>
          <p:cNvGrpSpPr/>
          <p:nvPr/>
        </p:nvGrpSpPr>
        <p:grpSpPr>
          <a:xfrm>
            <a:off x="7283722" y="4934265"/>
            <a:ext cx="347679" cy="336153"/>
            <a:chOff x="4892675" y="2501900"/>
            <a:chExt cx="287338" cy="277813"/>
          </a:xfrm>
          <a:solidFill>
            <a:schemeClr val="bg1"/>
          </a:solidFill>
        </p:grpSpPr>
        <p:sp>
          <p:nvSpPr>
            <p:cNvPr id="79" name="Полилиния 300">
              <a:extLst>
                <a:ext uri="{FF2B5EF4-FFF2-40B4-BE49-F238E27FC236}">
                  <a16:creationId xmlns:a16="http://schemas.microsoft.com/office/drawing/2014/main" xmlns="" id="{079F1AF8-61FC-4E38-A00F-4F8AC7B28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5" y="2501900"/>
              <a:ext cx="227013" cy="157163"/>
            </a:xfrm>
            <a:custGeom>
              <a:avLst/>
              <a:gdLst>
                <a:gd name="T0" fmla="*/ 19 w 712"/>
                <a:gd name="T1" fmla="*/ 494 h 495"/>
                <a:gd name="T2" fmla="*/ 679 w 712"/>
                <a:gd name="T3" fmla="*/ 60 h 495"/>
                <a:gd name="T4" fmla="*/ 668 w 712"/>
                <a:gd name="T5" fmla="*/ 167 h 495"/>
                <a:gd name="T6" fmla="*/ 669 w 712"/>
                <a:gd name="T7" fmla="*/ 173 h 495"/>
                <a:gd name="T8" fmla="*/ 672 w 712"/>
                <a:gd name="T9" fmla="*/ 177 h 495"/>
                <a:gd name="T10" fmla="*/ 677 w 712"/>
                <a:gd name="T11" fmla="*/ 180 h 495"/>
                <a:gd name="T12" fmla="*/ 682 w 712"/>
                <a:gd name="T13" fmla="*/ 180 h 495"/>
                <a:gd name="T14" fmla="*/ 688 w 712"/>
                <a:gd name="T15" fmla="*/ 179 h 495"/>
                <a:gd name="T16" fmla="*/ 696 w 712"/>
                <a:gd name="T17" fmla="*/ 173 h 495"/>
                <a:gd name="T18" fmla="*/ 712 w 712"/>
                <a:gd name="T19" fmla="*/ 31 h 495"/>
                <a:gd name="T20" fmla="*/ 712 w 712"/>
                <a:gd name="T21" fmla="*/ 30 h 495"/>
                <a:gd name="T22" fmla="*/ 712 w 712"/>
                <a:gd name="T23" fmla="*/ 27 h 495"/>
                <a:gd name="T24" fmla="*/ 711 w 712"/>
                <a:gd name="T25" fmla="*/ 24 h 495"/>
                <a:gd name="T26" fmla="*/ 710 w 712"/>
                <a:gd name="T27" fmla="*/ 22 h 495"/>
                <a:gd name="T28" fmla="*/ 710 w 712"/>
                <a:gd name="T29" fmla="*/ 22 h 495"/>
                <a:gd name="T30" fmla="*/ 707 w 712"/>
                <a:gd name="T31" fmla="*/ 20 h 495"/>
                <a:gd name="T32" fmla="*/ 705 w 712"/>
                <a:gd name="T33" fmla="*/ 17 h 495"/>
                <a:gd name="T34" fmla="*/ 702 w 712"/>
                <a:gd name="T35" fmla="*/ 16 h 495"/>
                <a:gd name="T36" fmla="*/ 700 w 712"/>
                <a:gd name="T37" fmla="*/ 15 h 495"/>
                <a:gd name="T38" fmla="*/ 699 w 712"/>
                <a:gd name="T39" fmla="*/ 15 h 495"/>
                <a:gd name="T40" fmla="*/ 561 w 712"/>
                <a:gd name="T41" fmla="*/ 0 h 495"/>
                <a:gd name="T42" fmla="*/ 555 w 712"/>
                <a:gd name="T43" fmla="*/ 1 h 495"/>
                <a:gd name="T44" fmla="*/ 551 w 712"/>
                <a:gd name="T45" fmla="*/ 6 h 495"/>
                <a:gd name="T46" fmla="*/ 548 w 712"/>
                <a:gd name="T47" fmla="*/ 11 h 495"/>
                <a:gd name="T48" fmla="*/ 547 w 712"/>
                <a:gd name="T49" fmla="*/ 16 h 495"/>
                <a:gd name="T50" fmla="*/ 549 w 712"/>
                <a:gd name="T51" fmla="*/ 22 h 495"/>
                <a:gd name="T52" fmla="*/ 552 w 712"/>
                <a:gd name="T53" fmla="*/ 27 h 495"/>
                <a:gd name="T54" fmla="*/ 557 w 712"/>
                <a:gd name="T55" fmla="*/ 29 h 495"/>
                <a:gd name="T56" fmla="*/ 654 w 712"/>
                <a:gd name="T57" fmla="*/ 41 h 495"/>
                <a:gd name="T58" fmla="*/ 4 w 712"/>
                <a:gd name="T59" fmla="*/ 469 h 495"/>
                <a:gd name="T60" fmla="*/ 1 w 712"/>
                <a:gd name="T61" fmla="*/ 473 h 495"/>
                <a:gd name="T62" fmla="*/ 0 w 712"/>
                <a:gd name="T63" fmla="*/ 480 h 495"/>
                <a:gd name="T64" fmla="*/ 1 w 712"/>
                <a:gd name="T65" fmla="*/ 485 h 495"/>
                <a:gd name="T66" fmla="*/ 5 w 712"/>
                <a:gd name="T67" fmla="*/ 490 h 495"/>
                <a:gd name="T68" fmla="*/ 11 w 712"/>
                <a:gd name="T69" fmla="*/ 494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2" h="495">
                  <a:moveTo>
                    <a:pt x="15" y="495"/>
                  </a:moveTo>
                  <a:lnTo>
                    <a:pt x="19" y="494"/>
                  </a:lnTo>
                  <a:lnTo>
                    <a:pt x="23" y="493"/>
                  </a:lnTo>
                  <a:lnTo>
                    <a:pt x="679" y="60"/>
                  </a:lnTo>
                  <a:lnTo>
                    <a:pt x="668" y="164"/>
                  </a:lnTo>
                  <a:lnTo>
                    <a:pt x="668" y="167"/>
                  </a:lnTo>
                  <a:lnTo>
                    <a:pt x="668" y="170"/>
                  </a:lnTo>
                  <a:lnTo>
                    <a:pt x="669" y="173"/>
                  </a:lnTo>
                  <a:lnTo>
                    <a:pt x="671" y="175"/>
                  </a:lnTo>
                  <a:lnTo>
                    <a:pt x="672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1" y="180"/>
                  </a:lnTo>
                  <a:lnTo>
                    <a:pt x="682" y="180"/>
                  </a:lnTo>
                  <a:lnTo>
                    <a:pt x="682" y="180"/>
                  </a:lnTo>
                  <a:lnTo>
                    <a:pt x="688" y="179"/>
                  </a:lnTo>
                  <a:lnTo>
                    <a:pt x="692" y="177"/>
                  </a:lnTo>
                  <a:lnTo>
                    <a:pt x="696" y="173"/>
                  </a:lnTo>
                  <a:lnTo>
                    <a:pt x="697" y="168"/>
                  </a:lnTo>
                  <a:lnTo>
                    <a:pt x="712" y="31"/>
                  </a:lnTo>
                  <a:lnTo>
                    <a:pt x="712" y="31"/>
                  </a:lnTo>
                  <a:lnTo>
                    <a:pt x="712" y="30"/>
                  </a:lnTo>
                  <a:lnTo>
                    <a:pt x="712" y="28"/>
                  </a:lnTo>
                  <a:lnTo>
                    <a:pt x="712" y="27"/>
                  </a:lnTo>
                  <a:lnTo>
                    <a:pt x="712" y="25"/>
                  </a:lnTo>
                  <a:lnTo>
                    <a:pt x="711" y="24"/>
                  </a:lnTo>
                  <a:lnTo>
                    <a:pt x="711" y="23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09" y="21"/>
                  </a:lnTo>
                  <a:lnTo>
                    <a:pt x="707" y="20"/>
                  </a:lnTo>
                  <a:lnTo>
                    <a:pt x="706" y="18"/>
                  </a:lnTo>
                  <a:lnTo>
                    <a:pt x="705" y="17"/>
                  </a:lnTo>
                  <a:lnTo>
                    <a:pt x="704" y="17"/>
                  </a:lnTo>
                  <a:lnTo>
                    <a:pt x="702" y="16"/>
                  </a:lnTo>
                  <a:lnTo>
                    <a:pt x="701" y="16"/>
                  </a:lnTo>
                  <a:lnTo>
                    <a:pt x="700" y="15"/>
                  </a:lnTo>
                  <a:lnTo>
                    <a:pt x="699" y="15"/>
                  </a:lnTo>
                  <a:lnTo>
                    <a:pt x="699" y="15"/>
                  </a:lnTo>
                  <a:lnTo>
                    <a:pt x="564" y="0"/>
                  </a:lnTo>
                  <a:lnTo>
                    <a:pt x="561" y="0"/>
                  </a:lnTo>
                  <a:lnTo>
                    <a:pt x="557" y="0"/>
                  </a:lnTo>
                  <a:lnTo>
                    <a:pt x="555" y="1"/>
                  </a:lnTo>
                  <a:lnTo>
                    <a:pt x="553" y="3"/>
                  </a:lnTo>
                  <a:lnTo>
                    <a:pt x="551" y="6"/>
                  </a:lnTo>
                  <a:lnTo>
                    <a:pt x="549" y="8"/>
                  </a:lnTo>
                  <a:lnTo>
                    <a:pt x="548" y="11"/>
                  </a:lnTo>
                  <a:lnTo>
                    <a:pt x="547" y="13"/>
                  </a:lnTo>
                  <a:lnTo>
                    <a:pt x="547" y="16"/>
                  </a:lnTo>
                  <a:lnTo>
                    <a:pt x="548" y="20"/>
                  </a:lnTo>
                  <a:lnTo>
                    <a:pt x="549" y="22"/>
                  </a:lnTo>
                  <a:lnTo>
                    <a:pt x="550" y="25"/>
                  </a:lnTo>
                  <a:lnTo>
                    <a:pt x="552" y="27"/>
                  </a:lnTo>
                  <a:lnTo>
                    <a:pt x="554" y="28"/>
                  </a:lnTo>
                  <a:lnTo>
                    <a:pt x="557" y="29"/>
                  </a:lnTo>
                  <a:lnTo>
                    <a:pt x="561" y="30"/>
                  </a:lnTo>
                  <a:lnTo>
                    <a:pt x="654" y="41"/>
                  </a:lnTo>
                  <a:lnTo>
                    <a:pt x="6" y="467"/>
                  </a:lnTo>
                  <a:lnTo>
                    <a:pt x="4" y="469"/>
                  </a:lnTo>
                  <a:lnTo>
                    <a:pt x="2" y="471"/>
                  </a:lnTo>
                  <a:lnTo>
                    <a:pt x="1" y="473"/>
                  </a:lnTo>
                  <a:lnTo>
                    <a:pt x="0" y="477"/>
                  </a:lnTo>
                  <a:lnTo>
                    <a:pt x="0" y="480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3"/>
                  </a:lnTo>
                  <a:lnTo>
                    <a:pt x="11" y="494"/>
                  </a:lnTo>
                  <a:lnTo>
                    <a:pt x="15" y="4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80" name="Полилиния 301">
              <a:extLst>
                <a:ext uri="{FF2B5EF4-FFF2-40B4-BE49-F238E27FC236}">
                  <a16:creationId xmlns:a16="http://schemas.microsoft.com/office/drawing/2014/main" xmlns="" id="{12F6D320-A2D7-49AA-A59C-B7DFD83EB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2675" y="2587625"/>
              <a:ext cx="287338" cy="192088"/>
            </a:xfrm>
            <a:custGeom>
              <a:avLst/>
              <a:gdLst>
                <a:gd name="T0" fmla="*/ 843 w 903"/>
                <a:gd name="T1" fmla="*/ 572 h 602"/>
                <a:gd name="T2" fmla="*/ 842 w 903"/>
                <a:gd name="T3" fmla="*/ 12 h 602"/>
                <a:gd name="T4" fmla="*/ 840 w 903"/>
                <a:gd name="T5" fmla="*/ 7 h 602"/>
                <a:gd name="T6" fmla="*/ 835 w 903"/>
                <a:gd name="T7" fmla="*/ 3 h 602"/>
                <a:gd name="T8" fmla="*/ 830 w 903"/>
                <a:gd name="T9" fmla="*/ 1 h 602"/>
                <a:gd name="T10" fmla="*/ 707 w 903"/>
                <a:gd name="T11" fmla="*/ 0 h 602"/>
                <a:gd name="T12" fmla="*/ 701 w 903"/>
                <a:gd name="T13" fmla="*/ 2 h 602"/>
                <a:gd name="T14" fmla="*/ 696 w 903"/>
                <a:gd name="T15" fmla="*/ 5 h 602"/>
                <a:gd name="T16" fmla="*/ 693 w 903"/>
                <a:gd name="T17" fmla="*/ 9 h 602"/>
                <a:gd name="T18" fmla="*/ 692 w 903"/>
                <a:gd name="T19" fmla="*/ 16 h 602"/>
                <a:gd name="T20" fmla="*/ 632 w 903"/>
                <a:gd name="T21" fmla="*/ 572 h 602"/>
                <a:gd name="T22" fmla="*/ 632 w 903"/>
                <a:gd name="T23" fmla="*/ 163 h 602"/>
                <a:gd name="T24" fmla="*/ 629 w 903"/>
                <a:gd name="T25" fmla="*/ 157 h 602"/>
                <a:gd name="T26" fmla="*/ 625 w 903"/>
                <a:gd name="T27" fmla="*/ 153 h 602"/>
                <a:gd name="T28" fmla="*/ 620 w 903"/>
                <a:gd name="T29" fmla="*/ 151 h 602"/>
                <a:gd name="T30" fmla="*/ 496 w 903"/>
                <a:gd name="T31" fmla="*/ 151 h 602"/>
                <a:gd name="T32" fmla="*/ 490 w 903"/>
                <a:gd name="T33" fmla="*/ 152 h 602"/>
                <a:gd name="T34" fmla="*/ 486 w 903"/>
                <a:gd name="T35" fmla="*/ 155 h 602"/>
                <a:gd name="T36" fmla="*/ 482 w 903"/>
                <a:gd name="T37" fmla="*/ 159 h 602"/>
                <a:gd name="T38" fmla="*/ 481 w 903"/>
                <a:gd name="T39" fmla="*/ 166 h 602"/>
                <a:gd name="T40" fmla="*/ 421 w 903"/>
                <a:gd name="T41" fmla="*/ 572 h 602"/>
                <a:gd name="T42" fmla="*/ 420 w 903"/>
                <a:gd name="T43" fmla="*/ 313 h 602"/>
                <a:gd name="T44" fmla="*/ 418 w 903"/>
                <a:gd name="T45" fmla="*/ 307 h 602"/>
                <a:gd name="T46" fmla="*/ 414 w 903"/>
                <a:gd name="T47" fmla="*/ 304 h 602"/>
                <a:gd name="T48" fmla="*/ 408 w 903"/>
                <a:gd name="T49" fmla="*/ 302 h 602"/>
                <a:gd name="T50" fmla="*/ 285 w 903"/>
                <a:gd name="T51" fmla="*/ 301 h 602"/>
                <a:gd name="T52" fmla="*/ 280 w 903"/>
                <a:gd name="T53" fmla="*/ 302 h 602"/>
                <a:gd name="T54" fmla="*/ 274 w 903"/>
                <a:gd name="T55" fmla="*/ 305 h 602"/>
                <a:gd name="T56" fmla="*/ 271 w 903"/>
                <a:gd name="T57" fmla="*/ 311 h 602"/>
                <a:gd name="T58" fmla="*/ 270 w 903"/>
                <a:gd name="T59" fmla="*/ 316 h 602"/>
                <a:gd name="T60" fmla="*/ 210 w 903"/>
                <a:gd name="T61" fmla="*/ 572 h 602"/>
                <a:gd name="T62" fmla="*/ 210 w 903"/>
                <a:gd name="T63" fmla="*/ 464 h 602"/>
                <a:gd name="T64" fmla="*/ 208 w 903"/>
                <a:gd name="T65" fmla="*/ 459 h 602"/>
                <a:gd name="T66" fmla="*/ 204 w 903"/>
                <a:gd name="T67" fmla="*/ 454 h 602"/>
                <a:gd name="T68" fmla="*/ 198 w 903"/>
                <a:gd name="T69" fmla="*/ 452 h 602"/>
                <a:gd name="T70" fmla="*/ 75 w 903"/>
                <a:gd name="T71" fmla="*/ 452 h 602"/>
                <a:gd name="T72" fmla="*/ 69 w 903"/>
                <a:gd name="T73" fmla="*/ 453 h 602"/>
                <a:gd name="T74" fmla="*/ 64 w 903"/>
                <a:gd name="T75" fmla="*/ 457 h 602"/>
                <a:gd name="T76" fmla="*/ 61 w 903"/>
                <a:gd name="T77" fmla="*/ 461 h 602"/>
                <a:gd name="T78" fmla="*/ 60 w 903"/>
                <a:gd name="T79" fmla="*/ 467 h 602"/>
                <a:gd name="T80" fmla="*/ 15 w 903"/>
                <a:gd name="T81" fmla="*/ 572 h 602"/>
                <a:gd name="T82" fmla="*/ 8 w 903"/>
                <a:gd name="T83" fmla="*/ 573 h 602"/>
                <a:gd name="T84" fmla="*/ 4 w 903"/>
                <a:gd name="T85" fmla="*/ 577 h 602"/>
                <a:gd name="T86" fmla="*/ 1 w 903"/>
                <a:gd name="T87" fmla="*/ 581 h 602"/>
                <a:gd name="T88" fmla="*/ 0 w 903"/>
                <a:gd name="T89" fmla="*/ 587 h 602"/>
                <a:gd name="T90" fmla="*/ 1 w 903"/>
                <a:gd name="T91" fmla="*/ 593 h 602"/>
                <a:gd name="T92" fmla="*/ 4 w 903"/>
                <a:gd name="T93" fmla="*/ 598 h 602"/>
                <a:gd name="T94" fmla="*/ 8 w 903"/>
                <a:gd name="T95" fmla="*/ 601 h 602"/>
                <a:gd name="T96" fmla="*/ 15 w 903"/>
                <a:gd name="T97" fmla="*/ 602 h 602"/>
                <a:gd name="T98" fmla="*/ 195 w 903"/>
                <a:gd name="T99" fmla="*/ 602 h 602"/>
                <a:gd name="T100" fmla="*/ 406 w 903"/>
                <a:gd name="T101" fmla="*/ 602 h 602"/>
                <a:gd name="T102" fmla="*/ 617 w 903"/>
                <a:gd name="T103" fmla="*/ 602 h 602"/>
                <a:gd name="T104" fmla="*/ 828 w 903"/>
                <a:gd name="T105" fmla="*/ 602 h 602"/>
                <a:gd name="T106" fmla="*/ 891 w 903"/>
                <a:gd name="T107" fmla="*/ 602 h 602"/>
                <a:gd name="T108" fmla="*/ 896 w 903"/>
                <a:gd name="T109" fmla="*/ 600 h 602"/>
                <a:gd name="T110" fmla="*/ 900 w 903"/>
                <a:gd name="T111" fmla="*/ 596 h 602"/>
                <a:gd name="T112" fmla="*/ 902 w 903"/>
                <a:gd name="T113" fmla="*/ 591 h 602"/>
                <a:gd name="T114" fmla="*/ 902 w 903"/>
                <a:gd name="T115" fmla="*/ 584 h 602"/>
                <a:gd name="T116" fmla="*/ 900 w 903"/>
                <a:gd name="T117" fmla="*/ 579 h 602"/>
                <a:gd name="T118" fmla="*/ 896 w 903"/>
                <a:gd name="T119" fmla="*/ 575 h 602"/>
                <a:gd name="T120" fmla="*/ 891 w 903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3" h="602">
                  <a:moveTo>
                    <a:pt x="888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2" y="12"/>
                  </a:lnTo>
                  <a:lnTo>
                    <a:pt x="842" y="9"/>
                  </a:lnTo>
                  <a:lnTo>
                    <a:pt x="840" y="7"/>
                  </a:lnTo>
                  <a:lnTo>
                    <a:pt x="839" y="5"/>
                  </a:lnTo>
                  <a:lnTo>
                    <a:pt x="835" y="3"/>
                  </a:lnTo>
                  <a:lnTo>
                    <a:pt x="833" y="2"/>
                  </a:lnTo>
                  <a:lnTo>
                    <a:pt x="830" y="1"/>
                  </a:lnTo>
                  <a:lnTo>
                    <a:pt x="828" y="1"/>
                  </a:lnTo>
                  <a:lnTo>
                    <a:pt x="707" y="0"/>
                  </a:lnTo>
                  <a:lnTo>
                    <a:pt x="704" y="1"/>
                  </a:lnTo>
                  <a:lnTo>
                    <a:pt x="701" y="2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5" y="7"/>
                  </a:lnTo>
                  <a:lnTo>
                    <a:pt x="693" y="9"/>
                  </a:lnTo>
                  <a:lnTo>
                    <a:pt x="693" y="12"/>
                  </a:lnTo>
                  <a:lnTo>
                    <a:pt x="692" y="16"/>
                  </a:lnTo>
                  <a:lnTo>
                    <a:pt x="692" y="572"/>
                  </a:lnTo>
                  <a:lnTo>
                    <a:pt x="632" y="572"/>
                  </a:lnTo>
                  <a:lnTo>
                    <a:pt x="632" y="166"/>
                  </a:lnTo>
                  <a:lnTo>
                    <a:pt x="632" y="163"/>
                  </a:lnTo>
                  <a:lnTo>
                    <a:pt x="630" y="159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3"/>
                  </a:lnTo>
                  <a:lnTo>
                    <a:pt x="623" y="152"/>
                  </a:lnTo>
                  <a:lnTo>
                    <a:pt x="620" y="151"/>
                  </a:lnTo>
                  <a:lnTo>
                    <a:pt x="617" y="151"/>
                  </a:lnTo>
                  <a:lnTo>
                    <a:pt x="496" y="151"/>
                  </a:lnTo>
                  <a:lnTo>
                    <a:pt x="493" y="151"/>
                  </a:lnTo>
                  <a:lnTo>
                    <a:pt x="490" y="152"/>
                  </a:lnTo>
                  <a:lnTo>
                    <a:pt x="488" y="153"/>
                  </a:lnTo>
                  <a:lnTo>
                    <a:pt x="486" y="155"/>
                  </a:lnTo>
                  <a:lnTo>
                    <a:pt x="484" y="157"/>
                  </a:lnTo>
                  <a:lnTo>
                    <a:pt x="482" y="159"/>
                  </a:lnTo>
                  <a:lnTo>
                    <a:pt x="481" y="163"/>
                  </a:lnTo>
                  <a:lnTo>
                    <a:pt x="481" y="166"/>
                  </a:lnTo>
                  <a:lnTo>
                    <a:pt x="481" y="572"/>
                  </a:lnTo>
                  <a:lnTo>
                    <a:pt x="421" y="572"/>
                  </a:lnTo>
                  <a:lnTo>
                    <a:pt x="421" y="316"/>
                  </a:lnTo>
                  <a:lnTo>
                    <a:pt x="420" y="313"/>
                  </a:lnTo>
                  <a:lnTo>
                    <a:pt x="420" y="311"/>
                  </a:lnTo>
                  <a:lnTo>
                    <a:pt x="418" y="307"/>
                  </a:lnTo>
                  <a:lnTo>
                    <a:pt x="417" y="305"/>
                  </a:lnTo>
                  <a:lnTo>
                    <a:pt x="414" y="304"/>
                  </a:lnTo>
                  <a:lnTo>
                    <a:pt x="412" y="302"/>
                  </a:lnTo>
                  <a:lnTo>
                    <a:pt x="408" y="302"/>
                  </a:lnTo>
                  <a:lnTo>
                    <a:pt x="406" y="301"/>
                  </a:lnTo>
                  <a:lnTo>
                    <a:pt x="285" y="301"/>
                  </a:lnTo>
                  <a:lnTo>
                    <a:pt x="283" y="302"/>
                  </a:lnTo>
                  <a:lnTo>
                    <a:pt x="280" y="302"/>
                  </a:lnTo>
                  <a:lnTo>
                    <a:pt x="278" y="304"/>
                  </a:lnTo>
                  <a:lnTo>
                    <a:pt x="274" y="305"/>
                  </a:lnTo>
                  <a:lnTo>
                    <a:pt x="273" y="307"/>
                  </a:lnTo>
                  <a:lnTo>
                    <a:pt x="271" y="311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2"/>
                  </a:lnTo>
                  <a:lnTo>
                    <a:pt x="210" y="572"/>
                  </a:lnTo>
                  <a:lnTo>
                    <a:pt x="210" y="467"/>
                  </a:lnTo>
                  <a:lnTo>
                    <a:pt x="210" y="464"/>
                  </a:lnTo>
                  <a:lnTo>
                    <a:pt x="209" y="461"/>
                  </a:lnTo>
                  <a:lnTo>
                    <a:pt x="208" y="459"/>
                  </a:lnTo>
                  <a:lnTo>
                    <a:pt x="206" y="457"/>
                  </a:lnTo>
                  <a:lnTo>
                    <a:pt x="204" y="454"/>
                  </a:lnTo>
                  <a:lnTo>
                    <a:pt x="201" y="453"/>
                  </a:lnTo>
                  <a:lnTo>
                    <a:pt x="198" y="452"/>
                  </a:lnTo>
                  <a:lnTo>
                    <a:pt x="195" y="452"/>
                  </a:lnTo>
                  <a:lnTo>
                    <a:pt x="75" y="452"/>
                  </a:lnTo>
                  <a:lnTo>
                    <a:pt x="72" y="452"/>
                  </a:lnTo>
                  <a:lnTo>
                    <a:pt x="69" y="453"/>
                  </a:lnTo>
                  <a:lnTo>
                    <a:pt x="66" y="454"/>
                  </a:lnTo>
                  <a:lnTo>
                    <a:pt x="64" y="457"/>
                  </a:lnTo>
                  <a:lnTo>
                    <a:pt x="62" y="459"/>
                  </a:lnTo>
                  <a:lnTo>
                    <a:pt x="61" y="461"/>
                  </a:lnTo>
                  <a:lnTo>
                    <a:pt x="60" y="464"/>
                  </a:lnTo>
                  <a:lnTo>
                    <a:pt x="60" y="467"/>
                  </a:lnTo>
                  <a:lnTo>
                    <a:pt x="60" y="572"/>
                  </a:lnTo>
                  <a:lnTo>
                    <a:pt x="15" y="572"/>
                  </a:lnTo>
                  <a:lnTo>
                    <a:pt x="12" y="572"/>
                  </a:lnTo>
                  <a:lnTo>
                    <a:pt x="8" y="573"/>
                  </a:lnTo>
                  <a:lnTo>
                    <a:pt x="6" y="575"/>
                  </a:lnTo>
                  <a:lnTo>
                    <a:pt x="4" y="577"/>
                  </a:lnTo>
                  <a:lnTo>
                    <a:pt x="2" y="579"/>
                  </a:lnTo>
                  <a:lnTo>
                    <a:pt x="1" y="581"/>
                  </a:lnTo>
                  <a:lnTo>
                    <a:pt x="0" y="584"/>
                  </a:lnTo>
                  <a:lnTo>
                    <a:pt x="0" y="587"/>
                  </a:lnTo>
                  <a:lnTo>
                    <a:pt x="0" y="591"/>
                  </a:lnTo>
                  <a:lnTo>
                    <a:pt x="1" y="593"/>
                  </a:lnTo>
                  <a:lnTo>
                    <a:pt x="2" y="596"/>
                  </a:lnTo>
                  <a:lnTo>
                    <a:pt x="4" y="598"/>
                  </a:lnTo>
                  <a:lnTo>
                    <a:pt x="6" y="600"/>
                  </a:lnTo>
                  <a:lnTo>
                    <a:pt x="8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75" y="602"/>
                  </a:lnTo>
                  <a:lnTo>
                    <a:pt x="195" y="602"/>
                  </a:lnTo>
                  <a:lnTo>
                    <a:pt x="285" y="602"/>
                  </a:lnTo>
                  <a:lnTo>
                    <a:pt x="406" y="602"/>
                  </a:lnTo>
                  <a:lnTo>
                    <a:pt x="496" y="602"/>
                  </a:lnTo>
                  <a:lnTo>
                    <a:pt x="617" y="602"/>
                  </a:lnTo>
                  <a:lnTo>
                    <a:pt x="707" y="602"/>
                  </a:lnTo>
                  <a:lnTo>
                    <a:pt x="828" y="602"/>
                  </a:lnTo>
                  <a:lnTo>
                    <a:pt x="888" y="602"/>
                  </a:lnTo>
                  <a:lnTo>
                    <a:pt x="891" y="602"/>
                  </a:lnTo>
                  <a:lnTo>
                    <a:pt x="893" y="601"/>
                  </a:lnTo>
                  <a:lnTo>
                    <a:pt x="896" y="600"/>
                  </a:lnTo>
                  <a:lnTo>
                    <a:pt x="899" y="598"/>
                  </a:lnTo>
                  <a:lnTo>
                    <a:pt x="900" y="596"/>
                  </a:lnTo>
                  <a:lnTo>
                    <a:pt x="902" y="593"/>
                  </a:lnTo>
                  <a:lnTo>
                    <a:pt x="902" y="591"/>
                  </a:lnTo>
                  <a:lnTo>
                    <a:pt x="903" y="587"/>
                  </a:lnTo>
                  <a:lnTo>
                    <a:pt x="902" y="584"/>
                  </a:lnTo>
                  <a:lnTo>
                    <a:pt x="902" y="581"/>
                  </a:lnTo>
                  <a:lnTo>
                    <a:pt x="900" y="579"/>
                  </a:lnTo>
                  <a:lnTo>
                    <a:pt x="899" y="577"/>
                  </a:lnTo>
                  <a:lnTo>
                    <a:pt x="896" y="575"/>
                  </a:lnTo>
                  <a:lnTo>
                    <a:pt x="893" y="573"/>
                  </a:lnTo>
                  <a:lnTo>
                    <a:pt x="891" y="572"/>
                  </a:lnTo>
                  <a:lnTo>
                    <a:pt x="888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</p:grpSp>
      <p:grpSp>
        <p:nvGrpSpPr>
          <p:cNvPr id="81" name="Группа 80" descr="Это изображение содержит значок шестеренок. ">
            <a:extLst>
              <a:ext uri="{FF2B5EF4-FFF2-40B4-BE49-F238E27FC236}">
                <a16:creationId xmlns:a16="http://schemas.microsoft.com/office/drawing/2014/main" xmlns="" id="{CF7442ED-E503-49F5-9126-27F11E0DE074}"/>
              </a:ext>
            </a:extLst>
          </p:cNvPr>
          <p:cNvGrpSpPr/>
          <p:nvPr/>
        </p:nvGrpSpPr>
        <p:grpSpPr>
          <a:xfrm>
            <a:off x="4567322" y="4930423"/>
            <a:ext cx="334234" cy="343837"/>
            <a:chOff x="7048500" y="1387475"/>
            <a:chExt cx="276226" cy="284163"/>
          </a:xfrm>
          <a:solidFill>
            <a:schemeClr val="bg1"/>
          </a:solidFill>
        </p:grpSpPr>
        <p:sp>
          <p:nvSpPr>
            <p:cNvPr id="82" name="Полилиния 4357">
              <a:extLst>
                <a:ext uri="{FF2B5EF4-FFF2-40B4-BE49-F238E27FC236}">
                  <a16:creationId xmlns:a16="http://schemas.microsoft.com/office/drawing/2014/main" xmlns="" id="{5D20C8D8-9E27-4678-9329-87F88DA477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1213" y="1387475"/>
              <a:ext cx="163513" cy="160338"/>
            </a:xfrm>
            <a:custGeom>
              <a:avLst/>
              <a:gdLst>
                <a:gd name="T0" fmla="*/ 229 w 512"/>
                <a:gd name="T1" fmla="*/ 345 h 506"/>
                <a:gd name="T2" fmla="*/ 198 w 512"/>
                <a:gd name="T3" fmla="*/ 328 h 506"/>
                <a:gd name="T4" fmla="*/ 177 w 512"/>
                <a:gd name="T5" fmla="*/ 302 h 506"/>
                <a:gd name="T6" fmla="*/ 166 w 512"/>
                <a:gd name="T7" fmla="*/ 268 h 506"/>
                <a:gd name="T8" fmla="*/ 169 w 512"/>
                <a:gd name="T9" fmla="*/ 232 h 506"/>
                <a:gd name="T10" fmla="*/ 187 w 512"/>
                <a:gd name="T11" fmla="*/ 201 h 506"/>
                <a:gd name="T12" fmla="*/ 213 w 512"/>
                <a:gd name="T13" fmla="*/ 179 h 506"/>
                <a:gd name="T14" fmla="*/ 246 w 512"/>
                <a:gd name="T15" fmla="*/ 169 h 506"/>
                <a:gd name="T16" fmla="*/ 283 w 512"/>
                <a:gd name="T17" fmla="*/ 172 h 506"/>
                <a:gd name="T18" fmla="*/ 314 w 512"/>
                <a:gd name="T19" fmla="*/ 189 h 506"/>
                <a:gd name="T20" fmla="*/ 335 w 512"/>
                <a:gd name="T21" fmla="*/ 216 h 506"/>
                <a:gd name="T22" fmla="*/ 346 w 512"/>
                <a:gd name="T23" fmla="*/ 250 h 506"/>
                <a:gd name="T24" fmla="*/ 343 w 512"/>
                <a:gd name="T25" fmla="*/ 286 h 506"/>
                <a:gd name="T26" fmla="*/ 326 w 512"/>
                <a:gd name="T27" fmla="*/ 316 h 506"/>
                <a:gd name="T28" fmla="*/ 299 w 512"/>
                <a:gd name="T29" fmla="*/ 338 h 506"/>
                <a:gd name="T30" fmla="*/ 265 w 512"/>
                <a:gd name="T31" fmla="*/ 348 h 506"/>
                <a:gd name="T32" fmla="*/ 458 w 512"/>
                <a:gd name="T33" fmla="*/ 276 h 506"/>
                <a:gd name="T34" fmla="*/ 504 w 512"/>
                <a:gd name="T35" fmla="*/ 198 h 506"/>
                <a:gd name="T36" fmla="*/ 511 w 512"/>
                <a:gd name="T37" fmla="*/ 189 h 506"/>
                <a:gd name="T38" fmla="*/ 510 w 512"/>
                <a:gd name="T39" fmla="*/ 178 h 506"/>
                <a:gd name="T40" fmla="*/ 438 w 512"/>
                <a:gd name="T41" fmla="*/ 72 h 506"/>
                <a:gd name="T42" fmla="*/ 363 w 512"/>
                <a:gd name="T43" fmla="*/ 85 h 506"/>
                <a:gd name="T44" fmla="*/ 332 w 512"/>
                <a:gd name="T45" fmla="*/ 10 h 506"/>
                <a:gd name="T46" fmla="*/ 326 w 512"/>
                <a:gd name="T47" fmla="*/ 2 h 506"/>
                <a:gd name="T48" fmla="*/ 204 w 512"/>
                <a:gd name="T49" fmla="*/ 0 h 506"/>
                <a:gd name="T50" fmla="*/ 193 w 512"/>
                <a:gd name="T51" fmla="*/ 3 h 506"/>
                <a:gd name="T52" fmla="*/ 189 w 512"/>
                <a:gd name="T53" fmla="*/ 14 h 506"/>
                <a:gd name="T54" fmla="*/ 162 w 512"/>
                <a:gd name="T55" fmla="*/ 78 h 506"/>
                <a:gd name="T56" fmla="*/ 81 w 512"/>
                <a:gd name="T57" fmla="*/ 74 h 506"/>
                <a:gd name="T58" fmla="*/ 65 w 512"/>
                <a:gd name="T59" fmla="*/ 76 h 506"/>
                <a:gd name="T60" fmla="*/ 1 w 512"/>
                <a:gd name="T61" fmla="*/ 184 h 506"/>
                <a:gd name="T62" fmla="*/ 6 w 512"/>
                <a:gd name="T63" fmla="*/ 197 h 506"/>
                <a:gd name="T64" fmla="*/ 53 w 512"/>
                <a:gd name="T65" fmla="*/ 259 h 506"/>
                <a:gd name="T66" fmla="*/ 4 w 512"/>
                <a:gd name="T67" fmla="*/ 324 h 506"/>
                <a:gd name="T68" fmla="*/ 1 w 512"/>
                <a:gd name="T69" fmla="*/ 338 h 506"/>
                <a:gd name="T70" fmla="*/ 62 w 512"/>
                <a:gd name="T71" fmla="*/ 442 h 506"/>
                <a:gd name="T72" fmla="*/ 73 w 512"/>
                <a:gd name="T73" fmla="*/ 445 h 506"/>
                <a:gd name="T74" fmla="*/ 141 w 512"/>
                <a:gd name="T75" fmla="*/ 427 h 506"/>
                <a:gd name="T76" fmla="*/ 179 w 512"/>
                <a:gd name="T77" fmla="*/ 447 h 506"/>
                <a:gd name="T78" fmla="*/ 190 w 512"/>
                <a:gd name="T79" fmla="*/ 497 h 506"/>
                <a:gd name="T80" fmla="*/ 198 w 512"/>
                <a:gd name="T81" fmla="*/ 505 h 506"/>
                <a:gd name="T82" fmla="*/ 320 w 512"/>
                <a:gd name="T83" fmla="*/ 506 h 506"/>
                <a:gd name="T84" fmla="*/ 330 w 512"/>
                <a:gd name="T85" fmla="*/ 499 h 506"/>
                <a:gd name="T86" fmla="*/ 332 w 512"/>
                <a:gd name="T87" fmla="*/ 448 h 506"/>
                <a:gd name="T88" fmla="*/ 387 w 512"/>
                <a:gd name="T89" fmla="*/ 416 h 506"/>
                <a:gd name="T90" fmla="*/ 441 w 512"/>
                <a:gd name="T91" fmla="*/ 446 h 506"/>
                <a:gd name="T92" fmla="*/ 451 w 512"/>
                <a:gd name="T93" fmla="*/ 440 h 506"/>
                <a:gd name="T94" fmla="*/ 512 w 512"/>
                <a:gd name="T95" fmla="*/ 335 h 506"/>
                <a:gd name="T96" fmla="*/ 509 w 512"/>
                <a:gd name="T97" fmla="*/ 323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2" h="506">
                  <a:moveTo>
                    <a:pt x="256" y="350"/>
                  </a:moveTo>
                  <a:lnTo>
                    <a:pt x="246" y="348"/>
                  </a:lnTo>
                  <a:lnTo>
                    <a:pt x="238" y="347"/>
                  </a:lnTo>
                  <a:lnTo>
                    <a:pt x="229" y="345"/>
                  </a:lnTo>
                  <a:lnTo>
                    <a:pt x="221" y="342"/>
                  </a:lnTo>
                  <a:lnTo>
                    <a:pt x="213" y="338"/>
                  </a:lnTo>
                  <a:lnTo>
                    <a:pt x="206" y="334"/>
                  </a:lnTo>
                  <a:lnTo>
                    <a:pt x="198" y="328"/>
                  </a:lnTo>
                  <a:lnTo>
                    <a:pt x="192" y="323"/>
                  </a:lnTo>
                  <a:lnTo>
                    <a:pt x="187" y="316"/>
                  </a:lnTo>
                  <a:lnTo>
                    <a:pt x="181" y="310"/>
                  </a:lnTo>
                  <a:lnTo>
                    <a:pt x="177" y="302"/>
                  </a:lnTo>
                  <a:lnTo>
                    <a:pt x="173" y="294"/>
                  </a:lnTo>
                  <a:lnTo>
                    <a:pt x="169" y="286"/>
                  </a:lnTo>
                  <a:lnTo>
                    <a:pt x="167" y="278"/>
                  </a:lnTo>
                  <a:lnTo>
                    <a:pt x="166" y="268"/>
                  </a:lnTo>
                  <a:lnTo>
                    <a:pt x="165" y="260"/>
                  </a:lnTo>
                  <a:lnTo>
                    <a:pt x="166" y="250"/>
                  </a:lnTo>
                  <a:lnTo>
                    <a:pt x="167" y="240"/>
                  </a:lnTo>
                  <a:lnTo>
                    <a:pt x="169" y="232"/>
                  </a:lnTo>
                  <a:lnTo>
                    <a:pt x="173" y="223"/>
                  </a:lnTo>
                  <a:lnTo>
                    <a:pt x="177" y="216"/>
                  </a:lnTo>
                  <a:lnTo>
                    <a:pt x="181" y="208"/>
                  </a:lnTo>
                  <a:lnTo>
                    <a:pt x="187" y="201"/>
                  </a:lnTo>
                  <a:lnTo>
                    <a:pt x="192" y="194"/>
                  </a:lnTo>
                  <a:lnTo>
                    <a:pt x="198" y="189"/>
                  </a:lnTo>
                  <a:lnTo>
                    <a:pt x="206" y="184"/>
                  </a:lnTo>
                  <a:lnTo>
                    <a:pt x="213" y="179"/>
                  </a:lnTo>
                  <a:lnTo>
                    <a:pt x="221" y="175"/>
                  </a:lnTo>
                  <a:lnTo>
                    <a:pt x="229" y="172"/>
                  </a:lnTo>
                  <a:lnTo>
                    <a:pt x="238" y="170"/>
                  </a:lnTo>
                  <a:lnTo>
                    <a:pt x="246" y="169"/>
                  </a:lnTo>
                  <a:lnTo>
                    <a:pt x="256" y="168"/>
                  </a:lnTo>
                  <a:lnTo>
                    <a:pt x="265" y="169"/>
                  </a:lnTo>
                  <a:lnTo>
                    <a:pt x="274" y="170"/>
                  </a:lnTo>
                  <a:lnTo>
                    <a:pt x="283" y="172"/>
                  </a:lnTo>
                  <a:lnTo>
                    <a:pt x="291" y="175"/>
                  </a:lnTo>
                  <a:lnTo>
                    <a:pt x="299" y="179"/>
                  </a:lnTo>
                  <a:lnTo>
                    <a:pt x="306" y="184"/>
                  </a:lnTo>
                  <a:lnTo>
                    <a:pt x="314" y="189"/>
                  </a:lnTo>
                  <a:lnTo>
                    <a:pt x="320" y="194"/>
                  </a:lnTo>
                  <a:lnTo>
                    <a:pt x="326" y="201"/>
                  </a:lnTo>
                  <a:lnTo>
                    <a:pt x="331" y="208"/>
                  </a:lnTo>
                  <a:lnTo>
                    <a:pt x="335" y="216"/>
                  </a:lnTo>
                  <a:lnTo>
                    <a:pt x="340" y="223"/>
                  </a:lnTo>
                  <a:lnTo>
                    <a:pt x="343" y="232"/>
                  </a:lnTo>
                  <a:lnTo>
                    <a:pt x="345" y="240"/>
                  </a:lnTo>
                  <a:lnTo>
                    <a:pt x="346" y="250"/>
                  </a:lnTo>
                  <a:lnTo>
                    <a:pt x="346" y="260"/>
                  </a:lnTo>
                  <a:lnTo>
                    <a:pt x="346" y="268"/>
                  </a:lnTo>
                  <a:lnTo>
                    <a:pt x="345" y="278"/>
                  </a:lnTo>
                  <a:lnTo>
                    <a:pt x="343" y="286"/>
                  </a:lnTo>
                  <a:lnTo>
                    <a:pt x="340" y="294"/>
                  </a:lnTo>
                  <a:lnTo>
                    <a:pt x="335" y="302"/>
                  </a:lnTo>
                  <a:lnTo>
                    <a:pt x="331" y="310"/>
                  </a:lnTo>
                  <a:lnTo>
                    <a:pt x="326" y="316"/>
                  </a:lnTo>
                  <a:lnTo>
                    <a:pt x="320" y="323"/>
                  </a:lnTo>
                  <a:lnTo>
                    <a:pt x="314" y="328"/>
                  </a:lnTo>
                  <a:lnTo>
                    <a:pt x="306" y="334"/>
                  </a:lnTo>
                  <a:lnTo>
                    <a:pt x="299" y="338"/>
                  </a:lnTo>
                  <a:lnTo>
                    <a:pt x="291" y="342"/>
                  </a:lnTo>
                  <a:lnTo>
                    <a:pt x="283" y="345"/>
                  </a:lnTo>
                  <a:lnTo>
                    <a:pt x="274" y="347"/>
                  </a:lnTo>
                  <a:lnTo>
                    <a:pt x="265" y="348"/>
                  </a:lnTo>
                  <a:lnTo>
                    <a:pt x="256" y="350"/>
                  </a:lnTo>
                  <a:close/>
                  <a:moveTo>
                    <a:pt x="504" y="320"/>
                  </a:moveTo>
                  <a:lnTo>
                    <a:pt x="456" y="292"/>
                  </a:lnTo>
                  <a:lnTo>
                    <a:pt x="458" y="276"/>
                  </a:lnTo>
                  <a:lnTo>
                    <a:pt x="459" y="259"/>
                  </a:lnTo>
                  <a:lnTo>
                    <a:pt x="458" y="241"/>
                  </a:lnTo>
                  <a:lnTo>
                    <a:pt x="456" y="225"/>
                  </a:lnTo>
                  <a:lnTo>
                    <a:pt x="504" y="198"/>
                  </a:lnTo>
                  <a:lnTo>
                    <a:pt x="506" y="197"/>
                  </a:lnTo>
                  <a:lnTo>
                    <a:pt x="509" y="194"/>
                  </a:lnTo>
                  <a:lnTo>
                    <a:pt x="510" y="191"/>
                  </a:lnTo>
                  <a:lnTo>
                    <a:pt x="511" y="189"/>
                  </a:lnTo>
                  <a:lnTo>
                    <a:pt x="512" y="186"/>
                  </a:lnTo>
                  <a:lnTo>
                    <a:pt x="512" y="184"/>
                  </a:lnTo>
                  <a:lnTo>
                    <a:pt x="511" y="181"/>
                  </a:lnTo>
                  <a:lnTo>
                    <a:pt x="510" y="178"/>
                  </a:lnTo>
                  <a:lnTo>
                    <a:pt x="453" y="80"/>
                  </a:lnTo>
                  <a:lnTo>
                    <a:pt x="449" y="76"/>
                  </a:lnTo>
                  <a:lnTo>
                    <a:pt x="443" y="72"/>
                  </a:lnTo>
                  <a:lnTo>
                    <a:pt x="438" y="72"/>
                  </a:lnTo>
                  <a:lnTo>
                    <a:pt x="433" y="74"/>
                  </a:lnTo>
                  <a:lnTo>
                    <a:pt x="387" y="102"/>
                  </a:lnTo>
                  <a:lnTo>
                    <a:pt x="376" y="94"/>
                  </a:lnTo>
                  <a:lnTo>
                    <a:pt x="363" y="85"/>
                  </a:lnTo>
                  <a:lnTo>
                    <a:pt x="348" y="78"/>
                  </a:lnTo>
                  <a:lnTo>
                    <a:pt x="332" y="69"/>
                  </a:lnTo>
                  <a:lnTo>
                    <a:pt x="332" y="14"/>
                  </a:lnTo>
                  <a:lnTo>
                    <a:pt x="332" y="10"/>
                  </a:lnTo>
                  <a:lnTo>
                    <a:pt x="331" y="8"/>
                  </a:lnTo>
                  <a:lnTo>
                    <a:pt x="330" y="5"/>
                  </a:lnTo>
                  <a:lnTo>
                    <a:pt x="328" y="3"/>
                  </a:lnTo>
                  <a:lnTo>
                    <a:pt x="326" y="2"/>
                  </a:lnTo>
                  <a:lnTo>
                    <a:pt x="322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4" y="0"/>
                  </a:lnTo>
                  <a:lnTo>
                    <a:pt x="200" y="0"/>
                  </a:lnTo>
                  <a:lnTo>
                    <a:pt x="198" y="1"/>
                  </a:lnTo>
                  <a:lnTo>
                    <a:pt x="195" y="2"/>
                  </a:lnTo>
                  <a:lnTo>
                    <a:pt x="193" y="3"/>
                  </a:lnTo>
                  <a:lnTo>
                    <a:pt x="192" y="5"/>
                  </a:lnTo>
                  <a:lnTo>
                    <a:pt x="190" y="8"/>
                  </a:lnTo>
                  <a:lnTo>
                    <a:pt x="190" y="10"/>
                  </a:lnTo>
                  <a:lnTo>
                    <a:pt x="189" y="14"/>
                  </a:lnTo>
                  <a:lnTo>
                    <a:pt x="189" y="68"/>
                  </a:lnTo>
                  <a:lnTo>
                    <a:pt x="179" y="71"/>
                  </a:lnTo>
                  <a:lnTo>
                    <a:pt x="169" y="75"/>
                  </a:lnTo>
                  <a:lnTo>
                    <a:pt x="162" y="78"/>
                  </a:lnTo>
                  <a:lnTo>
                    <a:pt x="154" y="82"/>
                  </a:lnTo>
                  <a:lnTo>
                    <a:pt x="141" y="92"/>
                  </a:lnTo>
                  <a:lnTo>
                    <a:pt x="129" y="102"/>
                  </a:lnTo>
                  <a:lnTo>
                    <a:pt x="81" y="74"/>
                  </a:lnTo>
                  <a:lnTo>
                    <a:pt x="75" y="72"/>
                  </a:lnTo>
                  <a:lnTo>
                    <a:pt x="69" y="74"/>
                  </a:lnTo>
                  <a:lnTo>
                    <a:pt x="67" y="74"/>
                  </a:lnTo>
                  <a:lnTo>
                    <a:pt x="65" y="76"/>
                  </a:lnTo>
                  <a:lnTo>
                    <a:pt x="62" y="78"/>
                  </a:lnTo>
                  <a:lnTo>
                    <a:pt x="60" y="80"/>
                  </a:lnTo>
                  <a:lnTo>
                    <a:pt x="3" y="177"/>
                  </a:lnTo>
                  <a:lnTo>
                    <a:pt x="1" y="184"/>
                  </a:lnTo>
                  <a:lnTo>
                    <a:pt x="1" y="189"/>
                  </a:lnTo>
                  <a:lnTo>
                    <a:pt x="3" y="192"/>
                  </a:lnTo>
                  <a:lnTo>
                    <a:pt x="4" y="194"/>
                  </a:lnTo>
                  <a:lnTo>
                    <a:pt x="6" y="197"/>
                  </a:lnTo>
                  <a:lnTo>
                    <a:pt x="9" y="198"/>
                  </a:lnTo>
                  <a:lnTo>
                    <a:pt x="56" y="225"/>
                  </a:lnTo>
                  <a:lnTo>
                    <a:pt x="54" y="241"/>
                  </a:lnTo>
                  <a:lnTo>
                    <a:pt x="53" y="259"/>
                  </a:lnTo>
                  <a:lnTo>
                    <a:pt x="53" y="276"/>
                  </a:lnTo>
                  <a:lnTo>
                    <a:pt x="55" y="292"/>
                  </a:lnTo>
                  <a:lnTo>
                    <a:pt x="8" y="320"/>
                  </a:lnTo>
                  <a:lnTo>
                    <a:pt x="4" y="324"/>
                  </a:lnTo>
                  <a:lnTo>
                    <a:pt x="1" y="328"/>
                  </a:lnTo>
                  <a:lnTo>
                    <a:pt x="0" y="331"/>
                  </a:lnTo>
                  <a:lnTo>
                    <a:pt x="0" y="335"/>
                  </a:lnTo>
                  <a:lnTo>
                    <a:pt x="1" y="338"/>
                  </a:lnTo>
                  <a:lnTo>
                    <a:pt x="3" y="340"/>
                  </a:lnTo>
                  <a:lnTo>
                    <a:pt x="59" y="437"/>
                  </a:lnTo>
                  <a:lnTo>
                    <a:pt x="60" y="439"/>
                  </a:lnTo>
                  <a:lnTo>
                    <a:pt x="62" y="442"/>
                  </a:lnTo>
                  <a:lnTo>
                    <a:pt x="66" y="444"/>
                  </a:lnTo>
                  <a:lnTo>
                    <a:pt x="68" y="445"/>
                  </a:lnTo>
                  <a:lnTo>
                    <a:pt x="71" y="446"/>
                  </a:lnTo>
                  <a:lnTo>
                    <a:pt x="73" y="445"/>
                  </a:lnTo>
                  <a:lnTo>
                    <a:pt x="76" y="445"/>
                  </a:lnTo>
                  <a:lnTo>
                    <a:pt x="80" y="444"/>
                  </a:lnTo>
                  <a:lnTo>
                    <a:pt x="129" y="416"/>
                  </a:lnTo>
                  <a:lnTo>
                    <a:pt x="141" y="427"/>
                  </a:lnTo>
                  <a:lnTo>
                    <a:pt x="154" y="435"/>
                  </a:lnTo>
                  <a:lnTo>
                    <a:pt x="162" y="439"/>
                  </a:lnTo>
                  <a:lnTo>
                    <a:pt x="169" y="444"/>
                  </a:lnTo>
                  <a:lnTo>
                    <a:pt x="179" y="447"/>
                  </a:lnTo>
                  <a:lnTo>
                    <a:pt x="189" y="451"/>
                  </a:lnTo>
                  <a:lnTo>
                    <a:pt x="189" y="491"/>
                  </a:lnTo>
                  <a:lnTo>
                    <a:pt x="190" y="494"/>
                  </a:lnTo>
                  <a:lnTo>
                    <a:pt x="190" y="497"/>
                  </a:lnTo>
                  <a:lnTo>
                    <a:pt x="192" y="499"/>
                  </a:lnTo>
                  <a:lnTo>
                    <a:pt x="193" y="501"/>
                  </a:lnTo>
                  <a:lnTo>
                    <a:pt x="195" y="504"/>
                  </a:lnTo>
                  <a:lnTo>
                    <a:pt x="198" y="505"/>
                  </a:lnTo>
                  <a:lnTo>
                    <a:pt x="200" y="506"/>
                  </a:lnTo>
                  <a:lnTo>
                    <a:pt x="204" y="506"/>
                  </a:lnTo>
                  <a:lnTo>
                    <a:pt x="317" y="506"/>
                  </a:lnTo>
                  <a:lnTo>
                    <a:pt x="320" y="506"/>
                  </a:lnTo>
                  <a:lnTo>
                    <a:pt x="322" y="505"/>
                  </a:lnTo>
                  <a:lnTo>
                    <a:pt x="326" y="504"/>
                  </a:lnTo>
                  <a:lnTo>
                    <a:pt x="328" y="501"/>
                  </a:lnTo>
                  <a:lnTo>
                    <a:pt x="330" y="499"/>
                  </a:lnTo>
                  <a:lnTo>
                    <a:pt x="331" y="497"/>
                  </a:lnTo>
                  <a:lnTo>
                    <a:pt x="332" y="494"/>
                  </a:lnTo>
                  <a:lnTo>
                    <a:pt x="332" y="491"/>
                  </a:lnTo>
                  <a:lnTo>
                    <a:pt x="332" y="448"/>
                  </a:lnTo>
                  <a:lnTo>
                    <a:pt x="348" y="439"/>
                  </a:lnTo>
                  <a:lnTo>
                    <a:pt x="363" y="432"/>
                  </a:lnTo>
                  <a:lnTo>
                    <a:pt x="376" y="424"/>
                  </a:lnTo>
                  <a:lnTo>
                    <a:pt x="387" y="416"/>
                  </a:lnTo>
                  <a:lnTo>
                    <a:pt x="433" y="444"/>
                  </a:lnTo>
                  <a:lnTo>
                    <a:pt x="435" y="445"/>
                  </a:lnTo>
                  <a:lnTo>
                    <a:pt x="438" y="445"/>
                  </a:lnTo>
                  <a:lnTo>
                    <a:pt x="441" y="446"/>
                  </a:lnTo>
                  <a:lnTo>
                    <a:pt x="443" y="445"/>
                  </a:lnTo>
                  <a:lnTo>
                    <a:pt x="447" y="444"/>
                  </a:lnTo>
                  <a:lnTo>
                    <a:pt x="449" y="443"/>
                  </a:lnTo>
                  <a:lnTo>
                    <a:pt x="451" y="440"/>
                  </a:lnTo>
                  <a:lnTo>
                    <a:pt x="453" y="437"/>
                  </a:lnTo>
                  <a:lnTo>
                    <a:pt x="510" y="340"/>
                  </a:lnTo>
                  <a:lnTo>
                    <a:pt x="511" y="338"/>
                  </a:lnTo>
                  <a:lnTo>
                    <a:pt x="512" y="335"/>
                  </a:lnTo>
                  <a:lnTo>
                    <a:pt x="512" y="331"/>
                  </a:lnTo>
                  <a:lnTo>
                    <a:pt x="511" y="328"/>
                  </a:lnTo>
                  <a:lnTo>
                    <a:pt x="510" y="326"/>
                  </a:lnTo>
                  <a:lnTo>
                    <a:pt x="509" y="323"/>
                  </a:lnTo>
                  <a:lnTo>
                    <a:pt x="506" y="321"/>
                  </a:lnTo>
                  <a:lnTo>
                    <a:pt x="504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83" name="Полилиния 4358">
              <a:extLst>
                <a:ext uri="{FF2B5EF4-FFF2-40B4-BE49-F238E27FC236}">
                  <a16:creationId xmlns:a16="http://schemas.microsoft.com/office/drawing/2014/main" xmlns="" id="{51F64262-4CAE-411C-BA9D-7B6EC82557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8500" y="1509713"/>
              <a:ext cx="161925" cy="161925"/>
            </a:xfrm>
            <a:custGeom>
              <a:avLst/>
              <a:gdLst>
                <a:gd name="T0" fmla="*/ 229 w 511"/>
                <a:gd name="T1" fmla="*/ 335 h 509"/>
                <a:gd name="T2" fmla="*/ 198 w 511"/>
                <a:gd name="T3" fmla="*/ 319 h 509"/>
                <a:gd name="T4" fmla="*/ 176 w 511"/>
                <a:gd name="T5" fmla="*/ 292 h 509"/>
                <a:gd name="T6" fmla="*/ 166 w 511"/>
                <a:gd name="T7" fmla="*/ 258 h 509"/>
                <a:gd name="T8" fmla="*/ 169 w 511"/>
                <a:gd name="T9" fmla="*/ 223 h 509"/>
                <a:gd name="T10" fmla="*/ 186 w 511"/>
                <a:gd name="T11" fmla="*/ 191 h 509"/>
                <a:gd name="T12" fmla="*/ 213 w 511"/>
                <a:gd name="T13" fmla="*/ 169 h 509"/>
                <a:gd name="T14" fmla="*/ 246 w 511"/>
                <a:gd name="T15" fmla="*/ 158 h 509"/>
                <a:gd name="T16" fmla="*/ 282 w 511"/>
                <a:gd name="T17" fmla="*/ 163 h 509"/>
                <a:gd name="T18" fmla="*/ 313 w 511"/>
                <a:gd name="T19" fmla="*/ 179 h 509"/>
                <a:gd name="T20" fmla="*/ 335 w 511"/>
                <a:gd name="T21" fmla="*/ 206 h 509"/>
                <a:gd name="T22" fmla="*/ 346 w 511"/>
                <a:gd name="T23" fmla="*/ 240 h 509"/>
                <a:gd name="T24" fmla="*/ 342 w 511"/>
                <a:gd name="T25" fmla="*/ 276 h 509"/>
                <a:gd name="T26" fmla="*/ 325 w 511"/>
                <a:gd name="T27" fmla="*/ 306 h 509"/>
                <a:gd name="T28" fmla="*/ 298 w 511"/>
                <a:gd name="T29" fmla="*/ 328 h 509"/>
                <a:gd name="T30" fmla="*/ 265 w 511"/>
                <a:gd name="T31" fmla="*/ 338 h 509"/>
                <a:gd name="T32" fmla="*/ 511 w 511"/>
                <a:gd name="T33" fmla="*/ 173 h 509"/>
                <a:gd name="T34" fmla="*/ 450 w 511"/>
                <a:gd name="T35" fmla="*/ 67 h 509"/>
                <a:gd name="T36" fmla="*/ 441 w 511"/>
                <a:gd name="T37" fmla="*/ 63 h 509"/>
                <a:gd name="T38" fmla="*/ 386 w 511"/>
                <a:gd name="T39" fmla="*/ 92 h 509"/>
                <a:gd name="T40" fmla="*/ 332 w 511"/>
                <a:gd name="T41" fmla="*/ 59 h 509"/>
                <a:gd name="T42" fmla="*/ 329 w 511"/>
                <a:gd name="T43" fmla="*/ 6 h 509"/>
                <a:gd name="T44" fmla="*/ 320 w 511"/>
                <a:gd name="T45" fmla="*/ 0 h 509"/>
                <a:gd name="T46" fmla="*/ 198 w 511"/>
                <a:gd name="T47" fmla="*/ 1 h 509"/>
                <a:gd name="T48" fmla="*/ 190 w 511"/>
                <a:gd name="T49" fmla="*/ 9 h 509"/>
                <a:gd name="T50" fmla="*/ 179 w 511"/>
                <a:gd name="T51" fmla="*/ 61 h 509"/>
                <a:gd name="T52" fmla="*/ 141 w 511"/>
                <a:gd name="T53" fmla="*/ 81 h 509"/>
                <a:gd name="T54" fmla="*/ 68 w 511"/>
                <a:gd name="T55" fmla="*/ 63 h 509"/>
                <a:gd name="T56" fmla="*/ 60 w 511"/>
                <a:gd name="T57" fmla="*/ 70 h 509"/>
                <a:gd name="T58" fmla="*/ 1 w 511"/>
                <a:gd name="T59" fmla="*/ 177 h 509"/>
                <a:gd name="T60" fmla="*/ 5 w 511"/>
                <a:gd name="T61" fmla="*/ 186 h 509"/>
                <a:gd name="T62" fmla="*/ 52 w 511"/>
                <a:gd name="T63" fmla="*/ 249 h 509"/>
                <a:gd name="T64" fmla="*/ 5 w 511"/>
                <a:gd name="T65" fmla="*/ 311 h 509"/>
                <a:gd name="T66" fmla="*/ 0 w 511"/>
                <a:gd name="T67" fmla="*/ 322 h 509"/>
                <a:gd name="T68" fmla="*/ 59 w 511"/>
                <a:gd name="T69" fmla="*/ 429 h 509"/>
                <a:gd name="T70" fmla="*/ 74 w 511"/>
                <a:gd name="T71" fmla="*/ 435 h 509"/>
                <a:gd name="T72" fmla="*/ 140 w 511"/>
                <a:gd name="T73" fmla="*/ 416 h 509"/>
                <a:gd name="T74" fmla="*/ 179 w 511"/>
                <a:gd name="T75" fmla="*/ 438 h 509"/>
                <a:gd name="T76" fmla="*/ 190 w 511"/>
                <a:gd name="T77" fmla="*/ 500 h 509"/>
                <a:gd name="T78" fmla="*/ 198 w 511"/>
                <a:gd name="T79" fmla="*/ 508 h 509"/>
                <a:gd name="T80" fmla="*/ 320 w 511"/>
                <a:gd name="T81" fmla="*/ 509 h 509"/>
                <a:gd name="T82" fmla="*/ 329 w 511"/>
                <a:gd name="T83" fmla="*/ 503 h 509"/>
                <a:gd name="T84" fmla="*/ 332 w 511"/>
                <a:gd name="T85" fmla="*/ 439 h 509"/>
                <a:gd name="T86" fmla="*/ 387 w 511"/>
                <a:gd name="T87" fmla="*/ 407 h 509"/>
                <a:gd name="T88" fmla="*/ 441 w 511"/>
                <a:gd name="T89" fmla="*/ 435 h 509"/>
                <a:gd name="T90" fmla="*/ 450 w 511"/>
                <a:gd name="T91" fmla="*/ 431 h 509"/>
                <a:gd name="T92" fmla="*/ 511 w 511"/>
                <a:gd name="T93" fmla="*/ 324 h 509"/>
                <a:gd name="T94" fmla="*/ 504 w 511"/>
                <a:gd name="T95" fmla="*/ 309 h 509"/>
                <a:gd name="T96" fmla="*/ 459 w 511"/>
                <a:gd name="T97" fmla="*/ 233 h 509"/>
                <a:gd name="T98" fmla="*/ 508 w 511"/>
                <a:gd name="T99" fmla="*/ 184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11" h="509">
                  <a:moveTo>
                    <a:pt x="256" y="339"/>
                  </a:moveTo>
                  <a:lnTo>
                    <a:pt x="246" y="338"/>
                  </a:lnTo>
                  <a:lnTo>
                    <a:pt x="237" y="337"/>
                  </a:lnTo>
                  <a:lnTo>
                    <a:pt x="229" y="335"/>
                  </a:lnTo>
                  <a:lnTo>
                    <a:pt x="220" y="332"/>
                  </a:lnTo>
                  <a:lnTo>
                    <a:pt x="213" y="328"/>
                  </a:lnTo>
                  <a:lnTo>
                    <a:pt x="205" y="323"/>
                  </a:lnTo>
                  <a:lnTo>
                    <a:pt x="198" y="319"/>
                  </a:lnTo>
                  <a:lnTo>
                    <a:pt x="191" y="312"/>
                  </a:lnTo>
                  <a:lnTo>
                    <a:pt x="186" y="306"/>
                  </a:lnTo>
                  <a:lnTo>
                    <a:pt x="181" y="300"/>
                  </a:lnTo>
                  <a:lnTo>
                    <a:pt x="176" y="292"/>
                  </a:lnTo>
                  <a:lnTo>
                    <a:pt x="172" y="284"/>
                  </a:lnTo>
                  <a:lnTo>
                    <a:pt x="169" y="276"/>
                  </a:lnTo>
                  <a:lnTo>
                    <a:pt x="167" y="267"/>
                  </a:lnTo>
                  <a:lnTo>
                    <a:pt x="166" y="258"/>
                  </a:lnTo>
                  <a:lnTo>
                    <a:pt x="166" y="249"/>
                  </a:lnTo>
                  <a:lnTo>
                    <a:pt x="166" y="240"/>
                  </a:lnTo>
                  <a:lnTo>
                    <a:pt x="167" y="231"/>
                  </a:lnTo>
                  <a:lnTo>
                    <a:pt x="169" y="223"/>
                  </a:lnTo>
                  <a:lnTo>
                    <a:pt x="172" y="214"/>
                  </a:lnTo>
                  <a:lnTo>
                    <a:pt x="176" y="206"/>
                  </a:lnTo>
                  <a:lnTo>
                    <a:pt x="181" y="199"/>
                  </a:lnTo>
                  <a:lnTo>
                    <a:pt x="186" y="191"/>
                  </a:lnTo>
                  <a:lnTo>
                    <a:pt x="191" y="185"/>
                  </a:lnTo>
                  <a:lnTo>
                    <a:pt x="198" y="179"/>
                  </a:lnTo>
                  <a:lnTo>
                    <a:pt x="205" y="173"/>
                  </a:lnTo>
                  <a:lnTo>
                    <a:pt x="213" y="169"/>
                  </a:lnTo>
                  <a:lnTo>
                    <a:pt x="220" y="165"/>
                  </a:lnTo>
                  <a:lnTo>
                    <a:pt x="229" y="163"/>
                  </a:lnTo>
                  <a:lnTo>
                    <a:pt x="237" y="159"/>
                  </a:lnTo>
                  <a:lnTo>
                    <a:pt x="246" y="158"/>
                  </a:lnTo>
                  <a:lnTo>
                    <a:pt x="256" y="158"/>
                  </a:lnTo>
                  <a:lnTo>
                    <a:pt x="265" y="158"/>
                  </a:lnTo>
                  <a:lnTo>
                    <a:pt x="274" y="159"/>
                  </a:lnTo>
                  <a:lnTo>
                    <a:pt x="282" y="163"/>
                  </a:lnTo>
                  <a:lnTo>
                    <a:pt x="291" y="165"/>
                  </a:lnTo>
                  <a:lnTo>
                    <a:pt x="298" y="169"/>
                  </a:lnTo>
                  <a:lnTo>
                    <a:pt x="306" y="173"/>
                  </a:lnTo>
                  <a:lnTo>
                    <a:pt x="313" y="179"/>
                  </a:lnTo>
                  <a:lnTo>
                    <a:pt x="320" y="185"/>
                  </a:lnTo>
                  <a:lnTo>
                    <a:pt x="325" y="191"/>
                  </a:lnTo>
                  <a:lnTo>
                    <a:pt x="331" y="199"/>
                  </a:lnTo>
                  <a:lnTo>
                    <a:pt x="335" y="206"/>
                  </a:lnTo>
                  <a:lnTo>
                    <a:pt x="339" y="214"/>
                  </a:lnTo>
                  <a:lnTo>
                    <a:pt x="342" y="223"/>
                  </a:lnTo>
                  <a:lnTo>
                    <a:pt x="344" y="231"/>
                  </a:lnTo>
                  <a:lnTo>
                    <a:pt x="346" y="240"/>
                  </a:lnTo>
                  <a:lnTo>
                    <a:pt x="347" y="249"/>
                  </a:lnTo>
                  <a:lnTo>
                    <a:pt x="346" y="258"/>
                  </a:lnTo>
                  <a:lnTo>
                    <a:pt x="344" y="267"/>
                  </a:lnTo>
                  <a:lnTo>
                    <a:pt x="342" y="276"/>
                  </a:lnTo>
                  <a:lnTo>
                    <a:pt x="339" y="284"/>
                  </a:lnTo>
                  <a:lnTo>
                    <a:pt x="335" y="292"/>
                  </a:lnTo>
                  <a:lnTo>
                    <a:pt x="331" y="300"/>
                  </a:lnTo>
                  <a:lnTo>
                    <a:pt x="325" y="306"/>
                  </a:lnTo>
                  <a:lnTo>
                    <a:pt x="320" y="312"/>
                  </a:lnTo>
                  <a:lnTo>
                    <a:pt x="313" y="319"/>
                  </a:lnTo>
                  <a:lnTo>
                    <a:pt x="306" y="323"/>
                  </a:lnTo>
                  <a:lnTo>
                    <a:pt x="298" y="328"/>
                  </a:lnTo>
                  <a:lnTo>
                    <a:pt x="291" y="332"/>
                  </a:lnTo>
                  <a:lnTo>
                    <a:pt x="282" y="335"/>
                  </a:lnTo>
                  <a:lnTo>
                    <a:pt x="274" y="337"/>
                  </a:lnTo>
                  <a:lnTo>
                    <a:pt x="265" y="338"/>
                  </a:lnTo>
                  <a:lnTo>
                    <a:pt x="256" y="339"/>
                  </a:lnTo>
                  <a:close/>
                  <a:moveTo>
                    <a:pt x="510" y="179"/>
                  </a:moveTo>
                  <a:lnTo>
                    <a:pt x="511" y="177"/>
                  </a:lnTo>
                  <a:lnTo>
                    <a:pt x="511" y="173"/>
                  </a:lnTo>
                  <a:lnTo>
                    <a:pt x="510" y="171"/>
                  </a:lnTo>
                  <a:lnTo>
                    <a:pt x="509" y="168"/>
                  </a:lnTo>
                  <a:lnTo>
                    <a:pt x="453" y="70"/>
                  </a:lnTo>
                  <a:lnTo>
                    <a:pt x="450" y="67"/>
                  </a:lnTo>
                  <a:lnTo>
                    <a:pt x="448" y="65"/>
                  </a:lnTo>
                  <a:lnTo>
                    <a:pt x="446" y="64"/>
                  </a:lnTo>
                  <a:lnTo>
                    <a:pt x="443" y="64"/>
                  </a:lnTo>
                  <a:lnTo>
                    <a:pt x="441" y="63"/>
                  </a:lnTo>
                  <a:lnTo>
                    <a:pt x="438" y="63"/>
                  </a:lnTo>
                  <a:lnTo>
                    <a:pt x="434" y="63"/>
                  </a:lnTo>
                  <a:lnTo>
                    <a:pt x="432" y="65"/>
                  </a:lnTo>
                  <a:lnTo>
                    <a:pt x="386" y="92"/>
                  </a:lnTo>
                  <a:lnTo>
                    <a:pt x="375" y="83"/>
                  </a:lnTo>
                  <a:lnTo>
                    <a:pt x="363" y="75"/>
                  </a:lnTo>
                  <a:lnTo>
                    <a:pt x="348" y="67"/>
                  </a:lnTo>
                  <a:lnTo>
                    <a:pt x="332" y="59"/>
                  </a:lnTo>
                  <a:lnTo>
                    <a:pt x="332" y="14"/>
                  </a:lnTo>
                  <a:lnTo>
                    <a:pt x="332" y="12"/>
                  </a:lnTo>
                  <a:lnTo>
                    <a:pt x="331" y="9"/>
                  </a:lnTo>
                  <a:lnTo>
                    <a:pt x="329" y="6"/>
                  </a:lnTo>
                  <a:lnTo>
                    <a:pt x="327" y="4"/>
                  </a:lnTo>
                  <a:lnTo>
                    <a:pt x="325" y="2"/>
                  </a:lnTo>
                  <a:lnTo>
                    <a:pt x="323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3" y="0"/>
                  </a:lnTo>
                  <a:lnTo>
                    <a:pt x="201" y="0"/>
                  </a:lnTo>
                  <a:lnTo>
                    <a:pt x="198" y="1"/>
                  </a:lnTo>
                  <a:lnTo>
                    <a:pt x="196" y="2"/>
                  </a:lnTo>
                  <a:lnTo>
                    <a:pt x="194" y="4"/>
                  </a:lnTo>
                  <a:lnTo>
                    <a:pt x="191" y="6"/>
                  </a:lnTo>
                  <a:lnTo>
                    <a:pt x="190" y="9"/>
                  </a:lnTo>
                  <a:lnTo>
                    <a:pt x="189" y="12"/>
                  </a:lnTo>
                  <a:lnTo>
                    <a:pt x="188" y="14"/>
                  </a:lnTo>
                  <a:lnTo>
                    <a:pt x="188" y="58"/>
                  </a:lnTo>
                  <a:lnTo>
                    <a:pt x="179" y="61"/>
                  </a:lnTo>
                  <a:lnTo>
                    <a:pt x="170" y="64"/>
                  </a:lnTo>
                  <a:lnTo>
                    <a:pt x="161" y="68"/>
                  </a:lnTo>
                  <a:lnTo>
                    <a:pt x="154" y="72"/>
                  </a:lnTo>
                  <a:lnTo>
                    <a:pt x="141" y="81"/>
                  </a:lnTo>
                  <a:lnTo>
                    <a:pt x="128" y="92"/>
                  </a:lnTo>
                  <a:lnTo>
                    <a:pt x="80" y="64"/>
                  </a:lnTo>
                  <a:lnTo>
                    <a:pt x="75" y="62"/>
                  </a:lnTo>
                  <a:lnTo>
                    <a:pt x="68" y="63"/>
                  </a:lnTo>
                  <a:lnTo>
                    <a:pt x="66" y="64"/>
                  </a:lnTo>
                  <a:lnTo>
                    <a:pt x="64" y="65"/>
                  </a:lnTo>
                  <a:lnTo>
                    <a:pt x="62" y="67"/>
                  </a:lnTo>
                  <a:lnTo>
                    <a:pt x="60" y="70"/>
                  </a:lnTo>
                  <a:lnTo>
                    <a:pt x="3" y="168"/>
                  </a:lnTo>
                  <a:lnTo>
                    <a:pt x="2" y="171"/>
                  </a:lnTo>
                  <a:lnTo>
                    <a:pt x="1" y="173"/>
                  </a:lnTo>
                  <a:lnTo>
                    <a:pt x="1" y="177"/>
                  </a:lnTo>
                  <a:lnTo>
                    <a:pt x="1" y="179"/>
                  </a:lnTo>
                  <a:lnTo>
                    <a:pt x="2" y="182"/>
                  </a:lnTo>
                  <a:lnTo>
                    <a:pt x="4" y="184"/>
                  </a:lnTo>
                  <a:lnTo>
                    <a:pt x="5" y="186"/>
                  </a:lnTo>
                  <a:lnTo>
                    <a:pt x="8" y="188"/>
                  </a:lnTo>
                  <a:lnTo>
                    <a:pt x="56" y="216"/>
                  </a:lnTo>
                  <a:lnTo>
                    <a:pt x="53" y="233"/>
                  </a:lnTo>
                  <a:lnTo>
                    <a:pt x="52" y="249"/>
                  </a:lnTo>
                  <a:lnTo>
                    <a:pt x="53" y="265"/>
                  </a:lnTo>
                  <a:lnTo>
                    <a:pt x="56" y="282"/>
                  </a:lnTo>
                  <a:lnTo>
                    <a:pt x="7" y="309"/>
                  </a:lnTo>
                  <a:lnTo>
                    <a:pt x="5" y="311"/>
                  </a:lnTo>
                  <a:lnTo>
                    <a:pt x="3" y="313"/>
                  </a:lnTo>
                  <a:lnTo>
                    <a:pt x="2" y="317"/>
                  </a:lnTo>
                  <a:lnTo>
                    <a:pt x="1" y="320"/>
                  </a:lnTo>
                  <a:lnTo>
                    <a:pt x="0" y="322"/>
                  </a:lnTo>
                  <a:lnTo>
                    <a:pt x="0" y="324"/>
                  </a:lnTo>
                  <a:lnTo>
                    <a:pt x="1" y="327"/>
                  </a:lnTo>
                  <a:lnTo>
                    <a:pt x="2" y="330"/>
                  </a:lnTo>
                  <a:lnTo>
                    <a:pt x="59" y="429"/>
                  </a:lnTo>
                  <a:lnTo>
                    <a:pt x="63" y="432"/>
                  </a:lnTo>
                  <a:lnTo>
                    <a:pt x="67" y="434"/>
                  </a:lnTo>
                  <a:lnTo>
                    <a:pt x="71" y="435"/>
                  </a:lnTo>
                  <a:lnTo>
                    <a:pt x="74" y="435"/>
                  </a:lnTo>
                  <a:lnTo>
                    <a:pt x="76" y="434"/>
                  </a:lnTo>
                  <a:lnTo>
                    <a:pt x="79" y="433"/>
                  </a:lnTo>
                  <a:lnTo>
                    <a:pt x="128" y="407"/>
                  </a:lnTo>
                  <a:lnTo>
                    <a:pt x="140" y="416"/>
                  </a:lnTo>
                  <a:lnTo>
                    <a:pt x="154" y="426"/>
                  </a:lnTo>
                  <a:lnTo>
                    <a:pt x="161" y="430"/>
                  </a:lnTo>
                  <a:lnTo>
                    <a:pt x="169" y="434"/>
                  </a:lnTo>
                  <a:lnTo>
                    <a:pt x="179" y="438"/>
                  </a:lnTo>
                  <a:lnTo>
                    <a:pt x="188" y="441"/>
                  </a:lnTo>
                  <a:lnTo>
                    <a:pt x="188" y="494"/>
                  </a:lnTo>
                  <a:lnTo>
                    <a:pt x="189" y="497"/>
                  </a:lnTo>
                  <a:lnTo>
                    <a:pt x="190" y="500"/>
                  </a:lnTo>
                  <a:lnTo>
                    <a:pt x="191" y="503"/>
                  </a:lnTo>
                  <a:lnTo>
                    <a:pt x="194" y="505"/>
                  </a:lnTo>
                  <a:lnTo>
                    <a:pt x="196" y="507"/>
                  </a:lnTo>
                  <a:lnTo>
                    <a:pt x="198" y="508"/>
                  </a:lnTo>
                  <a:lnTo>
                    <a:pt x="201" y="509"/>
                  </a:lnTo>
                  <a:lnTo>
                    <a:pt x="203" y="509"/>
                  </a:lnTo>
                  <a:lnTo>
                    <a:pt x="317" y="509"/>
                  </a:lnTo>
                  <a:lnTo>
                    <a:pt x="320" y="509"/>
                  </a:lnTo>
                  <a:lnTo>
                    <a:pt x="323" y="508"/>
                  </a:lnTo>
                  <a:lnTo>
                    <a:pt x="325" y="507"/>
                  </a:lnTo>
                  <a:lnTo>
                    <a:pt x="327" y="505"/>
                  </a:lnTo>
                  <a:lnTo>
                    <a:pt x="329" y="503"/>
                  </a:lnTo>
                  <a:lnTo>
                    <a:pt x="331" y="500"/>
                  </a:lnTo>
                  <a:lnTo>
                    <a:pt x="332" y="497"/>
                  </a:lnTo>
                  <a:lnTo>
                    <a:pt x="332" y="494"/>
                  </a:lnTo>
                  <a:lnTo>
                    <a:pt x="332" y="439"/>
                  </a:lnTo>
                  <a:lnTo>
                    <a:pt x="348" y="431"/>
                  </a:lnTo>
                  <a:lnTo>
                    <a:pt x="363" y="423"/>
                  </a:lnTo>
                  <a:lnTo>
                    <a:pt x="375" y="414"/>
                  </a:lnTo>
                  <a:lnTo>
                    <a:pt x="387" y="407"/>
                  </a:lnTo>
                  <a:lnTo>
                    <a:pt x="432" y="433"/>
                  </a:lnTo>
                  <a:lnTo>
                    <a:pt x="434" y="434"/>
                  </a:lnTo>
                  <a:lnTo>
                    <a:pt x="438" y="435"/>
                  </a:lnTo>
                  <a:lnTo>
                    <a:pt x="441" y="435"/>
                  </a:lnTo>
                  <a:lnTo>
                    <a:pt x="443" y="434"/>
                  </a:lnTo>
                  <a:lnTo>
                    <a:pt x="446" y="434"/>
                  </a:lnTo>
                  <a:lnTo>
                    <a:pt x="448" y="432"/>
                  </a:lnTo>
                  <a:lnTo>
                    <a:pt x="450" y="431"/>
                  </a:lnTo>
                  <a:lnTo>
                    <a:pt x="453" y="429"/>
                  </a:lnTo>
                  <a:lnTo>
                    <a:pt x="509" y="330"/>
                  </a:lnTo>
                  <a:lnTo>
                    <a:pt x="510" y="327"/>
                  </a:lnTo>
                  <a:lnTo>
                    <a:pt x="511" y="324"/>
                  </a:lnTo>
                  <a:lnTo>
                    <a:pt x="511" y="322"/>
                  </a:lnTo>
                  <a:lnTo>
                    <a:pt x="510" y="320"/>
                  </a:lnTo>
                  <a:lnTo>
                    <a:pt x="508" y="313"/>
                  </a:lnTo>
                  <a:lnTo>
                    <a:pt x="504" y="309"/>
                  </a:lnTo>
                  <a:lnTo>
                    <a:pt x="457" y="282"/>
                  </a:lnTo>
                  <a:lnTo>
                    <a:pt x="459" y="265"/>
                  </a:lnTo>
                  <a:lnTo>
                    <a:pt x="459" y="249"/>
                  </a:lnTo>
                  <a:lnTo>
                    <a:pt x="459" y="233"/>
                  </a:lnTo>
                  <a:lnTo>
                    <a:pt x="457" y="216"/>
                  </a:lnTo>
                  <a:lnTo>
                    <a:pt x="504" y="188"/>
                  </a:lnTo>
                  <a:lnTo>
                    <a:pt x="506" y="186"/>
                  </a:lnTo>
                  <a:lnTo>
                    <a:pt x="508" y="184"/>
                  </a:lnTo>
                  <a:lnTo>
                    <a:pt x="509" y="182"/>
                  </a:lnTo>
                  <a:lnTo>
                    <a:pt x="510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</p:grpSp>
      <p:grpSp>
        <p:nvGrpSpPr>
          <p:cNvPr id="84" name="Группа 83" descr="Это изображение содержит две стрелки в круге, символизирующие процесс. ">
            <a:extLst>
              <a:ext uri="{FF2B5EF4-FFF2-40B4-BE49-F238E27FC236}">
                <a16:creationId xmlns:a16="http://schemas.microsoft.com/office/drawing/2014/main" xmlns="" id="{14DA0634-ECCE-4CF7-85D2-FEC8036445AF}"/>
              </a:ext>
            </a:extLst>
          </p:cNvPr>
          <p:cNvGrpSpPr/>
          <p:nvPr/>
        </p:nvGrpSpPr>
        <p:grpSpPr>
          <a:xfrm>
            <a:off x="5676900" y="3561872"/>
            <a:ext cx="838200" cy="651940"/>
            <a:chOff x="1474788" y="828675"/>
            <a:chExt cx="285750" cy="222251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85" name="Полилиния 1682">
              <a:extLst>
                <a:ext uri="{FF2B5EF4-FFF2-40B4-BE49-F238E27FC236}">
                  <a16:creationId xmlns:a16="http://schemas.microsoft.com/office/drawing/2014/main" xmlns="" id="{AC2A946F-ADD8-48D4-A56D-8ED1970BD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8288" y="912813"/>
              <a:ext cx="222250" cy="138113"/>
            </a:xfrm>
            <a:custGeom>
              <a:avLst/>
              <a:gdLst>
                <a:gd name="T0" fmla="*/ 482 w 559"/>
                <a:gd name="T1" fmla="*/ 11 h 348"/>
                <a:gd name="T2" fmla="*/ 474 w 559"/>
                <a:gd name="T3" fmla="*/ 3 h 348"/>
                <a:gd name="T4" fmla="*/ 464 w 559"/>
                <a:gd name="T5" fmla="*/ 0 h 348"/>
                <a:gd name="T6" fmla="*/ 452 w 559"/>
                <a:gd name="T7" fmla="*/ 2 h 348"/>
                <a:gd name="T8" fmla="*/ 443 w 559"/>
                <a:gd name="T9" fmla="*/ 7 h 348"/>
                <a:gd name="T10" fmla="*/ 344 w 559"/>
                <a:gd name="T11" fmla="*/ 128 h 348"/>
                <a:gd name="T12" fmla="*/ 342 w 559"/>
                <a:gd name="T13" fmla="*/ 136 h 348"/>
                <a:gd name="T14" fmla="*/ 342 w 559"/>
                <a:gd name="T15" fmla="*/ 145 h 348"/>
                <a:gd name="T16" fmla="*/ 346 w 559"/>
                <a:gd name="T17" fmla="*/ 154 h 348"/>
                <a:gd name="T18" fmla="*/ 354 w 559"/>
                <a:gd name="T19" fmla="*/ 160 h 348"/>
                <a:gd name="T20" fmla="*/ 363 w 559"/>
                <a:gd name="T21" fmla="*/ 163 h 348"/>
                <a:gd name="T22" fmla="*/ 371 w 559"/>
                <a:gd name="T23" fmla="*/ 162 h 348"/>
                <a:gd name="T24" fmla="*/ 380 w 559"/>
                <a:gd name="T25" fmla="*/ 157 h 348"/>
                <a:gd name="T26" fmla="*/ 440 w 559"/>
                <a:gd name="T27" fmla="*/ 87 h 348"/>
                <a:gd name="T28" fmla="*/ 434 w 559"/>
                <a:gd name="T29" fmla="*/ 122 h 348"/>
                <a:gd name="T30" fmla="*/ 422 w 559"/>
                <a:gd name="T31" fmla="*/ 156 h 348"/>
                <a:gd name="T32" fmla="*/ 406 w 559"/>
                <a:gd name="T33" fmla="*/ 188 h 348"/>
                <a:gd name="T34" fmla="*/ 384 w 559"/>
                <a:gd name="T35" fmla="*/ 217 h 348"/>
                <a:gd name="T36" fmla="*/ 357 w 559"/>
                <a:gd name="T37" fmla="*/ 244 h 348"/>
                <a:gd name="T38" fmla="*/ 327 w 559"/>
                <a:gd name="T39" fmla="*/ 266 h 348"/>
                <a:gd name="T40" fmla="*/ 294 w 559"/>
                <a:gd name="T41" fmla="*/ 283 h 348"/>
                <a:gd name="T42" fmla="*/ 259 w 559"/>
                <a:gd name="T43" fmla="*/ 294 h 348"/>
                <a:gd name="T44" fmla="*/ 229 w 559"/>
                <a:gd name="T45" fmla="*/ 300 h 348"/>
                <a:gd name="T46" fmla="*/ 199 w 559"/>
                <a:gd name="T47" fmla="*/ 301 h 348"/>
                <a:gd name="T48" fmla="*/ 170 w 559"/>
                <a:gd name="T49" fmla="*/ 299 h 348"/>
                <a:gd name="T50" fmla="*/ 142 w 559"/>
                <a:gd name="T51" fmla="*/ 293 h 348"/>
                <a:gd name="T52" fmla="*/ 114 w 559"/>
                <a:gd name="T53" fmla="*/ 283 h 348"/>
                <a:gd name="T54" fmla="*/ 89 w 559"/>
                <a:gd name="T55" fmla="*/ 270 h 348"/>
                <a:gd name="T56" fmla="*/ 64 w 559"/>
                <a:gd name="T57" fmla="*/ 254 h 348"/>
                <a:gd name="T58" fmla="*/ 41 w 559"/>
                <a:gd name="T59" fmla="*/ 234 h 348"/>
                <a:gd name="T60" fmla="*/ 33 w 559"/>
                <a:gd name="T61" fmla="*/ 229 h 348"/>
                <a:gd name="T62" fmla="*/ 25 w 559"/>
                <a:gd name="T63" fmla="*/ 227 h 348"/>
                <a:gd name="T64" fmla="*/ 16 w 559"/>
                <a:gd name="T65" fmla="*/ 229 h 348"/>
                <a:gd name="T66" fmla="*/ 7 w 559"/>
                <a:gd name="T67" fmla="*/ 234 h 348"/>
                <a:gd name="T68" fmla="*/ 3 w 559"/>
                <a:gd name="T69" fmla="*/ 241 h 348"/>
                <a:gd name="T70" fmla="*/ 0 w 559"/>
                <a:gd name="T71" fmla="*/ 251 h 348"/>
                <a:gd name="T72" fmla="*/ 3 w 559"/>
                <a:gd name="T73" fmla="*/ 260 h 348"/>
                <a:gd name="T74" fmla="*/ 8 w 559"/>
                <a:gd name="T75" fmla="*/ 269 h 348"/>
                <a:gd name="T76" fmla="*/ 28 w 559"/>
                <a:gd name="T77" fmla="*/ 287 h 348"/>
                <a:gd name="T78" fmla="*/ 51 w 559"/>
                <a:gd name="T79" fmla="*/ 303 h 348"/>
                <a:gd name="T80" fmla="*/ 74 w 559"/>
                <a:gd name="T81" fmla="*/ 318 h 348"/>
                <a:gd name="T82" fmla="*/ 99 w 559"/>
                <a:gd name="T83" fmla="*/ 329 h 348"/>
                <a:gd name="T84" fmla="*/ 124 w 559"/>
                <a:gd name="T85" fmla="*/ 337 h 348"/>
                <a:gd name="T86" fmla="*/ 151 w 559"/>
                <a:gd name="T87" fmla="*/ 344 h 348"/>
                <a:gd name="T88" fmla="*/ 177 w 559"/>
                <a:gd name="T89" fmla="*/ 347 h 348"/>
                <a:gd name="T90" fmla="*/ 205 w 559"/>
                <a:gd name="T91" fmla="*/ 348 h 348"/>
                <a:gd name="T92" fmla="*/ 237 w 559"/>
                <a:gd name="T93" fmla="*/ 347 h 348"/>
                <a:gd name="T94" fmla="*/ 270 w 559"/>
                <a:gd name="T95" fmla="*/ 342 h 348"/>
                <a:gd name="T96" fmla="*/ 311 w 559"/>
                <a:gd name="T97" fmla="*/ 329 h 348"/>
                <a:gd name="T98" fmla="*/ 348 w 559"/>
                <a:gd name="T99" fmla="*/ 310 h 348"/>
                <a:gd name="T100" fmla="*/ 382 w 559"/>
                <a:gd name="T101" fmla="*/ 286 h 348"/>
                <a:gd name="T102" fmla="*/ 413 w 559"/>
                <a:gd name="T103" fmla="*/ 257 h 348"/>
                <a:gd name="T104" fmla="*/ 439 w 559"/>
                <a:gd name="T105" fmla="*/ 224 h 348"/>
                <a:gd name="T106" fmla="*/ 460 w 559"/>
                <a:gd name="T107" fmla="*/ 188 h 348"/>
                <a:gd name="T108" fmla="*/ 475 w 559"/>
                <a:gd name="T109" fmla="*/ 150 h 348"/>
                <a:gd name="T110" fmla="*/ 485 w 559"/>
                <a:gd name="T111" fmla="*/ 110 h 348"/>
                <a:gd name="T112" fmla="*/ 518 w 559"/>
                <a:gd name="T113" fmla="*/ 163 h 348"/>
                <a:gd name="T114" fmla="*/ 529 w 559"/>
                <a:gd name="T115" fmla="*/ 168 h 348"/>
                <a:gd name="T116" fmla="*/ 541 w 559"/>
                <a:gd name="T117" fmla="*/ 168 h 348"/>
                <a:gd name="T118" fmla="*/ 551 w 559"/>
                <a:gd name="T119" fmla="*/ 164 h 348"/>
                <a:gd name="T120" fmla="*/ 557 w 559"/>
                <a:gd name="T121" fmla="*/ 156 h 348"/>
                <a:gd name="T122" fmla="*/ 559 w 559"/>
                <a:gd name="T123" fmla="*/ 147 h 348"/>
                <a:gd name="T124" fmla="*/ 558 w 559"/>
                <a:gd name="T125" fmla="*/ 13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9" h="348">
                  <a:moveTo>
                    <a:pt x="556" y="133"/>
                  </a:moveTo>
                  <a:lnTo>
                    <a:pt x="482" y="11"/>
                  </a:lnTo>
                  <a:lnTo>
                    <a:pt x="478" y="6"/>
                  </a:lnTo>
                  <a:lnTo>
                    <a:pt x="474" y="3"/>
                  </a:lnTo>
                  <a:lnTo>
                    <a:pt x="470" y="1"/>
                  </a:lnTo>
                  <a:lnTo>
                    <a:pt x="464" y="0"/>
                  </a:lnTo>
                  <a:lnTo>
                    <a:pt x="458" y="0"/>
                  </a:lnTo>
                  <a:lnTo>
                    <a:pt x="452" y="2"/>
                  </a:lnTo>
                  <a:lnTo>
                    <a:pt x="448" y="4"/>
                  </a:lnTo>
                  <a:lnTo>
                    <a:pt x="443" y="7"/>
                  </a:lnTo>
                  <a:lnTo>
                    <a:pt x="346" y="123"/>
                  </a:lnTo>
                  <a:lnTo>
                    <a:pt x="344" y="128"/>
                  </a:lnTo>
                  <a:lnTo>
                    <a:pt x="342" y="132"/>
                  </a:lnTo>
                  <a:lnTo>
                    <a:pt x="342" y="136"/>
                  </a:lnTo>
                  <a:lnTo>
                    <a:pt x="342" y="141"/>
                  </a:lnTo>
                  <a:lnTo>
                    <a:pt x="342" y="145"/>
                  </a:lnTo>
                  <a:lnTo>
                    <a:pt x="344" y="150"/>
                  </a:lnTo>
                  <a:lnTo>
                    <a:pt x="346" y="154"/>
                  </a:lnTo>
                  <a:lnTo>
                    <a:pt x="349" y="157"/>
                  </a:lnTo>
                  <a:lnTo>
                    <a:pt x="354" y="160"/>
                  </a:lnTo>
                  <a:lnTo>
                    <a:pt x="358" y="162"/>
                  </a:lnTo>
                  <a:lnTo>
                    <a:pt x="363" y="163"/>
                  </a:lnTo>
                  <a:lnTo>
                    <a:pt x="367" y="163"/>
                  </a:lnTo>
                  <a:lnTo>
                    <a:pt x="371" y="162"/>
                  </a:lnTo>
                  <a:lnTo>
                    <a:pt x="376" y="161"/>
                  </a:lnTo>
                  <a:lnTo>
                    <a:pt x="380" y="157"/>
                  </a:lnTo>
                  <a:lnTo>
                    <a:pt x="384" y="155"/>
                  </a:lnTo>
                  <a:lnTo>
                    <a:pt x="440" y="87"/>
                  </a:lnTo>
                  <a:lnTo>
                    <a:pt x="438" y="104"/>
                  </a:lnTo>
                  <a:lnTo>
                    <a:pt x="434" y="122"/>
                  </a:lnTo>
                  <a:lnTo>
                    <a:pt x="429" y="139"/>
                  </a:lnTo>
                  <a:lnTo>
                    <a:pt x="422" y="156"/>
                  </a:lnTo>
                  <a:lnTo>
                    <a:pt x="414" y="173"/>
                  </a:lnTo>
                  <a:lnTo>
                    <a:pt x="406" y="188"/>
                  </a:lnTo>
                  <a:lnTo>
                    <a:pt x="395" y="204"/>
                  </a:lnTo>
                  <a:lnTo>
                    <a:pt x="384" y="217"/>
                  </a:lnTo>
                  <a:lnTo>
                    <a:pt x="371" y="231"/>
                  </a:lnTo>
                  <a:lnTo>
                    <a:pt x="357" y="244"/>
                  </a:lnTo>
                  <a:lnTo>
                    <a:pt x="343" y="256"/>
                  </a:lnTo>
                  <a:lnTo>
                    <a:pt x="327" y="266"/>
                  </a:lnTo>
                  <a:lnTo>
                    <a:pt x="312" y="274"/>
                  </a:lnTo>
                  <a:lnTo>
                    <a:pt x="294" y="283"/>
                  </a:lnTo>
                  <a:lnTo>
                    <a:pt x="276" y="290"/>
                  </a:lnTo>
                  <a:lnTo>
                    <a:pt x="259" y="294"/>
                  </a:lnTo>
                  <a:lnTo>
                    <a:pt x="243" y="298"/>
                  </a:lnTo>
                  <a:lnTo>
                    <a:pt x="229" y="300"/>
                  </a:lnTo>
                  <a:lnTo>
                    <a:pt x="215" y="301"/>
                  </a:lnTo>
                  <a:lnTo>
                    <a:pt x="199" y="301"/>
                  </a:lnTo>
                  <a:lnTo>
                    <a:pt x="185" y="301"/>
                  </a:lnTo>
                  <a:lnTo>
                    <a:pt x="170" y="299"/>
                  </a:lnTo>
                  <a:lnTo>
                    <a:pt x="156" y="297"/>
                  </a:lnTo>
                  <a:lnTo>
                    <a:pt x="142" y="293"/>
                  </a:lnTo>
                  <a:lnTo>
                    <a:pt x="128" y="289"/>
                  </a:lnTo>
                  <a:lnTo>
                    <a:pt x="114" y="283"/>
                  </a:lnTo>
                  <a:lnTo>
                    <a:pt x="101" y="278"/>
                  </a:lnTo>
                  <a:lnTo>
                    <a:pt x="89" y="270"/>
                  </a:lnTo>
                  <a:lnTo>
                    <a:pt x="75" y="262"/>
                  </a:lnTo>
                  <a:lnTo>
                    <a:pt x="64" y="254"/>
                  </a:lnTo>
                  <a:lnTo>
                    <a:pt x="52" y="245"/>
                  </a:lnTo>
                  <a:lnTo>
                    <a:pt x="41" y="234"/>
                  </a:lnTo>
                  <a:lnTo>
                    <a:pt x="38" y="231"/>
                  </a:lnTo>
                  <a:lnTo>
                    <a:pt x="33" y="229"/>
                  </a:lnTo>
                  <a:lnTo>
                    <a:pt x="29" y="228"/>
                  </a:lnTo>
                  <a:lnTo>
                    <a:pt x="25" y="227"/>
                  </a:lnTo>
                  <a:lnTo>
                    <a:pt x="20" y="228"/>
                  </a:lnTo>
                  <a:lnTo>
                    <a:pt x="16" y="229"/>
                  </a:lnTo>
                  <a:lnTo>
                    <a:pt x="11" y="231"/>
                  </a:lnTo>
                  <a:lnTo>
                    <a:pt x="7" y="234"/>
                  </a:lnTo>
                  <a:lnTo>
                    <a:pt x="5" y="238"/>
                  </a:lnTo>
                  <a:lnTo>
                    <a:pt x="3" y="241"/>
                  </a:lnTo>
                  <a:lnTo>
                    <a:pt x="1" y="247"/>
                  </a:lnTo>
                  <a:lnTo>
                    <a:pt x="0" y="251"/>
                  </a:lnTo>
                  <a:lnTo>
                    <a:pt x="1" y="256"/>
                  </a:lnTo>
                  <a:lnTo>
                    <a:pt x="3" y="260"/>
                  </a:lnTo>
                  <a:lnTo>
                    <a:pt x="5" y="265"/>
                  </a:lnTo>
                  <a:lnTo>
                    <a:pt x="8" y="269"/>
                  </a:lnTo>
                  <a:lnTo>
                    <a:pt x="18" y="278"/>
                  </a:lnTo>
                  <a:lnTo>
                    <a:pt x="28" y="287"/>
                  </a:lnTo>
                  <a:lnTo>
                    <a:pt x="39" y="295"/>
                  </a:lnTo>
                  <a:lnTo>
                    <a:pt x="51" y="303"/>
                  </a:lnTo>
                  <a:lnTo>
                    <a:pt x="62" y="311"/>
                  </a:lnTo>
                  <a:lnTo>
                    <a:pt x="74" y="318"/>
                  </a:lnTo>
                  <a:lnTo>
                    <a:pt x="86" y="323"/>
                  </a:lnTo>
                  <a:lnTo>
                    <a:pt x="99" y="329"/>
                  </a:lnTo>
                  <a:lnTo>
                    <a:pt x="112" y="333"/>
                  </a:lnTo>
                  <a:lnTo>
                    <a:pt x="124" y="337"/>
                  </a:lnTo>
                  <a:lnTo>
                    <a:pt x="137" y="341"/>
                  </a:lnTo>
                  <a:lnTo>
                    <a:pt x="151" y="344"/>
                  </a:lnTo>
                  <a:lnTo>
                    <a:pt x="164" y="346"/>
                  </a:lnTo>
                  <a:lnTo>
                    <a:pt x="177" y="347"/>
                  </a:lnTo>
                  <a:lnTo>
                    <a:pt x="190" y="348"/>
                  </a:lnTo>
                  <a:lnTo>
                    <a:pt x="205" y="348"/>
                  </a:lnTo>
                  <a:lnTo>
                    <a:pt x="220" y="348"/>
                  </a:lnTo>
                  <a:lnTo>
                    <a:pt x="237" y="347"/>
                  </a:lnTo>
                  <a:lnTo>
                    <a:pt x="253" y="345"/>
                  </a:lnTo>
                  <a:lnTo>
                    <a:pt x="270" y="342"/>
                  </a:lnTo>
                  <a:lnTo>
                    <a:pt x="291" y="336"/>
                  </a:lnTo>
                  <a:lnTo>
                    <a:pt x="311" y="329"/>
                  </a:lnTo>
                  <a:lnTo>
                    <a:pt x="329" y="320"/>
                  </a:lnTo>
                  <a:lnTo>
                    <a:pt x="348" y="310"/>
                  </a:lnTo>
                  <a:lnTo>
                    <a:pt x="366" y="298"/>
                  </a:lnTo>
                  <a:lnTo>
                    <a:pt x="382" y="286"/>
                  </a:lnTo>
                  <a:lnTo>
                    <a:pt x="398" y="271"/>
                  </a:lnTo>
                  <a:lnTo>
                    <a:pt x="413" y="257"/>
                  </a:lnTo>
                  <a:lnTo>
                    <a:pt x="427" y="240"/>
                  </a:lnTo>
                  <a:lnTo>
                    <a:pt x="439" y="224"/>
                  </a:lnTo>
                  <a:lnTo>
                    <a:pt x="450" y="206"/>
                  </a:lnTo>
                  <a:lnTo>
                    <a:pt x="460" y="188"/>
                  </a:lnTo>
                  <a:lnTo>
                    <a:pt x="469" y="170"/>
                  </a:lnTo>
                  <a:lnTo>
                    <a:pt x="475" y="150"/>
                  </a:lnTo>
                  <a:lnTo>
                    <a:pt x="482" y="131"/>
                  </a:lnTo>
                  <a:lnTo>
                    <a:pt x="485" y="110"/>
                  </a:lnTo>
                  <a:lnTo>
                    <a:pt x="514" y="159"/>
                  </a:lnTo>
                  <a:lnTo>
                    <a:pt x="518" y="163"/>
                  </a:lnTo>
                  <a:lnTo>
                    <a:pt x="523" y="166"/>
                  </a:lnTo>
                  <a:lnTo>
                    <a:pt x="529" y="168"/>
                  </a:lnTo>
                  <a:lnTo>
                    <a:pt x="535" y="170"/>
                  </a:lnTo>
                  <a:lnTo>
                    <a:pt x="541" y="168"/>
                  </a:lnTo>
                  <a:lnTo>
                    <a:pt x="547" y="166"/>
                  </a:lnTo>
                  <a:lnTo>
                    <a:pt x="551" y="164"/>
                  </a:lnTo>
                  <a:lnTo>
                    <a:pt x="555" y="160"/>
                  </a:lnTo>
                  <a:lnTo>
                    <a:pt x="557" y="156"/>
                  </a:lnTo>
                  <a:lnTo>
                    <a:pt x="558" y="152"/>
                  </a:lnTo>
                  <a:lnTo>
                    <a:pt x="559" y="147"/>
                  </a:lnTo>
                  <a:lnTo>
                    <a:pt x="559" y="142"/>
                  </a:lnTo>
                  <a:lnTo>
                    <a:pt x="558" y="138"/>
                  </a:lnTo>
                  <a:lnTo>
                    <a:pt x="556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86" name="Полилиния 1683">
              <a:extLst>
                <a:ext uri="{FF2B5EF4-FFF2-40B4-BE49-F238E27FC236}">
                  <a16:creationId xmlns:a16="http://schemas.microsoft.com/office/drawing/2014/main" xmlns="" id="{0B7A1438-DF2D-4224-BF82-C687BA59A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788" y="828675"/>
              <a:ext cx="230188" cy="150813"/>
            </a:xfrm>
            <a:custGeom>
              <a:avLst/>
              <a:gdLst>
                <a:gd name="T0" fmla="*/ 212 w 581"/>
                <a:gd name="T1" fmla="*/ 217 h 379"/>
                <a:gd name="T2" fmla="*/ 198 w 581"/>
                <a:gd name="T3" fmla="*/ 217 h 379"/>
                <a:gd name="T4" fmla="*/ 187 w 581"/>
                <a:gd name="T5" fmla="*/ 226 h 379"/>
                <a:gd name="T6" fmla="*/ 124 w 581"/>
                <a:gd name="T7" fmla="*/ 267 h 379"/>
                <a:gd name="T8" fmla="*/ 135 w 581"/>
                <a:gd name="T9" fmla="*/ 216 h 379"/>
                <a:gd name="T10" fmla="*/ 157 w 581"/>
                <a:gd name="T11" fmla="*/ 167 h 379"/>
                <a:gd name="T12" fmla="*/ 178 w 581"/>
                <a:gd name="T13" fmla="*/ 138 h 379"/>
                <a:gd name="T14" fmla="*/ 203 w 581"/>
                <a:gd name="T15" fmla="*/ 110 h 379"/>
                <a:gd name="T16" fmla="*/ 233 w 581"/>
                <a:gd name="T17" fmla="*/ 88 h 379"/>
                <a:gd name="T18" fmla="*/ 265 w 581"/>
                <a:gd name="T19" fmla="*/ 70 h 379"/>
                <a:gd name="T20" fmla="*/ 299 w 581"/>
                <a:gd name="T21" fmla="*/ 57 h 379"/>
                <a:gd name="T22" fmla="*/ 343 w 581"/>
                <a:gd name="T23" fmla="*/ 49 h 379"/>
                <a:gd name="T24" fmla="*/ 390 w 581"/>
                <a:gd name="T25" fmla="*/ 49 h 379"/>
                <a:gd name="T26" fmla="*/ 435 w 581"/>
                <a:gd name="T27" fmla="*/ 58 h 379"/>
                <a:gd name="T28" fmla="*/ 478 w 581"/>
                <a:gd name="T29" fmla="*/ 77 h 379"/>
                <a:gd name="T30" fmla="*/ 517 w 581"/>
                <a:gd name="T31" fmla="*/ 103 h 379"/>
                <a:gd name="T32" fmla="*/ 542 w 581"/>
                <a:gd name="T33" fmla="*/ 130 h 379"/>
                <a:gd name="T34" fmla="*/ 556 w 581"/>
                <a:gd name="T35" fmla="*/ 134 h 379"/>
                <a:gd name="T36" fmla="*/ 569 w 581"/>
                <a:gd name="T37" fmla="*/ 131 h 379"/>
                <a:gd name="T38" fmla="*/ 579 w 581"/>
                <a:gd name="T39" fmla="*/ 121 h 379"/>
                <a:gd name="T40" fmla="*/ 581 w 581"/>
                <a:gd name="T41" fmla="*/ 108 h 379"/>
                <a:gd name="T42" fmla="*/ 576 w 581"/>
                <a:gd name="T43" fmla="*/ 94 h 379"/>
                <a:gd name="T44" fmla="*/ 532 w 581"/>
                <a:gd name="T45" fmla="*/ 56 h 379"/>
                <a:gd name="T46" fmla="*/ 485 w 581"/>
                <a:gd name="T47" fmla="*/ 27 h 379"/>
                <a:gd name="T48" fmla="*/ 432 w 581"/>
                <a:gd name="T49" fmla="*/ 8 h 379"/>
                <a:gd name="T50" fmla="*/ 376 w 581"/>
                <a:gd name="T51" fmla="*/ 0 h 379"/>
                <a:gd name="T52" fmla="*/ 319 w 581"/>
                <a:gd name="T53" fmla="*/ 4 h 379"/>
                <a:gd name="T54" fmla="*/ 272 w 581"/>
                <a:gd name="T55" fmla="*/ 16 h 379"/>
                <a:gd name="T56" fmla="*/ 232 w 581"/>
                <a:gd name="T57" fmla="*/ 34 h 379"/>
                <a:gd name="T58" fmla="*/ 195 w 581"/>
                <a:gd name="T59" fmla="*/ 57 h 379"/>
                <a:gd name="T60" fmla="*/ 161 w 581"/>
                <a:gd name="T61" fmla="*/ 86 h 379"/>
                <a:gd name="T62" fmla="*/ 132 w 581"/>
                <a:gd name="T63" fmla="*/ 119 h 379"/>
                <a:gd name="T64" fmla="*/ 107 w 581"/>
                <a:gd name="T65" fmla="*/ 159 h 379"/>
                <a:gd name="T66" fmla="*/ 89 w 581"/>
                <a:gd name="T67" fmla="*/ 203 h 379"/>
                <a:gd name="T68" fmla="*/ 78 w 581"/>
                <a:gd name="T69" fmla="*/ 249 h 379"/>
                <a:gd name="T70" fmla="*/ 41 w 581"/>
                <a:gd name="T71" fmla="*/ 214 h 379"/>
                <a:gd name="T72" fmla="*/ 29 w 581"/>
                <a:gd name="T73" fmla="*/ 207 h 379"/>
                <a:gd name="T74" fmla="*/ 15 w 581"/>
                <a:gd name="T75" fmla="*/ 208 h 379"/>
                <a:gd name="T76" fmla="*/ 4 w 581"/>
                <a:gd name="T77" fmla="*/ 218 h 379"/>
                <a:gd name="T78" fmla="*/ 0 w 581"/>
                <a:gd name="T79" fmla="*/ 231 h 379"/>
                <a:gd name="T80" fmla="*/ 5 w 581"/>
                <a:gd name="T81" fmla="*/ 245 h 379"/>
                <a:gd name="T82" fmla="*/ 96 w 581"/>
                <a:gd name="T83" fmla="*/ 377 h 379"/>
                <a:gd name="T84" fmla="*/ 107 w 581"/>
                <a:gd name="T85" fmla="*/ 379 h 379"/>
                <a:gd name="T86" fmla="*/ 118 w 581"/>
                <a:gd name="T87" fmla="*/ 378 h 379"/>
                <a:gd name="T88" fmla="*/ 223 w 581"/>
                <a:gd name="T89" fmla="*/ 256 h 379"/>
                <a:gd name="T90" fmla="*/ 229 w 581"/>
                <a:gd name="T91" fmla="*/ 242 h 379"/>
                <a:gd name="T92" fmla="*/ 227 w 581"/>
                <a:gd name="T93" fmla="*/ 22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81" h="379">
                  <a:moveTo>
                    <a:pt x="220" y="221"/>
                  </a:moveTo>
                  <a:lnTo>
                    <a:pt x="217" y="219"/>
                  </a:lnTo>
                  <a:lnTo>
                    <a:pt x="212" y="217"/>
                  </a:lnTo>
                  <a:lnTo>
                    <a:pt x="208" y="216"/>
                  </a:lnTo>
                  <a:lnTo>
                    <a:pt x="203" y="216"/>
                  </a:lnTo>
                  <a:lnTo>
                    <a:pt x="198" y="217"/>
                  </a:lnTo>
                  <a:lnTo>
                    <a:pt x="195" y="219"/>
                  </a:lnTo>
                  <a:lnTo>
                    <a:pt x="190" y="221"/>
                  </a:lnTo>
                  <a:lnTo>
                    <a:pt x="187" y="226"/>
                  </a:lnTo>
                  <a:lnTo>
                    <a:pt x="124" y="301"/>
                  </a:lnTo>
                  <a:lnTo>
                    <a:pt x="123" y="283"/>
                  </a:lnTo>
                  <a:lnTo>
                    <a:pt x="124" y="267"/>
                  </a:lnTo>
                  <a:lnTo>
                    <a:pt x="126" y="250"/>
                  </a:lnTo>
                  <a:lnTo>
                    <a:pt x="131" y="233"/>
                  </a:lnTo>
                  <a:lnTo>
                    <a:pt x="135" y="216"/>
                  </a:lnTo>
                  <a:lnTo>
                    <a:pt x="140" y="200"/>
                  </a:lnTo>
                  <a:lnTo>
                    <a:pt x="148" y="184"/>
                  </a:lnTo>
                  <a:lnTo>
                    <a:pt x="157" y="167"/>
                  </a:lnTo>
                  <a:lnTo>
                    <a:pt x="164" y="157"/>
                  </a:lnTo>
                  <a:lnTo>
                    <a:pt x="170" y="147"/>
                  </a:lnTo>
                  <a:lnTo>
                    <a:pt x="178" y="138"/>
                  </a:lnTo>
                  <a:lnTo>
                    <a:pt x="187" y="128"/>
                  </a:lnTo>
                  <a:lnTo>
                    <a:pt x="195" y="119"/>
                  </a:lnTo>
                  <a:lnTo>
                    <a:pt x="203" y="110"/>
                  </a:lnTo>
                  <a:lnTo>
                    <a:pt x="213" y="102"/>
                  </a:lnTo>
                  <a:lnTo>
                    <a:pt x="223" y="94"/>
                  </a:lnTo>
                  <a:lnTo>
                    <a:pt x="233" y="88"/>
                  </a:lnTo>
                  <a:lnTo>
                    <a:pt x="243" y="81"/>
                  </a:lnTo>
                  <a:lnTo>
                    <a:pt x="254" y="76"/>
                  </a:lnTo>
                  <a:lnTo>
                    <a:pt x="265" y="70"/>
                  </a:lnTo>
                  <a:lnTo>
                    <a:pt x="276" y="65"/>
                  </a:lnTo>
                  <a:lnTo>
                    <a:pt x="287" y="60"/>
                  </a:lnTo>
                  <a:lnTo>
                    <a:pt x="299" y="57"/>
                  </a:lnTo>
                  <a:lnTo>
                    <a:pt x="312" y="54"/>
                  </a:lnTo>
                  <a:lnTo>
                    <a:pt x="327" y="50"/>
                  </a:lnTo>
                  <a:lnTo>
                    <a:pt x="343" y="49"/>
                  </a:lnTo>
                  <a:lnTo>
                    <a:pt x="358" y="48"/>
                  </a:lnTo>
                  <a:lnTo>
                    <a:pt x="375" y="48"/>
                  </a:lnTo>
                  <a:lnTo>
                    <a:pt x="390" y="49"/>
                  </a:lnTo>
                  <a:lnTo>
                    <a:pt x="405" y="50"/>
                  </a:lnTo>
                  <a:lnTo>
                    <a:pt x="421" y="54"/>
                  </a:lnTo>
                  <a:lnTo>
                    <a:pt x="435" y="58"/>
                  </a:lnTo>
                  <a:lnTo>
                    <a:pt x="450" y="64"/>
                  </a:lnTo>
                  <a:lnTo>
                    <a:pt x="464" y="69"/>
                  </a:lnTo>
                  <a:lnTo>
                    <a:pt x="478" y="77"/>
                  </a:lnTo>
                  <a:lnTo>
                    <a:pt x="492" y="85"/>
                  </a:lnTo>
                  <a:lnTo>
                    <a:pt x="505" y="93"/>
                  </a:lnTo>
                  <a:lnTo>
                    <a:pt x="517" y="103"/>
                  </a:lnTo>
                  <a:lnTo>
                    <a:pt x="528" y="114"/>
                  </a:lnTo>
                  <a:lnTo>
                    <a:pt x="539" y="126"/>
                  </a:lnTo>
                  <a:lnTo>
                    <a:pt x="542" y="130"/>
                  </a:lnTo>
                  <a:lnTo>
                    <a:pt x="547" y="132"/>
                  </a:lnTo>
                  <a:lnTo>
                    <a:pt x="551" y="133"/>
                  </a:lnTo>
                  <a:lnTo>
                    <a:pt x="556" y="134"/>
                  </a:lnTo>
                  <a:lnTo>
                    <a:pt x="560" y="134"/>
                  </a:lnTo>
                  <a:lnTo>
                    <a:pt x="565" y="133"/>
                  </a:lnTo>
                  <a:lnTo>
                    <a:pt x="569" y="131"/>
                  </a:lnTo>
                  <a:lnTo>
                    <a:pt x="573" y="129"/>
                  </a:lnTo>
                  <a:lnTo>
                    <a:pt x="577" y="125"/>
                  </a:lnTo>
                  <a:lnTo>
                    <a:pt x="579" y="121"/>
                  </a:lnTo>
                  <a:lnTo>
                    <a:pt x="581" y="117"/>
                  </a:lnTo>
                  <a:lnTo>
                    <a:pt x="581" y="112"/>
                  </a:lnTo>
                  <a:lnTo>
                    <a:pt x="581" y="108"/>
                  </a:lnTo>
                  <a:lnTo>
                    <a:pt x="580" y="103"/>
                  </a:lnTo>
                  <a:lnTo>
                    <a:pt x="578" y="99"/>
                  </a:lnTo>
                  <a:lnTo>
                    <a:pt x="576" y="94"/>
                  </a:lnTo>
                  <a:lnTo>
                    <a:pt x="562" y="81"/>
                  </a:lnTo>
                  <a:lnTo>
                    <a:pt x="548" y="68"/>
                  </a:lnTo>
                  <a:lnTo>
                    <a:pt x="532" y="56"/>
                  </a:lnTo>
                  <a:lnTo>
                    <a:pt x="517" y="45"/>
                  </a:lnTo>
                  <a:lnTo>
                    <a:pt x="502" y="35"/>
                  </a:lnTo>
                  <a:lnTo>
                    <a:pt x="485" y="27"/>
                  </a:lnTo>
                  <a:lnTo>
                    <a:pt x="467" y="19"/>
                  </a:lnTo>
                  <a:lnTo>
                    <a:pt x="450" y="13"/>
                  </a:lnTo>
                  <a:lnTo>
                    <a:pt x="432" y="8"/>
                  </a:lnTo>
                  <a:lnTo>
                    <a:pt x="413" y="4"/>
                  </a:lnTo>
                  <a:lnTo>
                    <a:pt x="394" y="2"/>
                  </a:lnTo>
                  <a:lnTo>
                    <a:pt x="376" y="0"/>
                  </a:lnTo>
                  <a:lnTo>
                    <a:pt x="357" y="0"/>
                  </a:lnTo>
                  <a:lnTo>
                    <a:pt x="338" y="1"/>
                  </a:lnTo>
                  <a:lnTo>
                    <a:pt x="319" y="4"/>
                  </a:lnTo>
                  <a:lnTo>
                    <a:pt x="301" y="7"/>
                  </a:lnTo>
                  <a:lnTo>
                    <a:pt x="286" y="12"/>
                  </a:lnTo>
                  <a:lnTo>
                    <a:pt x="272" y="16"/>
                  </a:lnTo>
                  <a:lnTo>
                    <a:pt x="259" y="20"/>
                  </a:lnTo>
                  <a:lnTo>
                    <a:pt x="245" y="27"/>
                  </a:lnTo>
                  <a:lnTo>
                    <a:pt x="232" y="34"/>
                  </a:lnTo>
                  <a:lnTo>
                    <a:pt x="219" y="40"/>
                  </a:lnTo>
                  <a:lnTo>
                    <a:pt x="207" y="48"/>
                  </a:lnTo>
                  <a:lnTo>
                    <a:pt x="195" y="57"/>
                  </a:lnTo>
                  <a:lnTo>
                    <a:pt x="184" y="66"/>
                  </a:lnTo>
                  <a:lnTo>
                    <a:pt x="171" y="76"/>
                  </a:lnTo>
                  <a:lnTo>
                    <a:pt x="161" y="86"/>
                  </a:lnTo>
                  <a:lnTo>
                    <a:pt x="152" y="97"/>
                  </a:lnTo>
                  <a:lnTo>
                    <a:pt x="142" y="108"/>
                  </a:lnTo>
                  <a:lnTo>
                    <a:pt x="132" y="119"/>
                  </a:lnTo>
                  <a:lnTo>
                    <a:pt x="124" y="131"/>
                  </a:lnTo>
                  <a:lnTo>
                    <a:pt x="115" y="144"/>
                  </a:lnTo>
                  <a:lnTo>
                    <a:pt x="107" y="159"/>
                  </a:lnTo>
                  <a:lnTo>
                    <a:pt x="101" y="173"/>
                  </a:lnTo>
                  <a:lnTo>
                    <a:pt x="94" y="188"/>
                  </a:lnTo>
                  <a:lnTo>
                    <a:pt x="89" y="203"/>
                  </a:lnTo>
                  <a:lnTo>
                    <a:pt x="84" y="218"/>
                  </a:lnTo>
                  <a:lnTo>
                    <a:pt x="81" y="234"/>
                  </a:lnTo>
                  <a:lnTo>
                    <a:pt x="78" y="249"/>
                  </a:lnTo>
                  <a:lnTo>
                    <a:pt x="76" y="265"/>
                  </a:lnTo>
                  <a:lnTo>
                    <a:pt x="44" y="217"/>
                  </a:lnTo>
                  <a:lnTo>
                    <a:pt x="41" y="214"/>
                  </a:lnTo>
                  <a:lnTo>
                    <a:pt x="37" y="210"/>
                  </a:lnTo>
                  <a:lnTo>
                    <a:pt x="33" y="208"/>
                  </a:lnTo>
                  <a:lnTo>
                    <a:pt x="29" y="207"/>
                  </a:lnTo>
                  <a:lnTo>
                    <a:pt x="25" y="207"/>
                  </a:lnTo>
                  <a:lnTo>
                    <a:pt x="19" y="207"/>
                  </a:lnTo>
                  <a:lnTo>
                    <a:pt x="15" y="208"/>
                  </a:lnTo>
                  <a:lnTo>
                    <a:pt x="10" y="212"/>
                  </a:lnTo>
                  <a:lnTo>
                    <a:pt x="7" y="214"/>
                  </a:lnTo>
                  <a:lnTo>
                    <a:pt x="4" y="218"/>
                  </a:lnTo>
                  <a:lnTo>
                    <a:pt x="1" y="221"/>
                  </a:lnTo>
                  <a:lnTo>
                    <a:pt x="0" y="226"/>
                  </a:lnTo>
                  <a:lnTo>
                    <a:pt x="0" y="231"/>
                  </a:lnTo>
                  <a:lnTo>
                    <a:pt x="0" y="236"/>
                  </a:lnTo>
                  <a:lnTo>
                    <a:pt x="1" y="240"/>
                  </a:lnTo>
                  <a:lnTo>
                    <a:pt x="5" y="245"/>
                  </a:lnTo>
                  <a:lnTo>
                    <a:pt x="89" y="369"/>
                  </a:lnTo>
                  <a:lnTo>
                    <a:pt x="92" y="374"/>
                  </a:lnTo>
                  <a:lnTo>
                    <a:pt x="96" y="377"/>
                  </a:lnTo>
                  <a:lnTo>
                    <a:pt x="102" y="379"/>
                  </a:lnTo>
                  <a:lnTo>
                    <a:pt x="107" y="379"/>
                  </a:lnTo>
                  <a:lnTo>
                    <a:pt x="107" y="379"/>
                  </a:lnTo>
                  <a:lnTo>
                    <a:pt x="108" y="379"/>
                  </a:lnTo>
                  <a:lnTo>
                    <a:pt x="114" y="379"/>
                  </a:lnTo>
                  <a:lnTo>
                    <a:pt x="118" y="378"/>
                  </a:lnTo>
                  <a:lnTo>
                    <a:pt x="123" y="375"/>
                  </a:lnTo>
                  <a:lnTo>
                    <a:pt x="126" y="372"/>
                  </a:lnTo>
                  <a:lnTo>
                    <a:pt x="223" y="256"/>
                  </a:lnTo>
                  <a:lnTo>
                    <a:pt x="227" y="251"/>
                  </a:lnTo>
                  <a:lnTo>
                    <a:pt x="228" y="247"/>
                  </a:lnTo>
                  <a:lnTo>
                    <a:pt x="229" y="242"/>
                  </a:lnTo>
                  <a:lnTo>
                    <a:pt x="229" y="238"/>
                  </a:lnTo>
                  <a:lnTo>
                    <a:pt x="228" y="234"/>
                  </a:lnTo>
                  <a:lnTo>
                    <a:pt x="227" y="229"/>
                  </a:lnTo>
                  <a:lnTo>
                    <a:pt x="223" y="225"/>
                  </a:lnTo>
                  <a:lnTo>
                    <a:pt x="220" y="2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</p:grpSp>
      <p:pic>
        <p:nvPicPr>
          <p:cNvPr id="6" name="Графический объект 5" descr="Деньги">
            <a:extLst>
              <a:ext uri="{FF2B5EF4-FFF2-40B4-BE49-F238E27FC236}">
                <a16:creationId xmlns:a16="http://schemas.microsoft.com/office/drawing/2014/main" xmlns="" id="{231049EC-B4F3-4123-B271-2B1BE53FD9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567322" y="2475123"/>
            <a:ext cx="533625" cy="533625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878E9E76-0170-4D84-BCC3-07E8CC1CF33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defPPr>
              <a:defRPr lang="ru-RU"/>
            </a:defPPr>
          </a:lstStyle>
          <a:p>
            <a:pPr rtl="0"/>
            <a:fld id="{4A819B37-3892-4E0B-914A-0FDFEECC87F0}" type="datetime1">
              <a:rPr lang="ru-RU" smtClean="0"/>
              <a:t>07.10.2022</a:t>
            </a:fld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defPPr>
              <a:defRPr lang="ru-RU"/>
            </a:defPPr>
          </a:lstStyle>
          <a:p>
            <a:pPr rtl="0"/>
            <a:fld id="{5A4A7955-6230-48B4-BD8B-A7C460F75945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51465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9291974D-94F5-468A-87AC-B7EFF95696CC}"/>
              </a:ext>
            </a:extLst>
          </p:cNvPr>
          <p:cNvSpPr/>
          <p:nvPr/>
        </p:nvSpPr>
        <p:spPr>
          <a:xfrm>
            <a:off x="0" y="966784"/>
            <a:ext cx="12192000" cy="5445364"/>
          </a:xfrm>
          <a:prstGeom prst="rect">
            <a:avLst/>
          </a:prstGeom>
          <a:pattFill prst="ltDnDiag">
            <a:fgClr>
              <a:schemeClr val="bg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600"/>
              </a:spcBef>
            </a:pPr>
            <a:r>
              <a:rPr lang="ru-RU" dirty="0"/>
              <a:t>Ожидающиеся вклады</a:t>
            </a:r>
          </a:p>
        </p:txBody>
      </p: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xmlns="" id="{AB755EE4-AAED-40FD-A16A-259334EEE05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/>
        </p:nvGrpSpPr>
        <p:grpSpPr>
          <a:xfrm>
            <a:off x="304800" y="4060864"/>
            <a:ext cx="3419021" cy="2214588"/>
            <a:chOff x="304800" y="4060864"/>
            <a:chExt cx="3419021" cy="2214588"/>
          </a:xfr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grpSpPr>
        <p:sp>
          <p:nvSpPr>
            <p:cNvPr id="119" name="Прямоугольник 118">
              <a:extLst>
                <a:ext uri="{FF2B5EF4-FFF2-40B4-BE49-F238E27FC236}">
                  <a16:creationId xmlns:a16="http://schemas.microsoft.com/office/drawing/2014/main" xmlns="" id="{ECC89592-EA05-4F09-AE50-51BC0C185628}"/>
                </a:ext>
              </a:extLst>
            </p:cNvPr>
            <p:cNvSpPr/>
            <p:nvPr/>
          </p:nvSpPr>
          <p:spPr>
            <a:xfrm>
              <a:off x="304800" y="4060864"/>
              <a:ext cx="3419021" cy="22145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>
                <a:spcBef>
                  <a:spcPts val="600"/>
                </a:spcBef>
              </a:pPr>
              <a:endParaRPr lang="ru-RU" sz="3600" b="1" dirty="0">
                <a:latin typeface="+mj-lt"/>
              </a:endParaRPr>
            </a:p>
          </p:txBody>
        </p:sp>
        <p:sp>
          <p:nvSpPr>
            <p:cNvPr id="179" name="Прямоугольник 178">
              <a:extLst>
                <a:ext uri="{FF2B5EF4-FFF2-40B4-BE49-F238E27FC236}">
                  <a16:creationId xmlns:a16="http://schemas.microsoft.com/office/drawing/2014/main" xmlns="" id="{9CFFF09D-96F9-453A-AC93-BC01E504D3BB}"/>
                </a:ext>
              </a:extLst>
            </p:cNvPr>
            <p:cNvSpPr/>
            <p:nvPr/>
          </p:nvSpPr>
          <p:spPr>
            <a:xfrm>
              <a:off x="304800" y="4060864"/>
              <a:ext cx="3419021" cy="419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Личный кабинет для иностранного налогоплательщика</a:t>
              </a: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A98AD67-5AA4-441A-BB82-472C28841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5818"/>
            <a:ext cx="10515600" cy="387798"/>
          </a:xfrm>
        </p:spPr>
        <p:txBody>
          <a:bodyPr rtlCol="0">
            <a:normAutofit fontScale="90000"/>
          </a:bodyPr>
          <a:lstStyle/>
          <a:p>
            <a:pPr algn="l" rtl="0"/>
            <a:r>
              <a:rPr lang="ru-RU" sz="2800" dirty="0"/>
              <a:t>Налоговый комитет Республики Таджикистан</a:t>
            </a:r>
            <a:r>
              <a:rPr lang="en-US" sz="2800" dirty="0"/>
              <a:t> </a:t>
            </a:r>
            <a:endParaRPr lang="ru-RU" sz="28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FF6CA378-A42F-4D9C-A19A-0115D50F3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0FD50806-BABF-4915-9689-3B9956D1C75C}" type="slidenum">
              <a:rPr lang="ru-RU" smtClean="0"/>
              <a:pPr rtl="0"/>
              <a:t>6</a:t>
            </a:fld>
            <a:endParaRPr lang="ru-RU" dirty="0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xmlns="" id="{91550221-8258-42F2-8C5D-7698C3085D5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/>
        </p:nvGrpSpPr>
        <p:grpSpPr>
          <a:xfrm>
            <a:off x="324643" y="1576472"/>
            <a:ext cx="3419021" cy="2214588"/>
            <a:chOff x="304800" y="1577182"/>
            <a:chExt cx="3419021" cy="2214588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xmlns="" id="{CDADA208-E23E-4B7A-8B30-503644571020}"/>
                </a:ext>
              </a:extLst>
            </p:cNvPr>
            <p:cNvSpPr/>
            <p:nvPr/>
          </p:nvSpPr>
          <p:spPr>
            <a:xfrm>
              <a:off x="304800" y="1577182"/>
              <a:ext cx="3419021" cy="1795488"/>
            </a:xfrm>
            <a:prstGeom prst="rect">
              <a:avLst/>
            </a:prstGeom>
            <a:solidFill>
              <a:srgbClr val="CE29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>
                <a:spcBef>
                  <a:spcPts val="600"/>
                </a:spcBef>
              </a:pPr>
              <a:r>
                <a:rPr lang="ru-RU" sz="1600" b="1" dirty="0">
                  <a:latin typeface="+mj-lt"/>
                </a:rPr>
                <a:t>Электронная коммерция – объект налогового администрирования</a:t>
              </a: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35AF9DE5-C8D3-43F1-8647-AA7713F1FCEF}"/>
                </a:ext>
              </a:extLst>
            </p:cNvPr>
            <p:cNvSpPr/>
            <p:nvPr/>
          </p:nvSpPr>
          <p:spPr>
            <a:xfrm>
              <a:off x="304800" y="3372670"/>
              <a:ext cx="3419021" cy="419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оличество иностранных компаний  23  </a:t>
              </a:r>
            </a:p>
          </p:txBody>
        </p:sp>
      </p:grpSp>
      <p:sp>
        <p:nvSpPr>
          <p:cNvPr id="6" name="Овал 5">
            <a:extLst>
              <a:ext uri="{FF2B5EF4-FFF2-40B4-BE49-F238E27FC236}">
                <a16:creationId xmlns:a16="http://schemas.microsoft.com/office/drawing/2014/main" xmlns="" id="{97C50A8E-3918-4827-975A-99A3EAB66BF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1685698" y="1242245"/>
            <a:ext cx="657225" cy="657225"/>
          </a:xfrm>
          <a:prstGeom prst="ellipse">
            <a:avLst/>
          </a:prstGeom>
          <a:solidFill>
            <a:srgbClr val="CE295E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grpSp>
        <p:nvGrpSpPr>
          <p:cNvPr id="12" name="Группа 11" descr="Это значок монет.">
            <a:extLst>
              <a:ext uri="{FF2B5EF4-FFF2-40B4-BE49-F238E27FC236}">
                <a16:creationId xmlns:a16="http://schemas.microsoft.com/office/drawing/2014/main" xmlns="" id="{75301E57-A6A4-4748-B362-9BA17072ED18}"/>
              </a:ext>
            </a:extLst>
          </p:cNvPr>
          <p:cNvGrpSpPr/>
          <p:nvPr/>
        </p:nvGrpSpPr>
        <p:grpSpPr>
          <a:xfrm>
            <a:off x="1870641" y="1439094"/>
            <a:ext cx="287338" cy="263526"/>
            <a:chOff x="3171825" y="1368425"/>
            <a:chExt cx="287338" cy="263526"/>
          </a:xfrm>
          <a:solidFill>
            <a:schemeClr val="bg1"/>
          </a:solidFill>
        </p:grpSpPr>
        <p:sp>
          <p:nvSpPr>
            <p:cNvPr id="13" name="Полилиния 466">
              <a:extLst>
                <a:ext uri="{FF2B5EF4-FFF2-40B4-BE49-F238E27FC236}">
                  <a16:creationId xmlns:a16="http://schemas.microsoft.com/office/drawing/2014/main" xmlns="" id="{385D5C6F-FE82-4E8C-8542-1BECD761D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598613"/>
              <a:ext cx="49213" cy="33338"/>
            </a:xfrm>
            <a:custGeom>
              <a:avLst/>
              <a:gdLst>
                <a:gd name="T0" fmla="*/ 0 w 151"/>
                <a:gd name="T1" fmla="*/ 0 h 106"/>
                <a:gd name="T2" fmla="*/ 0 w 151"/>
                <a:gd name="T3" fmla="*/ 106 h 106"/>
                <a:gd name="T4" fmla="*/ 151 w 151"/>
                <a:gd name="T5" fmla="*/ 106 h 106"/>
                <a:gd name="T6" fmla="*/ 151 w 151"/>
                <a:gd name="T7" fmla="*/ 0 h 106"/>
                <a:gd name="T8" fmla="*/ 136 w 151"/>
                <a:gd name="T9" fmla="*/ 0 h 106"/>
                <a:gd name="T10" fmla="*/ 0 w 151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6">
                  <a:moveTo>
                    <a:pt x="0" y="0"/>
                  </a:moveTo>
                  <a:lnTo>
                    <a:pt x="0" y="106"/>
                  </a:lnTo>
                  <a:lnTo>
                    <a:pt x="151" y="106"/>
                  </a:lnTo>
                  <a:lnTo>
                    <a:pt x="151" y="0"/>
                  </a:lnTo>
                  <a:lnTo>
                    <a:pt x="13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4" name="Полилиния 467">
              <a:extLst>
                <a:ext uri="{FF2B5EF4-FFF2-40B4-BE49-F238E27FC236}">
                  <a16:creationId xmlns:a16="http://schemas.microsoft.com/office/drawing/2014/main" xmlns="" id="{3F4AD88D-507E-4EB6-B578-88060D4CF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598613"/>
              <a:ext cx="28575" cy="33338"/>
            </a:xfrm>
            <a:custGeom>
              <a:avLst/>
              <a:gdLst>
                <a:gd name="T0" fmla="*/ 75 w 90"/>
                <a:gd name="T1" fmla="*/ 0 h 106"/>
                <a:gd name="T2" fmla="*/ 0 w 90"/>
                <a:gd name="T3" fmla="*/ 0 h 106"/>
                <a:gd name="T4" fmla="*/ 0 w 90"/>
                <a:gd name="T5" fmla="*/ 106 h 106"/>
                <a:gd name="T6" fmla="*/ 75 w 90"/>
                <a:gd name="T7" fmla="*/ 106 h 106"/>
                <a:gd name="T8" fmla="*/ 78 w 90"/>
                <a:gd name="T9" fmla="*/ 106 h 106"/>
                <a:gd name="T10" fmla="*/ 80 w 90"/>
                <a:gd name="T11" fmla="*/ 104 h 106"/>
                <a:gd name="T12" fmla="*/ 84 w 90"/>
                <a:gd name="T13" fmla="*/ 103 h 106"/>
                <a:gd name="T14" fmla="*/ 86 w 90"/>
                <a:gd name="T15" fmla="*/ 101 h 106"/>
                <a:gd name="T16" fmla="*/ 88 w 90"/>
                <a:gd name="T17" fmla="*/ 99 h 106"/>
                <a:gd name="T18" fmla="*/ 89 w 90"/>
                <a:gd name="T19" fmla="*/ 97 h 106"/>
                <a:gd name="T20" fmla="*/ 90 w 90"/>
                <a:gd name="T21" fmla="*/ 94 h 106"/>
                <a:gd name="T22" fmla="*/ 90 w 90"/>
                <a:gd name="T23" fmla="*/ 91 h 106"/>
                <a:gd name="T24" fmla="*/ 90 w 90"/>
                <a:gd name="T25" fmla="*/ 15 h 106"/>
                <a:gd name="T26" fmla="*/ 90 w 90"/>
                <a:gd name="T27" fmla="*/ 12 h 106"/>
                <a:gd name="T28" fmla="*/ 89 w 90"/>
                <a:gd name="T29" fmla="*/ 10 h 106"/>
                <a:gd name="T30" fmla="*/ 88 w 90"/>
                <a:gd name="T31" fmla="*/ 7 h 106"/>
                <a:gd name="T32" fmla="*/ 86 w 90"/>
                <a:gd name="T33" fmla="*/ 5 h 106"/>
                <a:gd name="T34" fmla="*/ 84 w 90"/>
                <a:gd name="T35" fmla="*/ 4 h 106"/>
                <a:gd name="T36" fmla="*/ 80 w 90"/>
                <a:gd name="T37" fmla="*/ 2 h 106"/>
                <a:gd name="T38" fmla="*/ 78 w 90"/>
                <a:gd name="T39" fmla="*/ 2 h 106"/>
                <a:gd name="T40" fmla="*/ 75 w 90"/>
                <a:gd name="T41" fmla="*/ 0 h 106"/>
                <a:gd name="T42" fmla="*/ 75 w 90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6">
                  <a:moveTo>
                    <a:pt x="75" y="0"/>
                  </a:moveTo>
                  <a:lnTo>
                    <a:pt x="0" y="0"/>
                  </a:lnTo>
                  <a:lnTo>
                    <a:pt x="0" y="106"/>
                  </a:lnTo>
                  <a:lnTo>
                    <a:pt x="75" y="106"/>
                  </a:lnTo>
                  <a:lnTo>
                    <a:pt x="78" y="106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0" y="94"/>
                  </a:lnTo>
                  <a:lnTo>
                    <a:pt x="90" y="91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4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5" name="Полилиния 468">
              <a:extLst>
                <a:ext uri="{FF2B5EF4-FFF2-40B4-BE49-F238E27FC236}">
                  <a16:creationId xmlns:a16="http://schemas.microsoft.com/office/drawing/2014/main" xmlns="" id="{25BE5FD6-A410-4824-9697-31FCF7983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598613"/>
              <a:ext cx="28575" cy="33338"/>
            </a:xfrm>
            <a:custGeom>
              <a:avLst/>
              <a:gdLst>
                <a:gd name="T0" fmla="*/ 15 w 90"/>
                <a:gd name="T1" fmla="*/ 0 h 106"/>
                <a:gd name="T2" fmla="*/ 11 w 90"/>
                <a:gd name="T3" fmla="*/ 0 h 106"/>
                <a:gd name="T4" fmla="*/ 9 w 90"/>
                <a:gd name="T5" fmla="*/ 2 h 106"/>
                <a:gd name="T6" fmla="*/ 6 w 90"/>
                <a:gd name="T7" fmla="*/ 4 h 106"/>
                <a:gd name="T8" fmla="*/ 4 w 90"/>
                <a:gd name="T9" fmla="*/ 5 h 106"/>
                <a:gd name="T10" fmla="*/ 3 w 90"/>
                <a:gd name="T11" fmla="*/ 7 h 106"/>
                <a:gd name="T12" fmla="*/ 1 w 90"/>
                <a:gd name="T13" fmla="*/ 10 h 106"/>
                <a:gd name="T14" fmla="*/ 0 w 90"/>
                <a:gd name="T15" fmla="*/ 12 h 106"/>
                <a:gd name="T16" fmla="*/ 0 w 90"/>
                <a:gd name="T17" fmla="*/ 15 h 106"/>
                <a:gd name="T18" fmla="*/ 0 w 90"/>
                <a:gd name="T19" fmla="*/ 91 h 106"/>
                <a:gd name="T20" fmla="*/ 0 w 90"/>
                <a:gd name="T21" fmla="*/ 94 h 106"/>
                <a:gd name="T22" fmla="*/ 1 w 90"/>
                <a:gd name="T23" fmla="*/ 97 h 106"/>
                <a:gd name="T24" fmla="*/ 3 w 90"/>
                <a:gd name="T25" fmla="*/ 99 h 106"/>
                <a:gd name="T26" fmla="*/ 4 w 90"/>
                <a:gd name="T27" fmla="*/ 101 h 106"/>
                <a:gd name="T28" fmla="*/ 6 w 90"/>
                <a:gd name="T29" fmla="*/ 103 h 106"/>
                <a:gd name="T30" fmla="*/ 9 w 90"/>
                <a:gd name="T31" fmla="*/ 104 h 106"/>
                <a:gd name="T32" fmla="*/ 11 w 90"/>
                <a:gd name="T33" fmla="*/ 106 h 106"/>
                <a:gd name="T34" fmla="*/ 15 w 90"/>
                <a:gd name="T35" fmla="*/ 106 h 106"/>
                <a:gd name="T36" fmla="*/ 90 w 90"/>
                <a:gd name="T37" fmla="*/ 106 h 106"/>
                <a:gd name="T38" fmla="*/ 90 w 90"/>
                <a:gd name="T39" fmla="*/ 0 h 106"/>
                <a:gd name="T40" fmla="*/ 75 w 90"/>
                <a:gd name="T41" fmla="*/ 0 h 106"/>
                <a:gd name="T42" fmla="*/ 15 w 90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6">
                  <a:moveTo>
                    <a:pt x="15" y="0"/>
                  </a:moveTo>
                  <a:lnTo>
                    <a:pt x="11" y="0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1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6"/>
                  </a:lnTo>
                  <a:lnTo>
                    <a:pt x="15" y="106"/>
                  </a:lnTo>
                  <a:lnTo>
                    <a:pt x="90" y="106"/>
                  </a:lnTo>
                  <a:lnTo>
                    <a:pt x="90" y="0"/>
                  </a:lnTo>
                  <a:lnTo>
                    <a:pt x="7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6" name="Полилиния 469">
              <a:extLst>
                <a:ext uri="{FF2B5EF4-FFF2-40B4-BE49-F238E27FC236}">
                  <a16:creationId xmlns:a16="http://schemas.microsoft.com/office/drawing/2014/main" xmlns="" id="{70C956FB-1840-44F1-8377-516D0A87B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522413"/>
              <a:ext cx="49213" cy="33338"/>
            </a:xfrm>
            <a:custGeom>
              <a:avLst/>
              <a:gdLst>
                <a:gd name="T0" fmla="*/ 151 w 151"/>
                <a:gd name="T1" fmla="*/ 105 h 105"/>
                <a:gd name="T2" fmla="*/ 151 w 151"/>
                <a:gd name="T3" fmla="*/ 0 h 105"/>
                <a:gd name="T4" fmla="*/ 136 w 151"/>
                <a:gd name="T5" fmla="*/ 0 h 105"/>
                <a:gd name="T6" fmla="*/ 0 w 151"/>
                <a:gd name="T7" fmla="*/ 0 h 105"/>
                <a:gd name="T8" fmla="*/ 0 w 151"/>
                <a:gd name="T9" fmla="*/ 105 h 105"/>
                <a:gd name="T10" fmla="*/ 136 w 151"/>
                <a:gd name="T11" fmla="*/ 105 h 105"/>
                <a:gd name="T12" fmla="*/ 151 w 151"/>
                <a:gd name="T1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105"/>
                  </a:moveTo>
                  <a:lnTo>
                    <a:pt x="151" y="0"/>
                  </a:lnTo>
                  <a:lnTo>
                    <a:pt x="136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36" y="105"/>
                  </a:lnTo>
                  <a:lnTo>
                    <a:pt x="15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7" name="Полилиния 470">
              <a:extLst>
                <a:ext uri="{FF2B5EF4-FFF2-40B4-BE49-F238E27FC236}">
                  <a16:creationId xmlns:a16="http://schemas.microsoft.com/office/drawing/2014/main" xmlns="" id="{31F34C55-620E-437B-84B4-9120D2B17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522413"/>
              <a:ext cx="28575" cy="33338"/>
            </a:xfrm>
            <a:custGeom>
              <a:avLst/>
              <a:gdLst>
                <a:gd name="T0" fmla="*/ 15 w 90"/>
                <a:gd name="T1" fmla="*/ 0 h 105"/>
                <a:gd name="T2" fmla="*/ 11 w 90"/>
                <a:gd name="T3" fmla="*/ 0 h 105"/>
                <a:gd name="T4" fmla="*/ 9 w 90"/>
                <a:gd name="T5" fmla="*/ 1 h 105"/>
                <a:gd name="T6" fmla="*/ 6 w 90"/>
                <a:gd name="T7" fmla="*/ 2 h 105"/>
                <a:gd name="T8" fmla="*/ 4 w 90"/>
                <a:gd name="T9" fmla="*/ 4 h 105"/>
                <a:gd name="T10" fmla="*/ 3 w 90"/>
                <a:gd name="T11" fmla="*/ 7 h 105"/>
                <a:gd name="T12" fmla="*/ 1 w 90"/>
                <a:gd name="T13" fmla="*/ 9 h 105"/>
                <a:gd name="T14" fmla="*/ 0 w 90"/>
                <a:gd name="T15" fmla="*/ 12 h 105"/>
                <a:gd name="T16" fmla="*/ 0 w 90"/>
                <a:gd name="T17" fmla="*/ 15 h 105"/>
                <a:gd name="T18" fmla="*/ 0 w 90"/>
                <a:gd name="T19" fmla="*/ 90 h 105"/>
                <a:gd name="T20" fmla="*/ 0 w 90"/>
                <a:gd name="T21" fmla="*/ 93 h 105"/>
                <a:gd name="T22" fmla="*/ 1 w 90"/>
                <a:gd name="T23" fmla="*/ 96 h 105"/>
                <a:gd name="T24" fmla="*/ 3 w 90"/>
                <a:gd name="T25" fmla="*/ 99 h 105"/>
                <a:gd name="T26" fmla="*/ 4 w 90"/>
                <a:gd name="T27" fmla="*/ 101 h 105"/>
                <a:gd name="T28" fmla="*/ 6 w 90"/>
                <a:gd name="T29" fmla="*/ 102 h 105"/>
                <a:gd name="T30" fmla="*/ 9 w 90"/>
                <a:gd name="T31" fmla="*/ 104 h 105"/>
                <a:gd name="T32" fmla="*/ 11 w 90"/>
                <a:gd name="T33" fmla="*/ 105 h 105"/>
                <a:gd name="T34" fmla="*/ 15 w 90"/>
                <a:gd name="T35" fmla="*/ 105 h 105"/>
                <a:gd name="T36" fmla="*/ 75 w 90"/>
                <a:gd name="T37" fmla="*/ 105 h 105"/>
                <a:gd name="T38" fmla="*/ 90 w 90"/>
                <a:gd name="T39" fmla="*/ 105 h 105"/>
                <a:gd name="T40" fmla="*/ 90 w 90"/>
                <a:gd name="T41" fmla="*/ 0 h 105"/>
                <a:gd name="T42" fmla="*/ 75 w 90"/>
                <a:gd name="T43" fmla="*/ 0 h 105"/>
                <a:gd name="T44" fmla="*/ 15 w 90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5">
                  <a:moveTo>
                    <a:pt x="15" y="0"/>
                  </a:move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75" y="105"/>
                  </a:lnTo>
                  <a:lnTo>
                    <a:pt x="90" y="105"/>
                  </a:lnTo>
                  <a:lnTo>
                    <a:pt x="90" y="0"/>
                  </a:lnTo>
                  <a:lnTo>
                    <a:pt x="7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8" name="Полилиния 471">
              <a:extLst>
                <a:ext uri="{FF2B5EF4-FFF2-40B4-BE49-F238E27FC236}">
                  <a16:creationId xmlns:a16="http://schemas.microsoft.com/office/drawing/2014/main" xmlns="" id="{18397A4D-BBCC-464A-A388-9BDBF3FBC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522413"/>
              <a:ext cx="28575" cy="33338"/>
            </a:xfrm>
            <a:custGeom>
              <a:avLst/>
              <a:gdLst>
                <a:gd name="T0" fmla="*/ 75 w 90"/>
                <a:gd name="T1" fmla="*/ 0 h 105"/>
                <a:gd name="T2" fmla="*/ 0 w 90"/>
                <a:gd name="T3" fmla="*/ 0 h 105"/>
                <a:gd name="T4" fmla="*/ 0 w 90"/>
                <a:gd name="T5" fmla="*/ 105 h 105"/>
                <a:gd name="T6" fmla="*/ 75 w 90"/>
                <a:gd name="T7" fmla="*/ 105 h 105"/>
                <a:gd name="T8" fmla="*/ 78 w 90"/>
                <a:gd name="T9" fmla="*/ 105 h 105"/>
                <a:gd name="T10" fmla="*/ 80 w 90"/>
                <a:gd name="T11" fmla="*/ 104 h 105"/>
                <a:gd name="T12" fmla="*/ 84 w 90"/>
                <a:gd name="T13" fmla="*/ 102 h 105"/>
                <a:gd name="T14" fmla="*/ 86 w 90"/>
                <a:gd name="T15" fmla="*/ 101 h 105"/>
                <a:gd name="T16" fmla="*/ 88 w 90"/>
                <a:gd name="T17" fmla="*/ 99 h 105"/>
                <a:gd name="T18" fmla="*/ 89 w 90"/>
                <a:gd name="T19" fmla="*/ 96 h 105"/>
                <a:gd name="T20" fmla="*/ 90 w 90"/>
                <a:gd name="T21" fmla="*/ 93 h 105"/>
                <a:gd name="T22" fmla="*/ 90 w 90"/>
                <a:gd name="T23" fmla="*/ 90 h 105"/>
                <a:gd name="T24" fmla="*/ 90 w 90"/>
                <a:gd name="T25" fmla="*/ 15 h 105"/>
                <a:gd name="T26" fmla="*/ 90 w 90"/>
                <a:gd name="T27" fmla="*/ 12 h 105"/>
                <a:gd name="T28" fmla="*/ 89 w 90"/>
                <a:gd name="T29" fmla="*/ 9 h 105"/>
                <a:gd name="T30" fmla="*/ 88 w 90"/>
                <a:gd name="T31" fmla="*/ 7 h 105"/>
                <a:gd name="T32" fmla="*/ 86 w 90"/>
                <a:gd name="T33" fmla="*/ 4 h 105"/>
                <a:gd name="T34" fmla="*/ 84 w 90"/>
                <a:gd name="T35" fmla="*/ 2 h 105"/>
                <a:gd name="T36" fmla="*/ 80 w 90"/>
                <a:gd name="T37" fmla="*/ 1 h 105"/>
                <a:gd name="T38" fmla="*/ 78 w 90"/>
                <a:gd name="T39" fmla="*/ 0 h 105"/>
                <a:gd name="T40" fmla="*/ 75 w 90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75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0" y="104"/>
                  </a:lnTo>
                  <a:lnTo>
                    <a:pt x="84" y="102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9" name="Полилиния 472">
              <a:extLst>
                <a:ext uri="{FF2B5EF4-FFF2-40B4-BE49-F238E27FC236}">
                  <a16:creationId xmlns:a16="http://schemas.microsoft.com/office/drawing/2014/main" xmlns="" id="{196FE97D-77A1-4D52-A288-82512B28D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0875" y="14462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15 w 90"/>
                <a:gd name="T3" fmla="*/ 0 h 105"/>
                <a:gd name="T4" fmla="*/ 11 w 90"/>
                <a:gd name="T5" fmla="*/ 0 h 105"/>
                <a:gd name="T6" fmla="*/ 9 w 90"/>
                <a:gd name="T7" fmla="*/ 1 h 105"/>
                <a:gd name="T8" fmla="*/ 6 w 90"/>
                <a:gd name="T9" fmla="*/ 2 h 105"/>
                <a:gd name="T10" fmla="*/ 4 w 90"/>
                <a:gd name="T11" fmla="*/ 4 h 105"/>
                <a:gd name="T12" fmla="*/ 3 w 90"/>
                <a:gd name="T13" fmla="*/ 6 h 105"/>
                <a:gd name="T14" fmla="*/ 1 w 90"/>
                <a:gd name="T15" fmla="*/ 9 h 105"/>
                <a:gd name="T16" fmla="*/ 0 w 90"/>
                <a:gd name="T17" fmla="*/ 12 h 105"/>
                <a:gd name="T18" fmla="*/ 0 w 90"/>
                <a:gd name="T19" fmla="*/ 15 h 105"/>
                <a:gd name="T20" fmla="*/ 0 w 90"/>
                <a:gd name="T21" fmla="*/ 90 h 105"/>
                <a:gd name="T22" fmla="*/ 0 w 90"/>
                <a:gd name="T23" fmla="*/ 93 h 105"/>
                <a:gd name="T24" fmla="*/ 1 w 90"/>
                <a:gd name="T25" fmla="*/ 96 h 105"/>
                <a:gd name="T26" fmla="*/ 3 w 90"/>
                <a:gd name="T27" fmla="*/ 99 h 105"/>
                <a:gd name="T28" fmla="*/ 4 w 90"/>
                <a:gd name="T29" fmla="*/ 101 h 105"/>
                <a:gd name="T30" fmla="*/ 6 w 90"/>
                <a:gd name="T31" fmla="*/ 103 h 105"/>
                <a:gd name="T32" fmla="*/ 9 w 90"/>
                <a:gd name="T33" fmla="*/ 104 h 105"/>
                <a:gd name="T34" fmla="*/ 11 w 90"/>
                <a:gd name="T35" fmla="*/ 105 h 105"/>
                <a:gd name="T36" fmla="*/ 15 w 90"/>
                <a:gd name="T37" fmla="*/ 105 h 105"/>
                <a:gd name="T38" fmla="*/ 45 w 90"/>
                <a:gd name="T39" fmla="*/ 105 h 105"/>
                <a:gd name="T40" fmla="*/ 90 w 90"/>
                <a:gd name="T41" fmla="*/ 105 h 105"/>
                <a:gd name="T42" fmla="*/ 90 w 90"/>
                <a:gd name="T4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20" name="Полилиния 473">
              <a:extLst>
                <a:ext uri="{FF2B5EF4-FFF2-40B4-BE49-F238E27FC236}">
                  <a16:creationId xmlns:a16="http://schemas.microsoft.com/office/drawing/2014/main" xmlns="" id="{AEEC57E4-9646-4A44-BD9D-7456C262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1446213"/>
              <a:ext cx="49213" cy="33338"/>
            </a:xfrm>
            <a:custGeom>
              <a:avLst/>
              <a:gdLst>
                <a:gd name="T0" fmla="*/ 151 w 151"/>
                <a:gd name="T1" fmla="*/ 0 h 105"/>
                <a:gd name="T2" fmla="*/ 46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106 w 151"/>
                <a:gd name="T9" fmla="*/ 105 h 105"/>
                <a:gd name="T10" fmla="*/ 151 w 151"/>
                <a:gd name="T11" fmla="*/ 105 h 105"/>
                <a:gd name="T12" fmla="*/ 151 w 15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0"/>
                  </a:moveTo>
                  <a:lnTo>
                    <a:pt x="46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06" y="105"/>
                  </a:lnTo>
                  <a:lnTo>
                    <a:pt x="151" y="105"/>
                  </a:lnTo>
                  <a:lnTo>
                    <a:pt x="1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21" name="Полилиния 474">
              <a:extLst>
                <a:ext uri="{FF2B5EF4-FFF2-40B4-BE49-F238E27FC236}">
                  <a16:creationId xmlns:a16="http://schemas.microsoft.com/office/drawing/2014/main" xmlns="" id="{3033CFA5-C735-49A7-99D6-6BC7D8DA0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713" y="1446213"/>
              <a:ext cx="28575" cy="33338"/>
            </a:xfrm>
            <a:custGeom>
              <a:avLst/>
              <a:gdLst>
                <a:gd name="T0" fmla="*/ 90 w 90"/>
                <a:gd name="T1" fmla="*/ 15 h 105"/>
                <a:gd name="T2" fmla="*/ 90 w 90"/>
                <a:gd name="T3" fmla="*/ 12 h 105"/>
                <a:gd name="T4" fmla="*/ 89 w 90"/>
                <a:gd name="T5" fmla="*/ 9 h 105"/>
                <a:gd name="T6" fmla="*/ 88 w 90"/>
                <a:gd name="T7" fmla="*/ 6 h 105"/>
                <a:gd name="T8" fmla="*/ 86 w 90"/>
                <a:gd name="T9" fmla="*/ 4 h 105"/>
                <a:gd name="T10" fmla="*/ 84 w 90"/>
                <a:gd name="T11" fmla="*/ 2 h 105"/>
                <a:gd name="T12" fmla="*/ 81 w 90"/>
                <a:gd name="T13" fmla="*/ 1 h 105"/>
                <a:gd name="T14" fmla="*/ 78 w 90"/>
                <a:gd name="T15" fmla="*/ 0 h 105"/>
                <a:gd name="T16" fmla="*/ 75 w 90"/>
                <a:gd name="T17" fmla="*/ 0 h 105"/>
                <a:gd name="T18" fmla="*/ 45 w 90"/>
                <a:gd name="T19" fmla="*/ 0 h 105"/>
                <a:gd name="T20" fmla="*/ 0 w 90"/>
                <a:gd name="T21" fmla="*/ 0 h 105"/>
                <a:gd name="T22" fmla="*/ 0 w 90"/>
                <a:gd name="T23" fmla="*/ 105 h 105"/>
                <a:gd name="T24" fmla="*/ 75 w 90"/>
                <a:gd name="T25" fmla="*/ 105 h 105"/>
                <a:gd name="T26" fmla="*/ 78 w 90"/>
                <a:gd name="T27" fmla="*/ 105 h 105"/>
                <a:gd name="T28" fmla="*/ 81 w 90"/>
                <a:gd name="T29" fmla="*/ 104 h 105"/>
                <a:gd name="T30" fmla="*/ 84 w 90"/>
                <a:gd name="T31" fmla="*/ 103 h 105"/>
                <a:gd name="T32" fmla="*/ 86 w 90"/>
                <a:gd name="T33" fmla="*/ 101 h 105"/>
                <a:gd name="T34" fmla="*/ 88 w 90"/>
                <a:gd name="T35" fmla="*/ 99 h 105"/>
                <a:gd name="T36" fmla="*/ 89 w 90"/>
                <a:gd name="T37" fmla="*/ 96 h 105"/>
                <a:gd name="T38" fmla="*/ 90 w 90"/>
                <a:gd name="T39" fmla="*/ 93 h 105"/>
                <a:gd name="T40" fmla="*/ 90 w 90"/>
                <a:gd name="T41" fmla="*/ 90 h 105"/>
                <a:gd name="T42" fmla="*/ 90 w 90"/>
                <a:gd name="T43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5">
                  <a:moveTo>
                    <a:pt x="90" y="15"/>
                  </a:moveTo>
                  <a:lnTo>
                    <a:pt x="90" y="12"/>
                  </a:lnTo>
                  <a:lnTo>
                    <a:pt x="89" y="9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1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22" name="Полилиния 475">
              <a:extLst>
                <a:ext uri="{FF2B5EF4-FFF2-40B4-BE49-F238E27FC236}">
                  <a16:creationId xmlns:a16="http://schemas.microsoft.com/office/drawing/2014/main" xmlns="" id="{065F74B0-847F-49F5-9074-1CED108D1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408113"/>
              <a:ext cx="30163" cy="33338"/>
            </a:xfrm>
            <a:custGeom>
              <a:avLst/>
              <a:gdLst>
                <a:gd name="T0" fmla="*/ 0 w 91"/>
                <a:gd name="T1" fmla="*/ 90 h 105"/>
                <a:gd name="T2" fmla="*/ 1 w 91"/>
                <a:gd name="T3" fmla="*/ 93 h 105"/>
                <a:gd name="T4" fmla="*/ 1 w 91"/>
                <a:gd name="T5" fmla="*/ 95 h 105"/>
                <a:gd name="T6" fmla="*/ 3 w 91"/>
                <a:gd name="T7" fmla="*/ 98 h 105"/>
                <a:gd name="T8" fmla="*/ 4 w 91"/>
                <a:gd name="T9" fmla="*/ 101 h 105"/>
                <a:gd name="T10" fmla="*/ 7 w 91"/>
                <a:gd name="T11" fmla="*/ 103 h 105"/>
                <a:gd name="T12" fmla="*/ 9 w 91"/>
                <a:gd name="T13" fmla="*/ 104 h 105"/>
                <a:gd name="T14" fmla="*/ 13 w 91"/>
                <a:gd name="T15" fmla="*/ 105 h 105"/>
                <a:gd name="T16" fmla="*/ 15 w 91"/>
                <a:gd name="T17" fmla="*/ 105 h 105"/>
                <a:gd name="T18" fmla="*/ 45 w 91"/>
                <a:gd name="T19" fmla="*/ 105 h 105"/>
                <a:gd name="T20" fmla="*/ 91 w 91"/>
                <a:gd name="T21" fmla="*/ 105 h 105"/>
                <a:gd name="T22" fmla="*/ 91 w 91"/>
                <a:gd name="T23" fmla="*/ 0 h 105"/>
                <a:gd name="T24" fmla="*/ 15 w 91"/>
                <a:gd name="T25" fmla="*/ 0 h 105"/>
                <a:gd name="T26" fmla="*/ 13 w 91"/>
                <a:gd name="T27" fmla="*/ 0 h 105"/>
                <a:gd name="T28" fmla="*/ 9 w 91"/>
                <a:gd name="T29" fmla="*/ 1 h 105"/>
                <a:gd name="T30" fmla="*/ 7 w 91"/>
                <a:gd name="T31" fmla="*/ 2 h 105"/>
                <a:gd name="T32" fmla="*/ 4 w 91"/>
                <a:gd name="T33" fmla="*/ 4 h 105"/>
                <a:gd name="T34" fmla="*/ 3 w 91"/>
                <a:gd name="T35" fmla="*/ 6 h 105"/>
                <a:gd name="T36" fmla="*/ 1 w 91"/>
                <a:gd name="T37" fmla="*/ 8 h 105"/>
                <a:gd name="T38" fmla="*/ 1 w 91"/>
                <a:gd name="T39" fmla="*/ 11 h 105"/>
                <a:gd name="T40" fmla="*/ 0 w 91"/>
                <a:gd name="T41" fmla="*/ 15 h 105"/>
                <a:gd name="T42" fmla="*/ 0 w 91"/>
                <a:gd name="T43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1" h="105">
                  <a:moveTo>
                    <a:pt x="0" y="90"/>
                  </a:moveTo>
                  <a:lnTo>
                    <a:pt x="1" y="93"/>
                  </a:lnTo>
                  <a:lnTo>
                    <a:pt x="1" y="95"/>
                  </a:lnTo>
                  <a:lnTo>
                    <a:pt x="3" y="98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9" y="104"/>
                  </a:lnTo>
                  <a:lnTo>
                    <a:pt x="13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1" y="105"/>
                  </a:lnTo>
                  <a:lnTo>
                    <a:pt x="91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23" name="Полилиния 476">
              <a:extLst>
                <a:ext uri="{FF2B5EF4-FFF2-40B4-BE49-F238E27FC236}">
                  <a16:creationId xmlns:a16="http://schemas.microsoft.com/office/drawing/2014/main" xmlns="" id="{DB22E8D4-6BB2-4D40-BB88-1C39D4F8E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1408113"/>
              <a:ext cx="47625" cy="33338"/>
            </a:xfrm>
            <a:custGeom>
              <a:avLst/>
              <a:gdLst>
                <a:gd name="T0" fmla="*/ 0 w 150"/>
                <a:gd name="T1" fmla="*/ 105 h 105"/>
                <a:gd name="T2" fmla="*/ 105 w 150"/>
                <a:gd name="T3" fmla="*/ 105 h 105"/>
                <a:gd name="T4" fmla="*/ 150 w 150"/>
                <a:gd name="T5" fmla="*/ 105 h 105"/>
                <a:gd name="T6" fmla="*/ 150 w 150"/>
                <a:gd name="T7" fmla="*/ 0 h 105"/>
                <a:gd name="T8" fmla="*/ 75 w 150"/>
                <a:gd name="T9" fmla="*/ 0 h 105"/>
                <a:gd name="T10" fmla="*/ 0 w 150"/>
                <a:gd name="T11" fmla="*/ 0 h 105"/>
                <a:gd name="T12" fmla="*/ 0 w 150"/>
                <a:gd name="T1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05">
                  <a:moveTo>
                    <a:pt x="0" y="105"/>
                  </a:moveTo>
                  <a:lnTo>
                    <a:pt x="105" y="105"/>
                  </a:lnTo>
                  <a:lnTo>
                    <a:pt x="150" y="105"/>
                  </a:lnTo>
                  <a:lnTo>
                    <a:pt x="150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24" name="Полилиния 478">
              <a:extLst>
                <a:ext uri="{FF2B5EF4-FFF2-40B4-BE49-F238E27FC236}">
                  <a16:creationId xmlns:a16="http://schemas.microsoft.com/office/drawing/2014/main" xmlns="" id="{87F52D03-CB49-4783-A300-614548CAD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6763" y="1408113"/>
              <a:ext cx="28575" cy="33338"/>
            </a:xfrm>
            <a:custGeom>
              <a:avLst/>
              <a:gdLst>
                <a:gd name="T0" fmla="*/ 0 w 90"/>
                <a:gd name="T1" fmla="*/ 105 h 105"/>
                <a:gd name="T2" fmla="*/ 75 w 90"/>
                <a:gd name="T3" fmla="*/ 105 h 105"/>
                <a:gd name="T4" fmla="*/ 78 w 90"/>
                <a:gd name="T5" fmla="*/ 105 h 105"/>
                <a:gd name="T6" fmla="*/ 82 w 90"/>
                <a:gd name="T7" fmla="*/ 104 h 105"/>
                <a:gd name="T8" fmla="*/ 84 w 90"/>
                <a:gd name="T9" fmla="*/ 103 h 105"/>
                <a:gd name="T10" fmla="*/ 86 w 90"/>
                <a:gd name="T11" fmla="*/ 101 h 105"/>
                <a:gd name="T12" fmla="*/ 88 w 90"/>
                <a:gd name="T13" fmla="*/ 98 h 105"/>
                <a:gd name="T14" fmla="*/ 89 w 90"/>
                <a:gd name="T15" fmla="*/ 95 h 105"/>
                <a:gd name="T16" fmla="*/ 90 w 90"/>
                <a:gd name="T17" fmla="*/ 93 h 105"/>
                <a:gd name="T18" fmla="*/ 90 w 90"/>
                <a:gd name="T19" fmla="*/ 90 h 105"/>
                <a:gd name="T20" fmla="*/ 90 w 90"/>
                <a:gd name="T21" fmla="*/ 15 h 105"/>
                <a:gd name="T22" fmla="*/ 90 w 90"/>
                <a:gd name="T23" fmla="*/ 11 h 105"/>
                <a:gd name="T24" fmla="*/ 89 w 90"/>
                <a:gd name="T25" fmla="*/ 8 h 105"/>
                <a:gd name="T26" fmla="*/ 88 w 90"/>
                <a:gd name="T27" fmla="*/ 6 h 105"/>
                <a:gd name="T28" fmla="*/ 86 w 90"/>
                <a:gd name="T29" fmla="*/ 4 h 105"/>
                <a:gd name="T30" fmla="*/ 84 w 90"/>
                <a:gd name="T31" fmla="*/ 2 h 105"/>
                <a:gd name="T32" fmla="*/ 82 w 90"/>
                <a:gd name="T33" fmla="*/ 1 h 105"/>
                <a:gd name="T34" fmla="*/ 78 w 90"/>
                <a:gd name="T35" fmla="*/ 0 h 105"/>
                <a:gd name="T36" fmla="*/ 75 w 90"/>
                <a:gd name="T37" fmla="*/ 0 h 105"/>
                <a:gd name="T38" fmla="*/ 0 w 90"/>
                <a:gd name="T39" fmla="*/ 0 h 105"/>
                <a:gd name="T40" fmla="*/ 0 w 90"/>
                <a:gd name="T4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0" y="105"/>
                  </a:moveTo>
                  <a:lnTo>
                    <a:pt x="75" y="105"/>
                  </a:lnTo>
                  <a:lnTo>
                    <a:pt x="78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8"/>
                  </a:lnTo>
                  <a:lnTo>
                    <a:pt x="89" y="95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lnTo>
                    <a:pt x="90" y="11"/>
                  </a:lnTo>
                  <a:lnTo>
                    <a:pt x="89" y="8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25" name="Полилиния 479">
              <a:extLst>
                <a:ext uri="{FF2B5EF4-FFF2-40B4-BE49-F238E27FC236}">
                  <a16:creationId xmlns:a16="http://schemas.microsoft.com/office/drawing/2014/main" xmlns="" id="{DBADE0C6-806F-47B9-9C52-13B9C417A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663" y="1560513"/>
              <a:ext cx="28575" cy="33338"/>
            </a:xfrm>
            <a:custGeom>
              <a:avLst/>
              <a:gdLst>
                <a:gd name="T0" fmla="*/ 90 w 90"/>
                <a:gd name="T1" fmla="*/ 90 h 105"/>
                <a:gd name="T2" fmla="*/ 90 w 90"/>
                <a:gd name="T3" fmla="*/ 15 h 105"/>
                <a:gd name="T4" fmla="*/ 90 w 90"/>
                <a:gd name="T5" fmla="*/ 12 h 105"/>
                <a:gd name="T6" fmla="*/ 89 w 90"/>
                <a:gd name="T7" fmla="*/ 9 h 105"/>
                <a:gd name="T8" fmla="*/ 88 w 90"/>
                <a:gd name="T9" fmla="*/ 7 h 105"/>
                <a:gd name="T10" fmla="*/ 86 w 90"/>
                <a:gd name="T11" fmla="*/ 5 h 105"/>
                <a:gd name="T12" fmla="*/ 84 w 90"/>
                <a:gd name="T13" fmla="*/ 2 h 105"/>
                <a:gd name="T14" fmla="*/ 80 w 90"/>
                <a:gd name="T15" fmla="*/ 1 h 105"/>
                <a:gd name="T16" fmla="*/ 78 w 90"/>
                <a:gd name="T17" fmla="*/ 0 h 105"/>
                <a:gd name="T18" fmla="*/ 75 w 90"/>
                <a:gd name="T19" fmla="*/ 0 h 105"/>
                <a:gd name="T20" fmla="*/ 15 w 90"/>
                <a:gd name="T21" fmla="*/ 0 h 105"/>
                <a:gd name="T22" fmla="*/ 0 w 90"/>
                <a:gd name="T23" fmla="*/ 0 h 105"/>
                <a:gd name="T24" fmla="*/ 0 w 90"/>
                <a:gd name="T25" fmla="*/ 105 h 105"/>
                <a:gd name="T26" fmla="*/ 15 w 90"/>
                <a:gd name="T27" fmla="*/ 105 h 105"/>
                <a:gd name="T28" fmla="*/ 75 w 90"/>
                <a:gd name="T29" fmla="*/ 105 h 105"/>
                <a:gd name="T30" fmla="*/ 78 w 90"/>
                <a:gd name="T31" fmla="*/ 105 h 105"/>
                <a:gd name="T32" fmla="*/ 80 w 90"/>
                <a:gd name="T33" fmla="*/ 104 h 105"/>
                <a:gd name="T34" fmla="*/ 84 w 90"/>
                <a:gd name="T35" fmla="*/ 103 h 105"/>
                <a:gd name="T36" fmla="*/ 86 w 90"/>
                <a:gd name="T37" fmla="*/ 101 h 105"/>
                <a:gd name="T38" fmla="*/ 88 w 90"/>
                <a:gd name="T39" fmla="*/ 99 h 105"/>
                <a:gd name="T40" fmla="*/ 89 w 90"/>
                <a:gd name="T41" fmla="*/ 97 h 105"/>
                <a:gd name="T42" fmla="*/ 90 w 90"/>
                <a:gd name="T43" fmla="*/ 94 h 105"/>
                <a:gd name="T44" fmla="*/ 90 w 90"/>
                <a:gd name="T45" fmla="*/ 90 h 105"/>
                <a:gd name="T46" fmla="*/ 90 w 90"/>
                <a:gd name="T47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0" h="105">
                  <a:moveTo>
                    <a:pt x="90" y="90"/>
                  </a:move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5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0" y="94"/>
                  </a:lnTo>
                  <a:lnTo>
                    <a:pt x="90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26" name="Полилиния 480">
              <a:extLst>
                <a:ext uri="{FF2B5EF4-FFF2-40B4-BE49-F238E27FC236}">
                  <a16:creationId xmlns:a16="http://schemas.microsoft.com/office/drawing/2014/main" xmlns="" id="{C8E574A7-2E84-4B27-8D39-E8F428DC11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560513"/>
              <a:ext cx="49213" cy="33338"/>
            </a:xfrm>
            <a:custGeom>
              <a:avLst/>
              <a:gdLst>
                <a:gd name="T0" fmla="*/ 151 w 151"/>
                <a:gd name="T1" fmla="*/ 0 h 105"/>
                <a:gd name="T2" fmla="*/ 15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15 w 151"/>
                <a:gd name="T9" fmla="*/ 105 h 105"/>
                <a:gd name="T10" fmla="*/ 151 w 151"/>
                <a:gd name="T11" fmla="*/ 105 h 105"/>
                <a:gd name="T12" fmla="*/ 151 w 15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0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5" y="105"/>
                  </a:lnTo>
                  <a:lnTo>
                    <a:pt x="151" y="105"/>
                  </a:lnTo>
                  <a:lnTo>
                    <a:pt x="1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27" name="Полилиния 481">
              <a:extLst>
                <a:ext uri="{FF2B5EF4-FFF2-40B4-BE49-F238E27FC236}">
                  <a16:creationId xmlns:a16="http://schemas.microsoft.com/office/drawing/2014/main" xmlns="" id="{8B0D6F72-7A5D-4B7E-BC3D-3CDDA28EC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15605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15 w 90"/>
                <a:gd name="T3" fmla="*/ 0 h 105"/>
                <a:gd name="T4" fmla="*/ 11 w 90"/>
                <a:gd name="T5" fmla="*/ 0 h 105"/>
                <a:gd name="T6" fmla="*/ 9 w 90"/>
                <a:gd name="T7" fmla="*/ 1 h 105"/>
                <a:gd name="T8" fmla="*/ 6 w 90"/>
                <a:gd name="T9" fmla="*/ 2 h 105"/>
                <a:gd name="T10" fmla="*/ 4 w 90"/>
                <a:gd name="T11" fmla="*/ 5 h 105"/>
                <a:gd name="T12" fmla="*/ 2 w 90"/>
                <a:gd name="T13" fmla="*/ 7 h 105"/>
                <a:gd name="T14" fmla="*/ 1 w 90"/>
                <a:gd name="T15" fmla="*/ 10 h 105"/>
                <a:gd name="T16" fmla="*/ 0 w 90"/>
                <a:gd name="T17" fmla="*/ 12 h 105"/>
                <a:gd name="T18" fmla="*/ 0 w 90"/>
                <a:gd name="T19" fmla="*/ 15 h 105"/>
                <a:gd name="T20" fmla="*/ 0 w 90"/>
                <a:gd name="T21" fmla="*/ 90 h 105"/>
                <a:gd name="T22" fmla="*/ 0 w 90"/>
                <a:gd name="T23" fmla="*/ 94 h 105"/>
                <a:gd name="T24" fmla="*/ 1 w 90"/>
                <a:gd name="T25" fmla="*/ 97 h 105"/>
                <a:gd name="T26" fmla="*/ 2 w 90"/>
                <a:gd name="T27" fmla="*/ 99 h 105"/>
                <a:gd name="T28" fmla="*/ 4 w 90"/>
                <a:gd name="T29" fmla="*/ 101 h 105"/>
                <a:gd name="T30" fmla="*/ 6 w 90"/>
                <a:gd name="T31" fmla="*/ 103 h 105"/>
                <a:gd name="T32" fmla="*/ 9 w 90"/>
                <a:gd name="T33" fmla="*/ 104 h 105"/>
                <a:gd name="T34" fmla="*/ 11 w 90"/>
                <a:gd name="T35" fmla="*/ 105 h 105"/>
                <a:gd name="T36" fmla="*/ 15 w 90"/>
                <a:gd name="T37" fmla="*/ 105 h 105"/>
                <a:gd name="T38" fmla="*/ 90 w 90"/>
                <a:gd name="T39" fmla="*/ 105 h 105"/>
                <a:gd name="T40" fmla="*/ 90 w 90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2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28" name="Полилиния 482">
              <a:extLst>
                <a:ext uri="{FF2B5EF4-FFF2-40B4-BE49-F238E27FC236}">
                  <a16:creationId xmlns:a16="http://schemas.microsoft.com/office/drawing/2014/main" xmlns="" id="{A018FEA5-42F8-45D6-903D-DEDCEE104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484313"/>
              <a:ext cx="49213" cy="33338"/>
            </a:xfrm>
            <a:custGeom>
              <a:avLst/>
              <a:gdLst>
                <a:gd name="T0" fmla="*/ 151 w 151"/>
                <a:gd name="T1" fmla="*/ 106 h 106"/>
                <a:gd name="T2" fmla="*/ 151 w 151"/>
                <a:gd name="T3" fmla="*/ 0 h 106"/>
                <a:gd name="T4" fmla="*/ 45 w 151"/>
                <a:gd name="T5" fmla="*/ 0 h 106"/>
                <a:gd name="T6" fmla="*/ 0 w 151"/>
                <a:gd name="T7" fmla="*/ 0 h 106"/>
                <a:gd name="T8" fmla="*/ 0 w 151"/>
                <a:gd name="T9" fmla="*/ 106 h 106"/>
                <a:gd name="T10" fmla="*/ 15 w 151"/>
                <a:gd name="T11" fmla="*/ 106 h 106"/>
                <a:gd name="T12" fmla="*/ 151 w 151"/>
                <a:gd name="T13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6">
                  <a:moveTo>
                    <a:pt x="151" y="106"/>
                  </a:moveTo>
                  <a:lnTo>
                    <a:pt x="151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15" y="106"/>
                  </a:lnTo>
                  <a:lnTo>
                    <a:pt x="151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29" name="Полилиния 483">
              <a:extLst>
                <a:ext uri="{FF2B5EF4-FFF2-40B4-BE49-F238E27FC236}">
                  <a16:creationId xmlns:a16="http://schemas.microsoft.com/office/drawing/2014/main" xmlns="" id="{9420C61C-BD63-442B-856D-C607C2060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663" y="1484313"/>
              <a:ext cx="28575" cy="33338"/>
            </a:xfrm>
            <a:custGeom>
              <a:avLst/>
              <a:gdLst>
                <a:gd name="T0" fmla="*/ 75 w 90"/>
                <a:gd name="T1" fmla="*/ 106 h 106"/>
                <a:gd name="T2" fmla="*/ 78 w 90"/>
                <a:gd name="T3" fmla="*/ 105 h 106"/>
                <a:gd name="T4" fmla="*/ 80 w 90"/>
                <a:gd name="T5" fmla="*/ 104 h 106"/>
                <a:gd name="T6" fmla="*/ 84 w 90"/>
                <a:gd name="T7" fmla="*/ 103 h 106"/>
                <a:gd name="T8" fmla="*/ 86 w 90"/>
                <a:gd name="T9" fmla="*/ 101 h 106"/>
                <a:gd name="T10" fmla="*/ 88 w 90"/>
                <a:gd name="T11" fmla="*/ 99 h 106"/>
                <a:gd name="T12" fmla="*/ 89 w 90"/>
                <a:gd name="T13" fmla="*/ 96 h 106"/>
                <a:gd name="T14" fmla="*/ 90 w 90"/>
                <a:gd name="T15" fmla="*/ 93 h 106"/>
                <a:gd name="T16" fmla="*/ 90 w 90"/>
                <a:gd name="T17" fmla="*/ 91 h 106"/>
                <a:gd name="T18" fmla="*/ 90 w 90"/>
                <a:gd name="T19" fmla="*/ 15 h 106"/>
                <a:gd name="T20" fmla="*/ 90 w 90"/>
                <a:gd name="T21" fmla="*/ 13 h 106"/>
                <a:gd name="T22" fmla="*/ 89 w 90"/>
                <a:gd name="T23" fmla="*/ 10 h 106"/>
                <a:gd name="T24" fmla="*/ 88 w 90"/>
                <a:gd name="T25" fmla="*/ 7 h 106"/>
                <a:gd name="T26" fmla="*/ 86 w 90"/>
                <a:gd name="T27" fmla="*/ 4 h 106"/>
                <a:gd name="T28" fmla="*/ 84 w 90"/>
                <a:gd name="T29" fmla="*/ 3 h 106"/>
                <a:gd name="T30" fmla="*/ 80 w 90"/>
                <a:gd name="T31" fmla="*/ 1 h 106"/>
                <a:gd name="T32" fmla="*/ 78 w 90"/>
                <a:gd name="T33" fmla="*/ 1 h 106"/>
                <a:gd name="T34" fmla="*/ 75 w 90"/>
                <a:gd name="T35" fmla="*/ 0 h 106"/>
                <a:gd name="T36" fmla="*/ 45 w 90"/>
                <a:gd name="T37" fmla="*/ 0 h 106"/>
                <a:gd name="T38" fmla="*/ 0 w 90"/>
                <a:gd name="T39" fmla="*/ 0 h 106"/>
                <a:gd name="T40" fmla="*/ 0 w 90"/>
                <a:gd name="T41" fmla="*/ 106 h 106"/>
                <a:gd name="T42" fmla="*/ 15 w 90"/>
                <a:gd name="T43" fmla="*/ 106 h 106"/>
                <a:gd name="T44" fmla="*/ 75 w 90"/>
                <a:gd name="T45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6">
                  <a:moveTo>
                    <a:pt x="75" y="106"/>
                  </a:moveTo>
                  <a:lnTo>
                    <a:pt x="78" y="105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1"/>
                  </a:ln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0" y="1"/>
                  </a:lnTo>
                  <a:lnTo>
                    <a:pt x="78" y="1"/>
                  </a:lnTo>
                  <a:lnTo>
                    <a:pt x="75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15" y="106"/>
                  </a:lnTo>
                  <a:lnTo>
                    <a:pt x="7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30" name="Полилиния 484">
              <a:extLst>
                <a:ext uri="{FF2B5EF4-FFF2-40B4-BE49-F238E27FC236}">
                  <a16:creationId xmlns:a16="http://schemas.microsoft.com/office/drawing/2014/main" xmlns="" id="{71355AF3-97FA-44F4-8CED-39EABD7997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1484313"/>
              <a:ext cx="28575" cy="33338"/>
            </a:xfrm>
            <a:custGeom>
              <a:avLst/>
              <a:gdLst>
                <a:gd name="T0" fmla="*/ 15 w 90"/>
                <a:gd name="T1" fmla="*/ 106 h 106"/>
                <a:gd name="T2" fmla="*/ 90 w 90"/>
                <a:gd name="T3" fmla="*/ 106 h 106"/>
                <a:gd name="T4" fmla="*/ 90 w 90"/>
                <a:gd name="T5" fmla="*/ 0 h 106"/>
                <a:gd name="T6" fmla="*/ 15 w 90"/>
                <a:gd name="T7" fmla="*/ 0 h 106"/>
                <a:gd name="T8" fmla="*/ 11 w 90"/>
                <a:gd name="T9" fmla="*/ 1 h 106"/>
                <a:gd name="T10" fmla="*/ 9 w 90"/>
                <a:gd name="T11" fmla="*/ 1 h 106"/>
                <a:gd name="T12" fmla="*/ 6 w 90"/>
                <a:gd name="T13" fmla="*/ 3 h 106"/>
                <a:gd name="T14" fmla="*/ 4 w 90"/>
                <a:gd name="T15" fmla="*/ 4 h 106"/>
                <a:gd name="T16" fmla="*/ 2 w 90"/>
                <a:gd name="T17" fmla="*/ 7 h 106"/>
                <a:gd name="T18" fmla="*/ 1 w 90"/>
                <a:gd name="T19" fmla="*/ 10 h 106"/>
                <a:gd name="T20" fmla="*/ 0 w 90"/>
                <a:gd name="T21" fmla="*/ 13 h 106"/>
                <a:gd name="T22" fmla="*/ 0 w 90"/>
                <a:gd name="T23" fmla="*/ 15 h 106"/>
                <a:gd name="T24" fmla="*/ 0 w 90"/>
                <a:gd name="T25" fmla="*/ 90 h 106"/>
                <a:gd name="T26" fmla="*/ 0 w 90"/>
                <a:gd name="T27" fmla="*/ 93 h 106"/>
                <a:gd name="T28" fmla="*/ 1 w 90"/>
                <a:gd name="T29" fmla="*/ 96 h 106"/>
                <a:gd name="T30" fmla="*/ 2 w 90"/>
                <a:gd name="T31" fmla="*/ 99 h 106"/>
                <a:gd name="T32" fmla="*/ 4 w 90"/>
                <a:gd name="T33" fmla="*/ 101 h 106"/>
                <a:gd name="T34" fmla="*/ 6 w 90"/>
                <a:gd name="T35" fmla="*/ 103 h 106"/>
                <a:gd name="T36" fmla="*/ 9 w 90"/>
                <a:gd name="T37" fmla="*/ 104 h 106"/>
                <a:gd name="T38" fmla="*/ 11 w 90"/>
                <a:gd name="T39" fmla="*/ 105 h 106"/>
                <a:gd name="T40" fmla="*/ 15 w 90"/>
                <a:gd name="T4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6">
                  <a:moveTo>
                    <a:pt x="15" y="106"/>
                  </a:moveTo>
                  <a:lnTo>
                    <a:pt x="90" y="106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1" y="1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2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31" name="Полилиния 485">
              <a:extLst>
                <a:ext uri="{FF2B5EF4-FFF2-40B4-BE49-F238E27FC236}">
                  <a16:creationId xmlns:a16="http://schemas.microsoft.com/office/drawing/2014/main" xmlns="" id="{1D1D6786-F147-423B-8681-E0DF22328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368425"/>
              <a:ext cx="28575" cy="34925"/>
            </a:xfrm>
            <a:custGeom>
              <a:avLst/>
              <a:gdLst>
                <a:gd name="T0" fmla="*/ 90 w 90"/>
                <a:gd name="T1" fmla="*/ 92 h 107"/>
                <a:gd name="T2" fmla="*/ 90 w 90"/>
                <a:gd name="T3" fmla="*/ 15 h 107"/>
                <a:gd name="T4" fmla="*/ 90 w 90"/>
                <a:gd name="T5" fmla="*/ 13 h 107"/>
                <a:gd name="T6" fmla="*/ 89 w 90"/>
                <a:gd name="T7" fmla="*/ 10 h 107"/>
                <a:gd name="T8" fmla="*/ 88 w 90"/>
                <a:gd name="T9" fmla="*/ 8 h 107"/>
                <a:gd name="T10" fmla="*/ 86 w 90"/>
                <a:gd name="T11" fmla="*/ 6 h 107"/>
                <a:gd name="T12" fmla="*/ 84 w 90"/>
                <a:gd name="T13" fmla="*/ 4 h 107"/>
                <a:gd name="T14" fmla="*/ 80 w 90"/>
                <a:gd name="T15" fmla="*/ 3 h 107"/>
                <a:gd name="T16" fmla="*/ 78 w 90"/>
                <a:gd name="T17" fmla="*/ 2 h 107"/>
                <a:gd name="T18" fmla="*/ 75 w 90"/>
                <a:gd name="T19" fmla="*/ 2 h 107"/>
                <a:gd name="T20" fmla="*/ 0 w 90"/>
                <a:gd name="T21" fmla="*/ 0 h 107"/>
                <a:gd name="T22" fmla="*/ 0 w 90"/>
                <a:gd name="T23" fmla="*/ 107 h 107"/>
                <a:gd name="T24" fmla="*/ 75 w 90"/>
                <a:gd name="T25" fmla="*/ 107 h 107"/>
                <a:gd name="T26" fmla="*/ 78 w 90"/>
                <a:gd name="T27" fmla="*/ 106 h 107"/>
                <a:gd name="T28" fmla="*/ 80 w 90"/>
                <a:gd name="T29" fmla="*/ 106 h 107"/>
                <a:gd name="T30" fmla="*/ 84 w 90"/>
                <a:gd name="T31" fmla="*/ 103 h 107"/>
                <a:gd name="T32" fmla="*/ 86 w 90"/>
                <a:gd name="T33" fmla="*/ 102 h 107"/>
                <a:gd name="T34" fmla="*/ 88 w 90"/>
                <a:gd name="T35" fmla="*/ 100 h 107"/>
                <a:gd name="T36" fmla="*/ 89 w 90"/>
                <a:gd name="T37" fmla="*/ 97 h 107"/>
                <a:gd name="T38" fmla="*/ 90 w 90"/>
                <a:gd name="T39" fmla="*/ 95 h 107"/>
                <a:gd name="T40" fmla="*/ 90 w 90"/>
                <a:gd name="T41" fmla="*/ 9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7">
                  <a:moveTo>
                    <a:pt x="90" y="92"/>
                  </a:move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8"/>
                  </a:lnTo>
                  <a:lnTo>
                    <a:pt x="86" y="6"/>
                  </a:lnTo>
                  <a:lnTo>
                    <a:pt x="84" y="4"/>
                  </a:lnTo>
                  <a:lnTo>
                    <a:pt x="80" y="3"/>
                  </a:lnTo>
                  <a:lnTo>
                    <a:pt x="78" y="2"/>
                  </a:lnTo>
                  <a:lnTo>
                    <a:pt x="75" y="2"/>
                  </a:lnTo>
                  <a:lnTo>
                    <a:pt x="0" y="0"/>
                  </a:lnTo>
                  <a:lnTo>
                    <a:pt x="0" y="107"/>
                  </a:lnTo>
                  <a:lnTo>
                    <a:pt x="75" y="107"/>
                  </a:lnTo>
                  <a:lnTo>
                    <a:pt x="78" y="106"/>
                  </a:lnTo>
                  <a:lnTo>
                    <a:pt x="80" y="106"/>
                  </a:lnTo>
                  <a:lnTo>
                    <a:pt x="84" y="103"/>
                  </a:lnTo>
                  <a:lnTo>
                    <a:pt x="86" y="102"/>
                  </a:lnTo>
                  <a:lnTo>
                    <a:pt x="88" y="100"/>
                  </a:lnTo>
                  <a:lnTo>
                    <a:pt x="89" y="97"/>
                  </a:lnTo>
                  <a:lnTo>
                    <a:pt x="90" y="95"/>
                  </a:lnTo>
                  <a:lnTo>
                    <a:pt x="9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32" name="Полилиния 486">
              <a:extLst>
                <a:ext uri="{FF2B5EF4-FFF2-40B4-BE49-F238E27FC236}">
                  <a16:creationId xmlns:a16="http://schemas.microsoft.com/office/drawing/2014/main" xmlns="" id="{7EF27FE8-5FBD-4924-9F78-02B9C47D5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368425"/>
              <a:ext cx="28575" cy="34925"/>
            </a:xfrm>
            <a:custGeom>
              <a:avLst/>
              <a:gdLst>
                <a:gd name="T0" fmla="*/ 15 w 90"/>
                <a:gd name="T1" fmla="*/ 107 h 107"/>
                <a:gd name="T2" fmla="*/ 90 w 90"/>
                <a:gd name="T3" fmla="*/ 107 h 107"/>
                <a:gd name="T4" fmla="*/ 90 w 90"/>
                <a:gd name="T5" fmla="*/ 0 h 107"/>
                <a:gd name="T6" fmla="*/ 15 w 90"/>
                <a:gd name="T7" fmla="*/ 0 h 107"/>
                <a:gd name="T8" fmla="*/ 11 w 90"/>
                <a:gd name="T9" fmla="*/ 2 h 107"/>
                <a:gd name="T10" fmla="*/ 9 w 90"/>
                <a:gd name="T11" fmla="*/ 3 h 107"/>
                <a:gd name="T12" fmla="*/ 6 w 90"/>
                <a:gd name="T13" fmla="*/ 4 h 107"/>
                <a:gd name="T14" fmla="*/ 4 w 90"/>
                <a:gd name="T15" fmla="*/ 6 h 107"/>
                <a:gd name="T16" fmla="*/ 3 w 90"/>
                <a:gd name="T17" fmla="*/ 8 h 107"/>
                <a:gd name="T18" fmla="*/ 1 w 90"/>
                <a:gd name="T19" fmla="*/ 10 h 107"/>
                <a:gd name="T20" fmla="*/ 0 w 90"/>
                <a:gd name="T21" fmla="*/ 13 h 107"/>
                <a:gd name="T22" fmla="*/ 0 w 90"/>
                <a:gd name="T23" fmla="*/ 17 h 107"/>
                <a:gd name="T24" fmla="*/ 0 w 90"/>
                <a:gd name="T25" fmla="*/ 92 h 107"/>
                <a:gd name="T26" fmla="*/ 0 w 90"/>
                <a:gd name="T27" fmla="*/ 95 h 107"/>
                <a:gd name="T28" fmla="*/ 1 w 90"/>
                <a:gd name="T29" fmla="*/ 97 h 107"/>
                <a:gd name="T30" fmla="*/ 3 w 90"/>
                <a:gd name="T31" fmla="*/ 100 h 107"/>
                <a:gd name="T32" fmla="*/ 4 w 90"/>
                <a:gd name="T33" fmla="*/ 102 h 107"/>
                <a:gd name="T34" fmla="*/ 6 w 90"/>
                <a:gd name="T35" fmla="*/ 103 h 107"/>
                <a:gd name="T36" fmla="*/ 9 w 90"/>
                <a:gd name="T37" fmla="*/ 106 h 107"/>
                <a:gd name="T38" fmla="*/ 11 w 90"/>
                <a:gd name="T39" fmla="*/ 106 h 107"/>
                <a:gd name="T40" fmla="*/ 15 w 90"/>
                <a:gd name="T4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7">
                  <a:moveTo>
                    <a:pt x="15" y="107"/>
                  </a:moveTo>
                  <a:lnTo>
                    <a:pt x="90" y="107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1" y="2"/>
                  </a:lnTo>
                  <a:lnTo>
                    <a:pt x="9" y="3"/>
                  </a:lnTo>
                  <a:lnTo>
                    <a:pt x="6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0" y="92"/>
                  </a:lnTo>
                  <a:lnTo>
                    <a:pt x="0" y="95"/>
                  </a:lnTo>
                  <a:lnTo>
                    <a:pt x="1" y="97"/>
                  </a:lnTo>
                  <a:lnTo>
                    <a:pt x="3" y="100"/>
                  </a:lnTo>
                  <a:lnTo>
                    <a:pt x="4" y="102"/>
                  </a:lnTo>
                  <a:lnTo>
                    <a:pt x="6" y="103"/>
                  </a:lnTo>
                  <a:lnTo>
                    <a:pt x="9" y="106"/>
                  </a:lnTo>
                  <a:lnTo>
                    <a:pt x="11" y="106"/>
                  </a:lnTo>
                  <a:lnTo>
                    <a:pt x="1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33" name="Полилиния 487">
              <a:extLst>
                <a:ext uri="{FF2B5EF4-FFF2-40B4-BE49-F238E27FC236}">
                  <a16:creationId xmlns:a16="http://schemas.microsoft.com/office/drawing/2014/main" xmlns="" id="{CF46FD9E-E244-467B-8525-9D7D4A9D1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368425"/>
              <a:ext cx="49213" cy="34925"/>
            </a:xfrm>
            <a:custGeom>
              <a:avLst/>
              <a:gdLst>
                <a:gd name="T0" fmla="*/ 151 w 151"/>
                <a:gd name="T1" fmla="*/ 107 h 107"/>
                <a:gd name="T2" fmla="*/ 151 w 151"/>
                <a:gd name="T3" fmla="*/ 0 h 107"/>
                <a:gd name="T4" fmla="*/ 0 w 151"/>
                <a:gd name="T5" fmla="*/ 0 h 107"/>
                <a:gd name="T6" fmla="*/ 0 w 151"/>
                <a:gd name="T7" fmla="*/ 107 h 107"/>
                <a:gd name="T8" fmla="*/ 76 w 151"/>
                <a:gd name="T9" fmla="*/ 107 h 107"/>
                <a:gd name="T10" fmla="*/ 151 w 151"/>
                <a:gd name="T1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7">
                  <a:moveTo>
                    <a:pt x="151" y="107"/>
                  </a:moveTo>
                  <a:lnTo>
                    <a:pt x="151" y="0"/>
                  </a:lnTo>
                  <a:lnTo>
                    <a:pt x="0" y="0"/>
                  </a:lnTo>
                  <a:lnTo>
                    <a:pt x="0" y="107"/>
                  </a:lnTo>
                  <a:lnTo>
                    <a:pt x="76" y="107"/>
                  </a:lnTo>
                  <a:lnTo>
                    <a:pt x="151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34" name="Полилиния 488">
              <a:extLst>
                <a:ext uri="{FF2B5EF4-FFF2-40B4-BE49-F238E27FC236}">
                  <a16:creationId xmlns:a16="http://schemas.microsoft.com/office/drawing/2014/main" xmlns="" id="{88D57E34-34BA-47A7-98D6-DB982DAFE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538" y="1598613"/>
              <a:ext cx="28575" cy="33338"/>
            </a:xfrm>
            <a:custGeom>
              <a:avLst/>
              <a:gdLst>
                <a:gd name="T0" fmla="*/ 75 w 91"/>
                <a:gd name="T1" fmla="*/ 0 h 106"/>
                <a:gd name="T2" fmla="*/ 45 w 91"/>
                <a:gd name="T3" fmla="*/ 0 h 106"/>
                <a:gd name="T4" fmla="*/ 0 w 91"/>
                <a:gd name="T5" fmla="*/ 0 h 106"/>
                <a:gd name="T6" fmla="*/ 0 w 91"/>
                <a:gd name="T7" fmla="*/ 106 h 106"/>
                <a:gd name="T8" fmla="*/ 75 w 91"/>
                <a:gd name="T9" fmla="*/ 106 h 106"/>
                <a:gd name="T10" fmla="*/ 79 w 91"/>
                <a:gd name="T11" fmla="*/ 106 h 106"/>
                <a:gd name="T12" fmla="*/ 81 w 91"/>
                <a:gd name="T13" fmla="*/ 104 h 106"/>
                <a:gd name="T14" fmla="*/ 84 w 91"/>
                <a:gd name="T15" fmla="*/ 103 h 106"/>
                <a:gd name="T16" fmla="*/ 86 w 91"/>
                <a:gd name="T17" fmla="*/ 101 h 106"/>
                <a:gd name="T18" fmla="*/ 88 w 91"/>
                <a:gd name="T19" fmla="*/ 99 h 106"/>
                <a:gd name="T20" fmla="*/ 89 w 91"/>
                <a:gd name="T21" fmla="*/ 97 h 106"/>
                <a:gd name="T22" fmla="*/ 91 w 91"/>
                <a:gd name="T23" fmla="*/ 94 h 106"/>
                <a:gd name="T24" fmla="*/ 91 w 91"/>
                <a:gd name="T25" fmla="*/ 91 h 106"/>
                <a:gd name="T26" fmla="*/ 91 w 91"/>
                <a:gd name="T27" fmla="*/ 15 h 106"/>
                <a:gd name="T28" fmla="*/ 91 w 91"/>
                <a:gd name="T29" fmla="*/ 12 h 106"/>
                <a:gd name="T30" fmla="*/ 89 w 91"/>
                <a:gd name="T31" fmla="*/ 10 h 106"/>
                <a:gd name="T32" fmla="*/ 88 w 91"/>
                <a:gd name="T33" fmla="*/ 7 h 106"/>
                <a:gd name="T34" fmla="*/ 86 w 91"/>
                <a:gd name="T35" fmla="*/ 5 h 106"/>
                <a:gd name="T36" fmla="*/ 84 w 91"/>
                <a:gd name="T37" fmla="*/ 4 h 106"/>
                <a:gd name="T38" fmla="*/ 81 w 91"/>
                <a:gd name="T39" fmla="*/ 2 h 106"/>
                <a:gd name="T40" fmla="*/ 79 w 91"/>
                <a:gd name="T41" fmla="*/ 2 h 106"/>
                <a:gd name="T42" fmla="*/ 75 w 91"/>
                <a:gd name="T43" fmla="*/ 0 h 106"/>
                <a:gd name="T44" fmla="*/ 75 w 91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1" h="106">
                  <a:moveTo>
                    <a:pt x="75" y="0"/>
                  </a:move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75" y="106"/>
                  </a:lnTo>
                  <a:lnTo>
                    <a:pt x="79" y="106"/>
                  </a:lnTo>
                  <a:lnTo>
                    <a:pt x="81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1" y="94"/>
                  </a:lnTo>
                  <a:lnTo>
                    <a:pt x="91" y="91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4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35" name="Полилиния 489">
              <a:extLst>
                <a:ext uri="{FF2B5EF4-FFF2-40B4-BE49-F238E27FC236}">
                  <a16:creationId xmlns:a16="http://schemas.microsoft.com/office/drawing/2014/main" xmlns="" id="{F30E7BFE-901E-4881-9F33-4F3776C87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1598613"/>
              <a:ext cx="28575" cy="33338"/>
            </a:xfrm>
            <a:custGeom>
              <a:avLst/>
              <a:gdLst>
                <a:gd name="T0" fmla="*/ 0 w 90"/>
                <a:gd name="T1" fmla="*/ 15 h 106"/>
                <a:gd name="T2" fmla="*/ 0 w 90"/>
                <a:gd name="T3" fmla="*/ 91 h 106"/>
                <a:gd name="T4" fmla="*/ 0 w 90"/>
                <a:gd name="T5" fmla="*/ 94 h 106"/>
                <a:gd name="T6" fmla="*/ 1 w 90"/>
                <a:gd name="T7" fmla="*/ 97 h 106"/>
                <a:gd name="T8" fmla="*/ 3 w 90"/>
                <a:gd name="T9" fmla="*/ 99 h 106"/>
                <a:gd name="T10" fmla="*/ 4 w 90"/>
                <a:gd name="T11" fmla="*/ 101 h 106"/>
                <a:gd name="T12" fmla="*/ 6 w 90"/>
                <a:gd name="T13" fmla="*/ 103 h 106"/>
                <a:gd name="T14" fmla="*/ 10 w 90"/>
                <a:gd name="T15" fmla="*/ 104 h 106"/>
                <a:gd name="T16" fmla="*/ 12 w 90"/>
                <a:gd name="T17" fmla="*/ 106 h 106"/>
                <a:gd name="T18" fmla="*/ 15 w 90"/>
                <a:gd name="T19" fmla="*/ 106 h 106"/>
                <a:gd name="T20" fmla="*/ 90 w 90"/>
                <a:gd name="T21" fmla="*/ 106 h 106"/>
                <a:gd name="T22" fmla="*/ 90 w 90"/>
                <a:gd name="T23" fmla="*/ 0 h 106"/>
                <a:gd name="T24" fmla="*/ 15 w 90"/>
                <a:gd name="T25" fmla="*/ 0 h 106"/>
                <a:gd name="T26" fmla="*/ 12 w 90"/>
                <a:gd name="T27" fmla="*/ 0 h 106"/>
                <a:gd name="T28" fmla="*/ 10 w 90"/>
                <a:gd name="T29" fmla="*/ 2 h 106"/>
                <a:gd name="T30" fmla="*/ 6 w 90"/>
                <a:gd name="T31" fmla="*/ 4 h 106"/>
                <a:gd name="T32" fmla="*/ 4 w 90"/>
                <a:gd name="T33" fmla="*/ 5 h 106"/>
                <a:gd name="T34" fmla="*/ 3 w 90"/>
                <a:gd name="T35" fmla="*/ 7 h 106"/>
                <a:gd name="T36" fmla="*/ 1 w 90"/>
                <a:gd name="T37" fmla="*/ 10 h 106"/>
                <a:gd name="T38" fmla="*/ 0 w 90"/>
                <a:gd name="T39" fmla="*/ 12 h 106"/>
                <a:gd name="T40" fmla="*/ 0 w 90"/>
                <a:gd name="T41" fmla="*/ 1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6">
                  <a:moveTo>
                    <a:pt x="0" y="15"/>
                  </a:moveTo>
                  <a:lnTo>
                    <a:pt x="0" y="91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10" y="104"/>
                  </a:lnTo>
                  <a:lnTo>
                    <a:pt x="12" y="106"/>
                  </a:lnTo>
                  <a:lnTo>
                    <a:pt x="15" y="106"/>
                  </a:lnTo>
                  <a:lnTo>
                    <a:pt x="90" y="106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36" name="Полилиния 490">
              <a:extLst>
                <a:ext uri="{FF2B5EF4-FFF2-40B4-BE49-F238E27FC236}">
                  <a16:creationId xmlns:a16="http://schemas.microsoft.com/office/drawing/2014/main" xmlns="" id="{3B4BB294-3F58-429D-AD93-7B23F68F0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1598613"/>
              <a:ext cx="47625" cy="33338"/>
            </a:xfrm>
            <a:custGeom>
              <a:avLst/>
              <a:gdLst>
                <a:gd name="T0" fmla="*/ 0 w 151"/>
                <a:gd name="T1" fmla="*/ 0 h 106"/>
                <a:gd name="T2" fmla="*/ 0 w 151"/>
                <a:gd name="T3" fmla="*/ 106 h 106"/>
                <a:gd name="T4" fmla="*/ 151 w 151"/>
                <a:gd name="T5" fmla="*/ 106 h 106"/>
                <a:gd name="T6" fmla="*/ 151 w 151"/>
                <a:gd name="T7" fmla="*/ 0 h 106"/>
                <a:gd name="T8" fmla="*/ 45 w 151"/>
                <a:gd name="T9" fmla="*/ 0 h 106"/>
                <a:gd name="T10" fmla="*/ 0 w 151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6">
                  <a:moveTo>
                    <a:pt x="0" y="0"/>
                  </a:moveTo>
                  <a:lnTo>
                    <a:pt x="0" y="106"/>
                  </a:lnTo>
                  <a:lnTo>
                    <a:pt x="151" y="106"/>
                  </a:lnTo>
                  <a:lnTo>
                    <a:pt x="151" y="0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37" name="Полилиния 491">
              <a:extLst>
                <a:ext uri="{FF2B5EF4-FFF2-40B4-BE49-F238E27FC236}">
                  <a16:creationId xmlns:a16="http://schemas.microsoft.com/office/drawing/2014/main" xmlns="" id="{8322FD8B-1448-4FFE-A201-5D3161586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438" y="1560513"/>
              <a:ext cx="47625" cy="33338"/>
            </a:xfrm>
            <a:custGeom>
              <a:avLst/>
              <a:gdLst>
                <a:gd name="T0" fmla="*/ 150 w 150"/>
                <a:gd name="T1" fmla="*/ 0 h 105"/>
                <a:gd name="T2" fmla="*/ 105 w 150"/>
                <a:gd name="T3" fmla="*/ 0 h 105"/>
                <a:gd name="T4" fmla="*/ 0 w 150"/>
                <a:gd name="T5" fmla="*/ 0 h 105"/>
                <a:gd name="T6" fmla="*/ 0 w 150"/>
                <a:gd name="T7" fmla="*/ 105 h 105"/>
                <a:gd name="T8" fmla="*/ 105 w 150"/>
                <a:gd name="T9" fmla="*/ 105 h 105"/>
                <a:gd name="T10" fmla="*/ 150 w 150"/>
                <a:gd name="T11" fmla="*/ 105 h 105"/>
                <a:gd name="T12" fmla="*/ 150 w 150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05">
                  <a:moveTo>
                    <a:pt x="150" y="0"/>
                  </a:moveTo>
                  <a:lnTo>
                    <a:pt x="10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05" y="105"/>
                  </a:lnTo>
                  <a:lnTo>
                    <a:pt x="150" y="105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38" name="Полилиния 492">
              <a:extLst>
                <a:ext uri="{FF2B5EF4-FFF2-40B4-BE49-F238E27FC236}">
                  <a16:creationId xmlns:a16="http://schemas.microsoft.com/office/drawing/2014/main" xmlns="" id="{EE943E9D-D099-460E-BED6-3461B3C98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15605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45 w 90"/>
                <a:gd name="T3" fmla="*/ 0 h 105"/>
                <a:gd name="T4" fmla="*/ 15 w 90"/>
                <a:gd name="T5" fmla="*/ 0 h 105"/>
                <a:gd name="T6" fmla="*/ 12 w 90"/>
                <a:gd name="T7" fmla="*/ 0 h 105"/>
                <a:gd name="T8" fmla="*/ 10 w 90"/>
                <a:gd name="T9" fmla="*/ 1 h 105"/>
                <a:gd name="T10" fmla="*/ 7 w 90"/>
                <a:gd name="T11" fmla="*/ 2 h 105"/>
                <a:gd name="T12" fmla="*/ 4 w 90"/>
                <a:gd name="T13" fmla="*/ 5 h 105"/>
                <a:gd name="T14" fmla="*/ 3 w 90"/>
                <a:gd name="T15" fmla="*/ 7 h 105"/>
                <a:gd name="T16" fmla="*/ 1 w 90"/>
                <a:gd name="T17" fmla="*/ 10 h 105"/>
                <a:gd name="T18" fmla="*/ 1 w 90"/>
                <a:gd name="T19" fmla="*/ 12 h 105"/>
                <a:gd name="T20" fmla="*/ 0 w 90"/>
                <a:gd name="T21" fmla="*/ 15 h 105"/>
                <a:gd name="T22" fmla="*/ 0 w 90"/>
                <a:gd name="T23" fmla="*/ 90 h 105"/>
                <a:gd name="T24" fmla="*/ 1 w 90"/>
                <a:gd name="T25" fmla="*/ 94 h 105"/>
                <a:gd name="T26" fmla="*/ 1 w 90"/>
                <a:gd name="T27" fmla="*/ 97 h 105"/>
                <a:gd name="T28" fmla="*/ 3 w 90"/>
                <a:gd name="T29" fmla="*/ 99 h 105"/>
                <a:gd name="T30" fmla="*/ 4 w 90"/>
                <a:gd name="T31" fmla="*/ 101 h 105"/>
                <a:gd name="T32" fmla="*/ 7 w 90"/>
                <a:gd name="T33" fmla="*/ 103 h 105"/>
                <a:gd name="T34" fmla="*/ 10 w 90"/>
                <a:gd name="T35" fmla="*/ 104 h 105"/>
                <a:gd name="T36" fmla="*/ 12 w 90"/>
                <a:gd name="T37" fmla="*/ 105 h 105"/>
                <a:gd name="T38" fmla="*/ 15 w 90"/>
                <a:gd name="T39" fmla="*/ 105 h 105"/>
                <a:gd name="T40" fmla="*/ 45 w 90"/>
                <a:gd name="T41" fmla="*/ 105 h 105"/>
                <a:gd name="T42" fmla="*/ 90 w 90"/>
                <a:gd name="T43" fmla="*/ 105 h 105"/>
                <a:gd name="T44" fmla="*/ 90 w 90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4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1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10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39" name="Полилиния 493">
              <a:extLst>
                <a:ext uri="{FF2B5EF4-FFF2-40B4-BE49-F238E27FC236}">
                  <a16:creationId xmlns:a16="http://schemas.microsoft.com/office/drawing/2014/main" xmlns="" id="{72E69C20-B8DF-4566-BBFE-E0C94A5C2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0588" y="1560513"/>
              <a:ext cx="28575" cy="33338"/>
            </a:xfrm>
            <a:custGeom>
              <a:avLst/>
              <a:gdLst>
                <a:gd name="T0" fmla="*/ 76 w 91"/>
                <a:gd name="T1" fmla="*/ 0 h 105"/>
                <a:gd name="T2" fmla="*/ 0 w 91"/>
                <a:gd name="T3" fmla="*/ 0 h 105"/>
                <a:gd name="T4" fmla="*/ 0 w 91"/>
                <a:gd name="T5" fmla="*/ 105 h 105"/>
                <a:gd name="T6" fmla="*/ 76 w 91"/>
                <a:gd name="T7" fmla="*/ 105 h 105"/>
                <a:gd name="T8" fmla="*/ 79 w 91"/>
                <a:gd name="T9" fmla="*/ 105 h 105"/>
                <a:gd name="T10" fmla="*/ 82 w 91"/>
                <a:gd name="T11" fmla="*/ 104 h 105"/>
                <a:gd name="T12" fmla="*/ 84 w 91"/>
                <a:gd name="T13" fmla="*/ 103 h 105"/>
                <a:gd name="T14" fmla="*/ 86 w 91"/>
                <a:gd name="T15" fmla="*/ 101 h 105"/>
                <a:gd name="T16" fmla="*/ 88 w 91"/>
                <a:gd name="T17" fmla="*/ 99 h 105"/>
                <a:gd name="T18" fmla="*/ 89 w 91"/>
                <a:gd name="T19" fmla="*/ 97 h 105"/>
                <a:gd name="T20" fmla="*/ 91 w 91"/>
                <a:gd name="T21" fmla="*/ 94 h 105"/>
                <a:gd name="T22" fmla="*/ 91 w 91"/>
                <a:gd name="T23" fmla="*/ 90 h 105"/>
                <a:gd name="T24" fmla="*/ 91 w 91"/>
                <a:gd name="T25" fmla="*/ 15 h 105"/>
                <a:gd name="T26" fmla="*/ 91 w 91"/>
                <a:gd name="T27" fmla="*/ 12 h 105"/>
                <a:gd name="T28" fmla="*/ 89 w 91"/>
                <a:gd name="T29" fmla="*/ 9 h 105"/>
                <a:gd name="T30" fmla="*/ 88 w 91"/>
                <a:gd name="T31" fmla="*/ 7 h 105"/>
                <a:gd name="T32" fmla="*/ 86 w 91"/>
                <a:gd name="T33" fmla="*/ 5 h 105"/>
                <a:gd name="T34" fmla="*/ 84 w 91"/>
                <a:gd name="T35" fmla="*/ 2 h 105"/>
                <a:gd name="T36" fmla="*/ 82 w 91"/>
                <a:gd name="T37" fmla="*/ 1 h 105"/>
                <a:gd name="T38" fmla="*/ 79 w 91"/>
                <a:gd name="T39" fmla="*/ 0 h 105"/>
                <a:gd name="T40" fmla="*/ 76 w 91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105">
                  <a:moveTo>
                    <a:pt x="76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76" y="105"/>
                  </a:lnTo>
                  <a:lnTo>
                    <a:pt x="79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1" y="94"/>
                  </a:lnTo>
                  <a:lnTo>
                    <a:pt x="91" y="90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9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40" name="Полилиния 494">
              <a:extLst>
                <a:ext uri="{FF2B5EF4-FFF2-40B4-BE49-F238E27FC236}">
                  <a16:creationId xmlns:a16="http://schemas.microsoft.com/office/drawing/2014/main" xmlns="" id="{3EF09789-E73A-4CFB-9FCF-08DA00003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538" y="1522413"/>
              <a:ext cx="28575" cy="33338"/>
            </a:xfrm>
            <a:custGeom>
              <a:avLst/>
              <a:gdLst>
                <a:gd name="T0" fmla="*/ 75 w 91"/>
                <a:gd name="T1" fmla="*/ 105 h 105"/>
                <a:gd name="T2" fmla="*/ 79 w 91"/>
                <a:gd name="T3" fmla="*/ 105 h 105"/>
                <a:gd name="T4" fmla="*/ 81 w 91"/>
                <a:gd name="T5" fmla="*/ 104 h 105"/>
                <a:gd name="T6" fmla="*/ 84 w 91"/>
                <a:gd name="T7" fmla="*/ 102 h 105"/>
                <a:gd name="T8" fmla="*/ 86 w 91"/>
                <a:gd name="T9" fmla="*/ 101 h 105"/>
                <a:gd name="T10" fmla="*/ 88 w 91"/>
                <a:gd name="T11" fmla="*/ 99 h 105"/>
                <a:gd name="T12" fmla="*/ 89 w 91"/>
                <a:gd name="T13" fmla="*/ 96 h 105"/>
                <a:gd name="T14" fmla="*/ 91 w 91"/>
                <a:gd name="T15" fmla="*/ 93 h 105"/>
                <a:gd name="T16" fmla="*/ 91 w 91"/>
                <a:gd name="T17" fmla="*/ 90 h 105"/>
                <a:gd name="T18" fmla="*/ 91 w 91"/>
                <a:gd name="T19" fmla="*/ 15 h 105"/>
                <a:gd name="T20" fmla="*/ 91 w 91"/>
                <a:gd name="T21" fmla="*/ 12 h 105"/>
                <a:gd name="T22" fmla="*/ 89 w 91"/>
                <a:gd name="T23" fmla="*/ 9 h 105"/>
                <a:gd name="T24" fmla="*/ 88 w 91"/>
                <a:gd name="T25" fmla="*/ 7 h 105"/>
                <a:gd name="T26" fmla="*/ 86 w 91"/>
                <a:gd name="T27" fmla="*/ 4 h 105"/>
                <a:gd name="T28" fmla="*/ 84 w 91"/>
                <a:gd name="T29" fmla="*/ 2 h 105"/>
                <a:gd name="T30" fmla="*/ 81 w 91"/>
                <a:gd name="T31" fmla="*/ 1 h 105"/>
                <a:gd name="T32" fmla="*/ 79 w 91"/>
                <a:gd name="T33" fmla="*/ 0 h 105"/>
                <a:gd name="T34" fmla="*/ 75 w 91"/>
                <a:gd name="T35" fmla="*/ 0 h 105"/>
                <a:gd name="T36" fmla="*/ 0 w 91"/>
                <a:gd name="T37" fmla="*/ 0 h 105"/>
                <a:gd name="T38" fmla="*/ 0 w 91"/>
                <a:gd name="T39" fmla="*/ 105 h 105"/>
                <a:gd name="T40" fmla="*/ 45 w 91"/>
                <a:gd name="T41" fmla="*/ 105 h 105"/>
                <a:gd name="T42" fmla="*/ 75 w 91"/>
                <a:gd name="T4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1" h="105">
                  <a:moveTo>
                    <a:pt x="75" y="105"/>
                  </a:moveTo>
                  <a:lnTo>
                    <a:pt x="79" y="105"/>
                  </a:lnTo>
                  <a:lnTo>
                    <a:pt x="81" y="104"/>
                  </a:lnTo>
                  <a:lnTo>
                    <a:pt x="84" y="102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1" y="93"/>
                  </a:lnTo>
                  <a:lnTo>
                    <a:pt x="91" y="90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1" y="1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45" y="105"/>
                  </a:lnTo>
                  <a:lnTo>
                    <a:pt x="75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41" name="Полилиния 495">
              <a:extLst>
                <a:ext uri="{FF2B5EF4-FFF2-40B4-BE49-F238E27FC236}">
                  <a16:creationId xmlns:a16="http://schemas.microsoft.com/office/drawing/2014/main" xmlns="" id="{35F9925A-D080-4D49-928B-2EF534E31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1522413"/>
              <a:ext cx="47625" cy="33338"/>
            </a:xfrm>
            <a:custGeom>
              <a:avLst/>
              <a:gdLst>
                <a:gd name="T0" fmla="*/ 151 w 151"/>
                <a:gd name="T1" fmla="*/ 105 h 105"/>
                <a:gd name="T2" fmla="*/ 151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45 w 151"/>
                <a:gd name="T9" fmla="*/ 105 h 105"/>
                <a:gd name="T10" fmla="*/ 151 w 151"/>
                <a:gd name="T1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5">
                  <a:moveTo>
                    <a:pt x="151" y="105"/>
                  </a:moveTo>
                  <a:lnTo>
                    <a:pt x="151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45" y="105"/>
                  </a:lnTo>
                  <a:lnTo>
                    <a:pt x="15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42" name="Полилиния 496">
              <a:extLst>
                <a:ext uri="{FF2B5EF4-FFF2-40B4-BE49-F238E27FC236}">
                  <a16:creationId xmlns:a16="http://schemas.microsoft.com/office/drawing/2014/main" xmlns="" id="{4D7DF8E6-7B8D-412C-9307-FAE2CA5C8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1522413"/>
              <a:ext cx="28575" cy="33338"/>
            </a:xfrm>
            <a:custGeom>
              <a:avLst/>
              <a:gdLst>
                <a:gd name="T0" fmla="*/ 0 w 90"/>
                <a:gd name="T1" fmla="*/ 15 h 105"/>
                <a:gd name="T2" fmla="*/ 0 w 90"/>
                <a:gd name="T3" fmla="*/ 90 h 105"/>
                <a:gd name="T4" fmla="*/ 0 w 90"/>
                <a:gd name="T5" fmla="*/ 93 h 105"/>
                <a:gd name="T6" fmla="*/ 1 w 90"/>
                <a:gd name="T7" fmla="*/ 96 h 105"/>
                <a:gd name="T8" fmla="*/ 3 w 90"/>
                <a:gd name="T9" fmla="*/ 99 h 105"/>
                <a:gd name="T10" fmla="*/ 4 w 90"/>
                <a:gd name="T11" fmla="*/ 101 h 105"/>
                <a:gd name="T12" fmla="*/ 6 w 90"/>
                <a:gd name="T13" fmla="*/ 102 h 105"/>
                <a:gd name="T14" fmla="*/ 10 w 90"/>
                <a:gd name="T15" fmla="*/ 104 h 105"/>
                <a:gd name="T16" fmla="*/ 12 w 90"/>
                <a:gd name="T17" fmla="*/ 105 h 105"/>
                <a:gd name="T18" fmla="*/ 15 w 90"/>
                <a:gd name="T19" fmla="*/ 105 h 105"/>
                <a:gd name="T20" fmla="*/ 90 w 90"/>
                <a:gd name="T21" fmla="*/ 105 h 105"/>
                <a:gd name="T22" fmla="*/ 90 w 90"/>
                <a:gd name="T23" fmla="*/ 0 h 105"/>
                <a:gd name="T24" fmla="*/ 15 w 90"/>
                <a:gd name="T25" fmla="*/ 0 h 105"/>
                <a:gd name="T26" fmla="*/ 12 w 90"/>
                <a:gd name="T27" fmla="*/ 0 h 105"/>
                <a:gd name="T28" fmla="*/ 10 w 90"/>
                <a:gd name="T29" fmla="*/ 1 h 105"/>
                <a:gd name="T30" fmla="*/ 6 w 90"/>
                <a:gd name="T31" fmla="*/ 2 h 105"/>
                <a:gd name="T32" fmla="*/ 4 w 90"/>
                <a:gd name="T33" fmla="*/ 4 h 105"/>
                <a:gd name="T34" fmla="*/ 3 w 90"/>
                <a:gd name="T35" fmla="*/ 7 h 105"/>
                <a:gd name="T36" fmla="*/ 1 w 90"/>
                <a:gd name="T37" fmla="*/ 9 h 105"/>
                <a:gd name="T38" fmla="*/ 0 w 90"/>
                <a:gd name="T39" fmla="*/ 12 h 105"/>
                <a:gd name="T40" fmla="*/ 0 w 90"/>
                <a:gd name="T41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0" y="15"/>
                  </a:move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10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90" y="105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xmlns="" id="{82DC834D-A801-489D-B18E-A3C9646F4D2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/>
        </p:nvGrpSpPr>
        <p:grpSpPr>
          <a:xfrm>
            <a:off x="4484146" y="2852190"/>
            <a:ext cx="3419021" cy="2841268"/>
            <a:chOff x="304800" y="1577182"/>
            <a:chExt cx="3419021" cy="2841268"/>
          </a:xfrm>
          <a:effectLst>
            <a:outerShdw blurRad="50800" dist="38100" dir="5400000" algn="t" rotWithShape="0">
              <a:prstClr val="black">
                <a:alpha val="20000"/>
              </a:prstClr>
            </a:outerShdw>
          </a:effectLst>
        </p:grpSpPr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xmlns="" id="{0A0A31DB-DD27-4F64-AB8C-EC7887B70CFD}"/>
                </a:ext>
              </a:extLst>
            </p:cNvPr>
            <p:cNvSpPr/>
            <p:nvPr/>
          </p:nvSpPr>
          <p:spPr>
            <a:xfrm>
              <a:off x="304800" y="1577182"/>
              <a:ext cx="3419021" cy="1795488"/>
            </a:xfrm>
            <a:prstGeom prst="rect">
              <a:avLst/>
            </a:prstGeom>
            <a:solidFill>
              <a:srgbClr val="4040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>
                <a:spcBef>
                  <a:spcPts val="600"/>
                </a:spcBef>
              </a:pPr>
              <a:r>
                <a:rPr lang="ru-RU" b="1" dirty="0">
                  <a:latin typeface="+mj-lt"/>
                </a:rPr>
                <a:t>4 вида налогов – автоматизация расчетов сумм и автоматическое заполнение деклараций</a:t>
              </a: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xmlns="" id="{AC6A4160-8BE0-4F42-8528-A692DB7BDCCE}"/>
                </a:ext>
              </a:extLst>
            </p:cNvPr>
            <p:cNvSpPr/>
            <p:nvPr/>
          </p:nvSpPr>
          <p:spPr>
            <a:xfrm>
              <a:off x="304800" y="3372669"/>
              <a:ext cx="3419021" cy="104578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т. 355 НК РТ</a:t>
              </a:r>
            </a:p>
            <a:p>
              <a:pPr algn="ctr" rtl="0"/>
              <a:r>
                <a:rPr lang="ru-RU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За 2022 – прирост собираемых налогов более чем в 2 раза</a:t>
              </a:r>
            </a:p>
          </p:txBody>
        </p:sp>
      </p:grpSp>
      <p:sp>
        <p:nvSpPr>
          <p:cNvPr id="48" name="Овал 47">
            <a:extLst>
              <a:ext uri="{FF2B5EF4-FFF2-40B4-BE49-F238E27FC236}">
                <a16:creationId xmlns:a16="http://schemas.microsoft.com/office/drawing/2014/main" xmlns="" id="{151F8D54-5195-4686-B421-E1F7E4D4265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5882481" y="2433090"/>
            <a:ext cx="657225" cy="657225"/>
          </a:xfrm>
          <a:prstGeom prst="ellipse">
            <a:avLst/>
          </a:prstGeom>
          <a:solidFill>
            <a:srgbClr val="404040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grpSp>
        <p:nvGrpSpPr>
          <p:cNvPr id="82" name="Группа 81" descr="Это значок кассы.">
            <a:extLst>
              <a:ext uri="{FF2B5EF4-FFF2-40B4-BE49-F238E27FC236}">
                <a16:creationId xmlns:a16="http://schemas.microsoft.com/office/drawing/2014/main" xmlns="" id="{B98E995E-9B1D-4A56-ACB0-682E15B8ABE6}"/>
              </a:ext>
            </a:extLst>
          </p:cNvPr>
          <p:cNvGrpSpPr/>
          <p:nvPr/>
        </p:nvGrpSpPr>
        <p:grpSpPr>
          <a:xfrm>
            <a:off x="6049987" y="2632809"/>
            <a:ext cx="287338" cy="287338"/>
            <a:chOff x="304800" y="771525"/>
            <a:chExt cx="287338" cy="287338"/>
          </a:xfrm>
          <a:solidFill>
            <a:schemeClr val="bg1"/>
          </a:solidFill>
        </p:grpSpPr>
        <p:sp>
          <p:nvSpPr>
            <p:cNvPr id="83" name="Полилиния 321">
              <a:extLst>
                <a:ext uri="{FF2B5EF4-FFF2-40B4-BE49-F238E27FC236}">
                  <a16:creationId xmlns:a16="http://schemas.microsoft.com/office/drawing/2014/main" xmlns="" id="{F92A0E3D-9293-4005-9591-93C80117F1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388" y="923925"/>
              <a:ext cx="284163" cy="68263"/>
            </a:xfrm>
            <a:custGeom>
              <a:avLst/>
              <a:gdLst>
                <a:gd name="T0" fmla="*/ 694 w 895"/>
                <a:gd name="T1" fmla="*/ 159 h 211"/>
                <a:gd name="T2" fmla="*/ 657 w 895"/>
                <a:gd name="T3" fmla="*/ 159 h 211"/>
                <a:gd name="T4" fmla="*/ 657 w 895"/>
                <a:gd name="T5" fmla="*/ 122 h 211"/>
                <a:gd name="T6" fmla="*/ 694 w 895"/>
                <a:gd name="T7" fmla="*/ 122 h 211"/>
                <a:gd name="T8" fmla="*/ 694 w 895"/>
                <a:gd name="T9" fmla="*/ 159 h 211"/>
                <a:gd name="T10" fmla="*/ 637 w 895"/>
                <a:gd name="T11" fmla="*/ 103 h 211"/>
                <a:gd name="T12" fmla="*/ 600 w 895"/>
                <a:gd name="T13" fmla="*/ 103 h 211"/>
                <a:gd name="T14" fmla="*/ 600 w 895"/>
                <a:gd name="T15" fmla="*/ 65 h 211"/>
                <a:gd name="T16" fmla="*/ 637 w 895"/>
                <a:gd name="T17" fmla="*/ 65 h 211"/>
                <a:gd name="T18" fmla="*/ 637 w 895"/>
                <a:gd name="T19" fmla="*/ 103 h 211"/>
                <a:gd name="T20" fmla="*/ 581 w 895"/>
                <a:gd name="T21" fmla="*/ 159 h 211"/>
                <a:gd name="T22" fmla="*/ 543 w 895"/>
                <a:gd name="T23" fmla="*/ 159 h 211"/>
                <a:gd name="T24" fmla="*/ 543 w 895"/>
                <a:gd name="T25" fmla="*/ 122 h 211"/>
                <a:gd name="T26" fmla="*/ 581 w 895"/>
                <a:gd name="T27" fmla="*/ 122 h 211"/>
                <a:gd name="T28" fmla="*/ 581 w 895"/>
                <a:gd name="T29" fmla="*/ 159 h 211"/>
                <a:gd name="T30" fmla="*/ 524 w 895"/>
                <a:gd name="T31" fmla="*/ 103 h 211"/>
                <a:gd name="T32" fmla="*/ 485 w 895"/>
                <a:gd name="T33" fmla="*/ 103 h 211"/>
                <a:gd name="T34" fmla="*/ 485 w 895"/>
                <a:gd name="T35" fmla="*/ 65 h 211"/>
                <a:gd name="T36" fmla="*/ 524 w 895"/>
                <a:gd name="T37" fmla="*/ 65 h 211"/>
                <a:gd name="T38" fmla="*/ 524 w 895"/>
                <a:gd name="T39" fmla="*/ 103 h 211"/>
                <a:gd name="T40" fmla="*/ 467 w 895"/>
                <a:gd name="T41" fmla="*/ 159 h 211"/>
                <a:gd name="T42" fmla="*/ 428 w 895"/>
                <a:gd name="T43" fmla="*/ 159 h 211"/>
                <a:gd name="T44" fmla="*/ 428 w 895"/>
                <a:gd name="T45" fmla="*/ 122 h 211"/>
                <a:gd name="T46" fmla="*/ 467 w 895"/>
                <a:gd name="T47" fmla="*/ 122 h 211"/>
                <a:gd name="T48" fmla="*/ 467 w 895"/>
                <a:gd name="T49" fmla="*/ 159 h 211"/>
                <a:gd name="T50" fmla="*/ 410 w 895"/>
                <a:gd name="T51" fmla="*/ 103 h 211"/>
                <a:gd name="T52" fmla="*/ 371 w 895"/>
                <a:gd name="T53" fmla="*/ 103 h 211"/>
                <a:gd name="T54" fmla="*/ 371 w 895"/>
                <a:gd name="T55" fmla="*/ 65 h 211"/>
                <a:gd name="T56" fmla="*/ 410 w 895"/>
                <a:gd name="T57" fmla="*/ 65 h 211"/>
                <a:gd name="T58" fmla="*/ 410 w 895"/>
                <a:gd name="T59" fmla="*/ 103 h 211"/>
                <a:gd name="T60" fmla="*/ 353 w 895"/>
                <a:gd name="T61" fmla="*/ 159 h 211"/>
                <a:gd name="T62" fmla="*/ 315 w 895"/>
                <a:gd name="T63" fmla="*/ 159 h 211"/>
                <a:gd name="T64" fmla="*/ 315 w 895"/>
                <a:gd name="T65" fmla="*/ 122 h 211"/>
                <a:gd name="T66" fmla="*/ 353 w 895"/>
                <a:gd name="T67" fmla="*/ 122 h 211"/>
                <a:gd name="T68" fmla="*/ 353 w 895"/>
                <a:gd name="T69" fmla="*/ 159 h 211"/>
                <a:gd name="T70" fmla="*/ 295 w 895"/>
                <a:gd name="T71" fmla="*/ 103 h 211"/>
                <a:gd name="T72" fmla="*/ 258 w 895"/>
                <a:gd name="T73" fmla="*/ 103 h 211"/>
                <a:gd name="T74" fmla="*/ 258 w 895"/>
                <a:gd name="T75" fmla="*/ 65 h 211"/>
                <a:gd name="T76" fmla="*/ 295 w 895"/>
                <a:gd name="T77" fmla="*/ 65 h 211"/>
                <a:gd name="T78" fmla="*/ 295 w 895"/>
                <a:gd name="T79" fmla="*/ 103 h 211"/>
                <a:gd name="T80" fmla="*/ 238 w 895"/>
                <a:gd name="T81" fmla="*/ 159 h 211"/>
                <a:gd name="T82" fmla="*/ 201 w 895"/>
                <a:gd name="T83" fmla="*/ 159 h 211"/>
                <a:gd name="T84" fmla="*/ 201 w 895"/>
                <a:gd name="T85" fmla="*/ 122 h 211"/>
                <a:gd name="T86" fmla="*/ 238 w 895"/>
                <a:gd name="T87" fmla="*/ 122 h 211"/>
                <a:gd name="T88" fmla="*/ 238 w 895"/>
                <a:gd name="T89" fmla="*/ 159 h 211"/>
                <a:gd name="T90" fmla="*/ 815 w 895"/>
                <a:gd name="T91" fmla="*/ 0 h 211"/>
                <a:gd name="T92" fmla="*/ 80 w 895"/>
                <a:gd name="T93" fmla="*/ 0 h 211"/>
                <a:gd name="T94" fmla="*/ 0 w 895"/>
                <a:gd name="T95" fmla="*/ 211 h 211"/>
                <a:gd name="T96" fmla="*/ 895 w 895"/>
                <a:gd name="T97" fmla="*/ 211 h 211"/>
                <a:gd name="T98" fmla="*/ 815 w 895"/>
                <a:gd name="T99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95" h="211">
                  <a:moveTo>
                    <a:pt x="694" y="159"/>
                  </a:moveTo>
                  <a:lnTo>
                    <a:pt x="657" y="159"/>
                  </a:lnTo>
                  <a:lnTo>
                    <a:pt x="657" y="122"/>
                  </a:lnTo>
                  <a:lnTo>
                    <a:pt x="694" y="122"/>
                  </a:lnTo>
                  <a:lnTo>
                    <a:pt x="694" y="159"/>
                  </a:lnTo>
                  <a:close/>
                  <a:moveTo>
                    <a:pt x="637" y="103"/>
                  </a:moveTo>
                  <a:lnTo>
                    <a:pt x="600" y="103"/>
                  </a:lnTo>
                  <a:lnTo>
                    <a:pt x="600" y="65"/>
                  </a:lnTo>
                  <a:lnTo>
                    <a:pt x="637" y="65"/>
                  </a:lnTo>
                  <a:lnTo>
                    <a:pt x="637" y="103"/>
                  </a:lnTo>
                  <a:close/>
                  <a:moveTo>
                    <a:pt x="581" y="159"/>
                  </a:moveTo>
                  <a:lnTo>
                    <a:pt x="543" y="159"/>
                  </a:lnTo>
                  <a:lnTo>
                    <a:pt x="543" y="122"/>
                  </a:lnTo>
                  <a:lnTo>
                    <a:pt x="581" y="122"/>
                  </a:lnTo>
                  <a:lnTo>
                    <a:pt x="581" y="159"/>
                  </a:lnTo>
                  <a:close/>
                  <a:moveTo>
                    <a:pt x="524" y="103"/>
                  </a:moveTo>
                  <a:lnTo>
                    <a:pt x="485" y="103"/>
                  </a:lnTo>
                  <a:lnTo>
                    <a:pt x="485" y="65"/>
                  </a:lnTo>
                  <a:lnTo>
                    <a:pt x="524" y="65"/>
                  </a:lnTo>
                  <a:lnTo>
                    <a:pt x="524" y="103"/>
                  </a:lnTo>
                  <a:close/>
                  <a:moveTo>
                    <a:pt x="467" y="159"/>
                  </a:moveTo>
                  <a:lnTo>
                    <a:pt x="428" y="159"/>
                  </a:lnTo>
                  <a:lnTo>
                    <a:pt x="428" y="122"/>
                  </a:lnTo>
                  <a:lnTo>
                    <a:pt x="467" y="122"/>
                  </a:lnTo>
                  <a:lnTo>
                    <a:pt x="467" y="159"/>
                  </a:lnTo>
                  <a:close/>
                  <a:moveTo>
                    <a:pt x="410" y="103"/>
                  </a:moveTo>
                  <a:lnTo>
                    <a:pt x="371" y="103"/>
                  </a:lnTo>
                  <a:lnTo>
                    <a:pt x="371" y="65"/>
                  </a:lnTo>
                  <a:lnTo>
                    <a:pt x="410" y="65"/>
                  </a:lnTo>
                  <a:lnTo>
                    <a:pt x="410" y="103"/>
                  </a:lnTo>
                  <a:close/>
                  <a:moveTo>
                    <a:pt x="353" y="159"/>
                  </a:moveTo>
                  <a:lnTo>
                    <a:pt x="315" y="159"/>
                  </a:lnTo>
                  <a:lnTo>
                    <a:pt x="315" y="122"/>
                  </a:lnTo>
                  <a:lnTo>
                    <a:pt x="353" y="122"/>
                  </a:lnTo>
                  <a:lnTo>
                    <a:pt x="353" y="159"/>
                  </a:lnTo>
                  <a:close/>
                  <a:moveTo>
                    <a:pt x="295" y="103"/>
                  </a:moveTo>
                  <a:lnTo>
                    <a:pt x="258" y="103"/>
                  </a:lnTo>
                  <a:lnTo>
                    <a:pt x="258" y="65"/>
                  </a:lnTo>
                  <a:lnTo>
                    <a:pt x="295" y="65"/>
                  </a:lnTo>
                  <a:lnTo>
                    <a:pt x="295" y="103"/>
                  </a:lnTo>
                  <a:close/>
                  <a:moveTo>
                    <a:pt x="238" y="159"/>
                  </a:moveTo>
                  <a:lnTo>
                    <a:pt x="201" y="159"/>
                  </a:lnTo>
                  <a:lnTo>
                    <a:pt x="201" y="122"/>
                  </a:lnTo>
                  <a:lnTo>
                    <a:pt x="238" y="122"/>
                  </a:lnTo>
                  <a:lnTo>
                    <a:pt x="238" y="159"/>
                  </a:lnTo>
                  <a:close/>
                  <a:moveTo>
                    <a:pt x="815" y="0"/>
                  </a:moveTo>
                  <a:lnTo>
                    <a:pt x="80" y="0"/>
                  </a:lnTo>
                  <a:lnTo>
                    <a:pt x="0" y="211"/>
                  </a:lnTo>
                  <a:lnTo>
                    <a:pt x="895" y="211"/>
                  </a:lnTo>
                  <a:lnTo>
                    <a:pt x="8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84" name="Полилиния 322">
              <a:extLst>
                <a:ext uri="{FF2B5EF4-FFF2-40B4-BE49-F238E27FC236}">
                  <a16:creationId xmlns:a16="http://schemas.microsoft.com/office/drawing/2014/main" xmlns="" id="{5E64CAF0-0E1E-4978-B131-81EF0ABB8D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" y="1001713"/>
              <a:ext cx="287338" cy="57150"/>
            </a:xfrm>
            <a:custGeom>
              <a:avLst/>
              <a:gdLst>
                <a:gd name="T0" fmla="*/ 572 w 903"/>
                <a:gd name="T1" fmla="*/ 78 h 180"/>
                <a:gd name="T2" fmla="*/ 569 w 903"/>
                <a:gd name="T3" fmla="*/ 84 h 180"/>
                <a:gd name="T4" fmla="*/ 565 w 903"/>
                <a:gd name="T5" fmla="*/ 88 h 180"/>
                <a:gd name="T6" fmla="*/ 560 w 903"/>
                <a:gd name="T7" fmla="*/ 90 h 180"/>
                <a:gd name="T8" fmla="*/ 554 w 903"/>
                <a:gd name="T9" fmla="*/ 90 h 180"/>
                <a:gd name="T10" fmla="*/ 548 w 903"/>
                <a:gd name="T11" fmla="*/ 88 h 180"/>
                <a:gd name="T12" fmla="*/ 545 w 903"/>
                <a:gd name="T13" fmla="*/ 84 h 180"/>
                <a:gd name="T14" fmla="*/ 543 w 903"/>
                <a:gd name="T15" fmla="*/ 78 h 180"/>
                <a:gd name="T16" fmla="*/ 542 w 903"/>
                <a:gd name="T17" fmla="*/ 60 h 180"/>
                <a:gd name="T18" fmla="*/ 331 w 903"/>
                <a:gd name="T19" fmla="*/ 75 h 180"/>
                <a:gd name="T20" fmla="*/ 330 w 903"/>
                <a:gd name="T21" fmla="*/ 80 h 180"/>
                <a:gd name="T22" fmla="*/ 327 w 903"/>
                <a:gd name="T23" fmla="*/ 86 h 180"/>
                <a:gd name="T24" fmla="*/ 322 w 903"/>
                <a:gd name="T25" fmla="*/ 89 h 180"/>
                <a:gd name="T26" fmla="*/ 316 w 903"/>
                <a:gd name="T27" fmla="*/ 90 h 180"/>
                <a:gd name="T28" fmla="*/ 310 w 903"/>
                <a:gd name="T29" fmla="*/ 89 h 180"/>
                <a:gd name="T30" fmla="*/ 306 w 903"/>
                <a:gd name="T31" fmla="*/ 86 h 180"/>
                <a:gd name="T32" fmla="*/ 302 w 903"/>
                <a:gd name="T33" fmla="*/ 80 h 180"/>
                <a:gd name="T34" fmla="*/ 301 w 903"/>
                <a:gd name="T35" fmla="*/ 75 h 180"/>
                <a:gd name="T36" fmla="*/ 301 w 903"/>
                <a:gd name="T37" fmla="*/ 42 h 180"/>
                <a:gd name="T38" fmla="*/ 304 w 903"/>
                <a:gd name="T39" fmla="*/ 36 h 180"/>
                <a:gd name="T40" fmla="*/ 308 w 903"/>
                <a:gd name="T41" fmla="*/ 32 h 180"/>
                <a:gd name="T42" fmla="*/ 313 w 903"/>
                <a:gd name="T43" fmla="*/ 30 h 180"/>
                <a:gd name="T44" fmla="*/ 557 w 903"/>
                <a:gd name="T45" fmla="*/ 30 h 180"/>
                <a:gd name="T46" fmla="*/ 563 w 903"/>
                <a:gd name="T47" fmla="*/ 31 h 180"/>
                <a:gd name="T48" fmla="*/ 567 w 903"/>
                <a:gd name="T49" fmla="*/ 34 h 180"/>
                <a:gd name="T50" fmla="*/ 571 w 903"/>
                <a:gd name="T51" fmla="*/ 39 h 180"/>
                <a:gd name="T52" fmla="*/ 572 w 903"/>
                <a:gd name="T53" fmla="*/ 45 h 180"/>
                <a:gd name="T54" fmla="*/ 0 w 903"/>
                <a:gd name="T55" fmla="*/ 0 h 180"/>
                <a:gd name="T56" fmla="*/ 0 w 903"/>
                <a:gd name="T57" fmla="*/ 168 h 180"/>
                <a:gd name="T58" fmla="*/ 2 w 903"/>
                <a:gd name="T59" fmla="*/ 174 h 180"/>
                <a:gd name="T60" fmla="*/ 6 w 903"/>
                <a:gd name="T61" fmla="*/ 178 h 180"/>
                <a:gd name="T62" fmla="*/ 12 w 903"/>
                <a:gd name="T63" fmla="*/ 180 h 180"/>
                <a:gd name="T64" fmla="*/ 888 w 903"/>
                <a:gd name="T65" fmla="*/ 180 h 180"/>
                <a:gd name="T66" fmla="*/ 894 w 903"/>
                <a:gd name="T67" fmla="*/ 179 h 180"/>
                <a:gd name="T68" fmla="*/ 899 w 903"/>
                <a:gd name="T69" fmla="*/ 176 h 180"/>
                <a:gd name="T70" fmla="*/ 902 w 903"/>
                <a:gd name="T71" fmla="*/ 172 h 180"/>
                <a:gd name="T72" fmla="*/ 903 w 903"/>
                <a:gd name="T73" fmla="*/ 165 h 180"/>
                <a:gd name="T74" fmla="*/ 0 w 903"/>
                <a:gd name="T75" fmla="*/ 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3" h="180">
                  <a:moveTo>
                    <a:pt x="572" y="75"/>
                  </a:moveTo>
                  <a:lnTo>
                    <a:pt x="572" y="78"/>
                  </a:lnTo>
                  <a:lnTo>
                    <a:pt x="571" y="80"/>
                  </a:lnTo>
                  <a:lnTo>
                    <a:pt x="569" y="84"/>
                  </a:lnTo>
                  <a:lnTo>
                    <a:pt x="567" y="86"/>
                  </a:lnTo>
                  <a:lnTo>
                    <a:pt x="565" y="88"/>
                  </a:lnTo>
                  <a:lnTo>
                    <a:pt x="563" y="89"/>
                  </a:lnTo>
                  <a:lnTo>
                    <a:pt x="560" y="90"/>
                  </a:lnTo>
                  <a:lnTo>
                    <a:pt x="557" y="90"/>
                  </a:lnTo>
                  <a:lnTo>
                    <a:pt x="554" y="90"/>
                  </a:lnTo>
                  <a:lnTo>
                    <a:pt x="551" y="89"/>
                  </a:lnTo>
                  <a:lnTo>
                    <a:pt x="548" y="88"/>
                  </a:lnTo>
                  <a:lnTo>
                    <a:pt x="546" y="86"/>
                  </a:lnTo>
                  <a:lnTo>
                    <a:pt x="545" y="84"/>
                  </a:lnTo>
                  <a:lnTo>
                    <a:pt x="543" y="80"/>
                  </a:lnTo>
                  <a:lnTo>
                    <a:pt x="543" y="78"/>
                  </a:lnTo>
                  <a:lnTo>
                    <a:pt x="542" y="75"/>
                  </a:lnTo>
                  <a:lnTo>
                    <a:pt x="542" y="60"/>
                  </a:lnTo>
                  <a:lnTo>
                    <a:pt x="331" y="60"/>
                  </a:lnTo>
                  <a:lnTo>
                    <a:pt x="331" y="75"/>
                  </a:lnTo>
                  <a:lnTo>
                    <a:pt x="331" y="78"/>
                  </a:lnTo>
                  <a:lnTo>
                    <a:pt x="330" y="80"/>
                  </a:lnTo>
                  <a:lnTo>
                    <a:pt x="328" y="84"/>
                  </a:lnTo>
                  <a:lnTo>
                    <a:pt x="327" y="86"/>
                  </a:lnTo>
                  <a:lnTo>
                    <a:pt x="325" y="88"/>
                  </a:lnTo>
                  <a:lnTo>
                    <a:pt x="322" y="89"/>
                  </a:lnTo>
                  <a:lnTo>
                    <a:pt x="320" y="90"/>
                  </a:lnTo>
                  <a:lnTo>
                    <a:pt x="316" y="90"/>
                  </a:lnTo>
                  <a:lnTo>
                    <a:pt x="313" y="90"/>
                  </a:lnTo>
                  <a:lnTo>
                    <a:pt x="310" y="89"/>
                  </a:lnTo>
                  <a:lnTo>
                    <a:pt x="308" y="88"/>
                  </a:lnTo>
                  <a:lnTo>
                    <a:pt x="306" y="86"/>
                  </a:lnTo>
                  <a:lnTo>
                    <a:pt x="304" y="84"/>
                  </a:lnTo>
                  <a:lnTo>
                    <a:pt x="302" y="80"/>
                  </a:lnTo>
                  <a:lnTo>
                    <a:pt x="301" y="78"/>
                  </a:lnTo>
                  <a:lnTo>
                    <a:pt x="301" y="75"/>
                  </a:lnTo>
                  <a:lnTo>
                    <a:pt x="301" y="45"/>
                  </a:lnTo>
                  <a:lnTo>
                    <a:pt x="301" y="42"/>
                  </a:lnTo>
                  <a:lnTo>
                    <a:pt x="302" y="39"/>
                  </a:lnTo>
                  <a:lnTo>
                    <a:pt x="304" y="36"/>
                  </a:lnTo>
                  <a:lnTo>
                    <a:pt x="306" y="34"/>
                  </a:lnTo>
                  <a:lnTo>
                    <a:pt x="308" y="32"/>
                  </a:lnTo>
                  <a:lnTo>
                    <a:pt x="310" y="31"/>
                  </a:lnTo>
                  <a:lnTo>
                    <a:pt x="313" y="30"/>
                  </a:lnTo>
                  <a:lnTo>
                    <a:pt x="316" y="30"/>
                  </a:lnTo>
                  <a:lnTo>
                    <a:pt x="557" y="30"/>
                  </a:lnTo>
                  <a:lnTo>
                    <a:pt x="560" y="30"/>
                  </a:lnTo>
                  <a:lnTo>
                    <a:pt x="563" y="31"/>
                  </a:lnTo>
                  <a:lnTo>
                    <a:pt x="565" y="32"/>
                  </a:lnTo>
                  <a:lnTo>
                    <a:pt x="567" y="34"/>
                  </a:lnTo>
                  <a:lnTo>
                    <a:pt x="569" y="36"/>
                  </a:lnTo>
                  <a:lnTo>
                    <a:pt x="571" y="39"/>
                  </a:lnTo>
                  <a:lnTo>
                    <a:pt x="572" y="42"/>
                  </a:lnTo>
                  <a:lnTo>
                    <a:pt x="572" y="45"/>
                  </a:lnTo>
                  <a:lnTo>
                    <a:pt x="572" y="75"/>
                  </a:lnTo>
                  <a:close/>
                  <a:moveTo>
                    <a:pt x="0" y="0"/>
                  </a:moveTo>
                  <a:lnTo>
                    <a:pt x="0" y="165"/>
                  </a:lnTo>
                  <a:lnTo>
                    <a:pt x="0" y="168"/>
                  </a:lnTo>
                  <a:lnTo>
                    <a:pt x="1" y="172"/>
                  </a:lnTo>
                  <a:lnTo>
                    <a:pt x="2" y="174"/>
                  </a:lnTo>
                  <a:lnTo>
                    <a:pt x="4" y="176"/>
                  </a:lnTo>
                  <a:lnTo>
                    <a:pt x="6" y="178"/>
                  </a:lnTo>
                  <a:lnTo>
                    <a:pt x="10" y="179"/>
                  </a:lnTo>
                  <a:lnTo>
                    <a:pt x="12" y="180"/>
                  </a:lnTo>
                  <a:lnTo>
                    <a:pt x="15" y="180"/>
                  </a:lnTo>
                  <a:lnTo>
                    <a:pt x="888" y="180"/>
                  </a:lnTo>
                  <a:lnTo>
                    <a:pt x="891" y="180"/>
                  </a:lnTo>
                  <a:lnTo>
                    <a:pt x="894" y="179"/>
                  </a:lnTo>
                  <a:lnTo>
                    <a:pt x="897" y="178"/>
                  </a:lnTo>
                  <a:lnTo>
                    <a:pt x="899" y="176"/>
                  </a:lnTo>
                  <a:lnTo>
                    <a:pt x="901" y="174"/>
                  </a:lnTo>
                  <a:lnTo>
                    <a:pt x="902" y="172"/>
                  </a:lnTo>
                  <a:lnTo>
                    <a:pt x="903" y="168"/>
                  </a:lnTo>
                  <a:lnTo>
                    <a:pt x="903" y="165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85" name="Полилиния 323">
              <a:extLst>
                <a:ext uri="{FF2B5EF4-FFF2-40B4-BE49-F238E27FC236}">
                  <a16:creationId xmlns:a16="http://schemas.microsoft.com/office/drawing/2014/main" xmlns="" id="{4F8D27CA-EA67-412D-83F2-F661D003B3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375" y="771525"/>
              <a:ext cx="230188" cy="142875"/>
            </a:xfrm>
            <a:custGeom>
              <a:avLst/>
              <a:gdLst>
                <a:gd name="T0" fmla="*/ 448 w 723"/>
                <a:gd name="T1" fmla="*/ 361 h 452"/>
                <a:gd name="T2" fmla="*/ 441 w 723"/>
                <a:gd name="T3" fmla="*/ 357 h 452"/>
                <a:gd name="T4" fmla="*/ 438 w 723"/>
                <a:gd name="T5" fmla="*/ 350 h 452"/>
                <a:gd name="T6" fmla="*/ 438 w 723"/>
                <a:gd name="T7" fmla="*/ 340 h 452"/>
                <a:gd name="T8" fmla="*/ 443 w 723"/>
                <a:gd name="T9" fmla="*/ 334 h 452"/>
                <a:gd name="T10" fmla="*/ 452 w 723"/>
                <a:gd name="T11" fmla="*/ 331 h 452"/>
                <a:gd name="T12" fmla="*/ 608 w 723"/>
                <a:gd name="T13" fmla="*/ 333 h 452"/>
                <a:gd name="T14" fmla="*/ 615 w 723"/>
                <a:gd name="T15" fmla="*/ 338 h 452"/>
                <a:gd name="T16" fmla="*/ 618 w 723"/>
                <a:gd name="T17" fmla="*/ 346 h 452"/>
                <a:gd name="T18" fmla="*/ 615 w 723"/>
                <a:gd name="T19" fmla="*/ 355 h 452"/>
                <a:gd name="T20" fmla="*/ 608 w 723"/>
                <a:gd name="T21" fmla="*/ 360 h 452"/>
                <a:gd name="T22" fmla="*/ 331 w 723"/>
                <a:gd name="T23" fmla="*/ 407 h 452"/>
                <a:gd name="T24" fmla="*/ 329 w 723"/>
                <a:gd name="T25" fmla="*/ 415 h 452"/>
                <a:gd name="T26" fmla="*/ 322 w 723"/>
                <a:gd name="T27" fmla="*/ 420 h 452"/>
                <a:gd name="T28" fmla="*/ 105 w 723"/>
                <a:gd name="T29" fmla="*/ 422 h 452"/>
                <a:gd name="T30" fmla="*/ 98 w 723"/>
                <a:gd name="T31" fmla="*/ 419 h 452"/>
                <a:gd name="T32" fmla="*/ 92 w 723"/>
                <a:gd name="T33" fmla="*/ 412 h 452"/>
                <a:gd name="T34" fmla="*/ 90 w 723"/>
                <a:gd name="T35" fmla="*/ 286 h 452"/>
                <a:gd name="T36" fmla="*/ 93 w 723"/>
                <a:gd name="T37" fmla="*/ 278 h 452"/>
                <a:gd name="T38" fmla="*/ 100 w 723"/>
                <a:gd name="T39" fmla="*/ 272 h 452"/>
                <a:gd name="T40" fmla="*/ 316 w 723"/>
                <a:gd name="T41" fmla="*/ 271 h 452"/>
                <a:gd name="T42" fmla="*/ 325 w 723"/>
                <a:gd name="T43" fmla="*/ 274 h 452"/>
                <a:gd name="T44" fmla="*/ 330 w 723"/>
                <a:gd name="T45" fmla="*/ 280 h 452"/>
                <a:gd name="T46" fmla="*/ 331 w 723"/>
                <a:gd name="T47" fmla="*/ 407 h 452"/>
                <a:gd name="T48" fmla="*/ 722 w 723"/>
                <a:gd name="T49" fmla="*/ 220 h 452"/>
                <a:gd name="T50" fmla="*/ 717 w 723"/>
                <a:gd name="T51" fmla="*/ 213 h 452"/>
                <a:gd name="T52" fmla="*/ 708 w 723"/>
                <a:gd name="T53" fmla="*/ 211 h 452"/>
                <a:gd name="T54" fmla="*/ 678 w 723"/>
                <a:gd name="T55" fmla="*/ 150 h 452"/>
                <a:gd name="T56" fmla="*/ 703 w 723"/>
                <a:gd name="T57" fmla="*/ 143 h 452"/>
                <a:gd name="T58" fmla="*/ 720 w 723"/>
                <a:gd name="T59" fmla="*/ 123 h 452"/>
                <a:gd name="T60" fmla="*/ 723 w 723"/>
                <a:gd name="T61" fmla="*/ 45 h 452"/>
                <a:gd name="T62" fmla="*/ 715 w 723"/>
                <a:gd name="T63" fmla="*/ 20 h 452"/>
                <a:gd name="T64" fmla="*/ 695 w 723"/>
                <a:gd name="T65" fmla="*/ 3 h 452"/>
                <a:gd name="T66" fmla="*/ 497 w 723"/>
                <a:gd name="T67" fmla="*/ 0 h 452"/>
                <a:gd name="T68" fmla="*/ 472 w 723"/>
                <a:gd name="T69" fmla="*/ 8 h 452"/>
                <a:gd name="T70" fmla="*/ 456 w 723"/>
                <a:gd name="T71" fmla="*/ 28 h 452"/>
                <a:gd name="T72" fmla="*/ 452 w 723"/>
                <a:gd name="T73" fmla="*/ 105 h 452"/>
                <a:gd name="T74" fmla="*/ 460 w 723"/>
                <a:gd name="T75" fmla="*/ 131 h 452"/>
                <a:gd name="T76" fmla="*/ 479 w 723"/>
                <a:gd name="T77" fmla="*/ 147 h 452"/>
                <a:gd name="T78" fmla="*/ 573 w 723"/>
                <a:gd name="T79" fmla="*/ 150 h 452"/>
                <a:gd name="T80" fmla="*/ 301 w 723"/>
                <a:gd name="T81" fmla="*/ 75 h 452"/>
                <a:gd name="T82" fmla="*/ 297 w 723"/>
                <a:gd name="T83" fmla="*/ 65 h 452"/>
                <a:gd name="T84" fmla="*/ 288 w 723"/>
                <a:gd name="T85" fmla="*/ 60 h 452"/>
                <a:gd name="T86" fmla="*/ 130 w 723"/>
                <a:gd name="T87" fmla="*/ 121 h 452"/>
                <a:gd name="T88" fmla="*/ 121 w 723"/>
                <a:gd name="T89" fmla="*/ 131 h 452"/>
                <a:gd name="T90" fmla="*/ 15 w 723"/>
                <a:gd name="T91" fmla="*/ 211 h 452"/>
                <a:gd name="T92" fmla="*/ 7 w 723"/>
                <a:gd name="T93" fmla="*/ 213 h 452"/>
                <a:gd name="T94" fmla="*/ 1 w 723"/>
                <a:gd name="T95" fmla="*/ 220 h 452"/>
                <a:gd name="T96" fmla="*/ 0 w 723"/>
                <a:gd name="T97" fmla="*/ 452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3" h="452">
                  <a:moveTo>
                    <a:pt x="603" y="361"/>
                  </a:moveTo>
                  <a:lnTo>
                    <a:pt x="452" y="361"/>
                  </a:lnTo>
                  <a:lnTo>
                    <a:pt x="448" y="361"/>
                  </a:lnTo>
                  <a:lnTo>
                    <a:pt x="446" y="360"/>
                  </a:lnTo>
                  <a:lnTo>
                    <a:pt x="443" y="359"/>
                  </a:lnTo>
                  <a:lnTo>
                    <a:pt x="441" y="357"/>
                  </a:lnTo>
                  <a:lnTo>
                    <a:pt x="440" y="355"/>
                  </a:lnTo>
                  <a:lnTo>
                    <a:pt x="438" y="352"/>
                  </a:lnTo>
                  <a:lnTo>
                    <a:pt x="438" y="350"/>
                  </a:lnTo>
                  <a:lnTo>
                    <a:pt x="437" y="346"/>
                  </a:lnTo>
                  <a:lnTo>
                    <a:pt x="438" y="343"/>
                  </a:lnTo>
                  <a:lnTo>
                    <a:pt x="438" y="340"/>
                  </a:lnTo>
                  <a:lnTo>
                    <a:pt x="440" y="338"/>
                  </a:lnTo>
                  <a:lnTo>
                    <a:pt x="441" y="336"/>
                  </a:lnTo>
                  <a:lnTo>
                    <a:pt x="443" y="334"/>
                  </a:lnTo>
                  <a:lnTo>
                    <a:pt x="446" y="333"/>
                  </a:lnTo>
                  <a:lnTo>
                    <a:pt x="448" y="331"/>
                  </a:lnTo>
                  <a:lnTo>
                    <a:pt x="452" y="331"/>
                  </a:lnTo>
                  <a:lnTo>
                    <a:pt x="603" y="331"/>
                  </a:lnTo>
                  <a:lnTo>
                    <a:pt x="605" y="331"/>
                  </a:lnTo>
                  <a:lnTo>
                    <a:pt x="608" y="333"/>
                  </a:lnTo>
                  <a:lnTo>
                    <a:pt x="610" y="334"/>
                  </a:lnTo>
                  <a:lnTo>
                    <a:pt x="614" y="336"/>
                  </a:lnTo>
                  <a:lnTo>
                    <a:pt x="615" y="338"/>
                  </a:lnTo>
                  <a:lnTo>
                    <a:pt x="617" y="340"/>
                  </a:lnTo>
                  <a:lnTo>
                    <a:pt x="617" y="343"/>
                  </a:lnTo>
                  <a:lnTo>
                    <a:pt x="618" y="346"/>
                  </a:lnTo>
                  <a:lnTo>
                    <a:pt x="617" y="350"/>
                  </a:lnTo>
                  <a:lnTo>
                    <a:pt x="617" y="352"/>
                  </a:lnTo>
                  <a:lnTo>
                    <a:pt x="615" y="355"/>
                  </a:lnTo>
                  <a:lnTo>
                    <a:pt x="614" y="357"/>
                  </a:lnTo>
                  <a:lnTo>
                    <a:pt x="610" y="359"/>
                  </a:lnTo>
                  <a:lnTo>
                    <a:pt x="608" y="360"/>
                  </a:lnTo>
                  <a:lnTo>
                    <a:pt x="605" y="361"/>
                  </a:lnTo>
                  <a:lnTo>
                    <a:pt x="603" y="361"/>
                  </a:lnTo>
                  <a:close/>
                  <a:moveTo>
                    <a:pt x="331" y="407"/>
                  </a:moveTo>
                  <a:lnTo>
                    <a:pt x="331" y="410"/>
                  </a:lnTo>
                  <a:lnTo>
                    <a:pt x="330" y="412"/>
                  </a:lnTo>
                  <a:lnTo>
                    <a:pt x="329" y="415"/>
                  </a:lnTo>
                  <a:lnTo>
                    <a:pt x="327" y="417"/>
                  </a:lnTo>
                  <a:lnTo>
                    <a:pt x="325" y="419"/>
                  </a:lnTo>
                  <a:lnTo>
                    <a:pt x="322" y="420"/>
                  </a:lnTo>
                  <a:lnTo>
                    <a:pt x="320" y="422"/>
                  </a:lnTo>
                  <a:lnTo>
                    <a:pt x="316" y="422"/>
                  </a:lnTo>
                  <a:lnTo>
                    <a:pt x="105" y="422"/>
                  </a:lnTo>
                  <a:lnTo>
                    <a:pt x="103" y="422"/>
                  </a:lnTo>
                  <a:lnTo>
                    <a:pt x="100" y="420"/>
                  </a:lnTo>
                  <a:lnTo>
                    <a:pt x="98" y="419"/>
                  </a:lnTo>
                  <a:lnTo>
                    <a:pt x="96" y="417"/>
                  </a:lnTo>
                  <a:lnTo>
                    <a:pt x="93" y="415"/>
                  </a:lnTo>
                  <a:lnTo>
                    <a:pt x="92" y="412"/>
                  </a:lnTo>
                  <a:lnTo>
                    <a:pt x="91" y="410"/>
                  </a:lnTo>
                  <a:lnTo>
                    <a:pt x="90" y="407"/>
                  </a:lnTo>
                  <a:lnTo>
                    <a:pt x="90" y="286"/>
                  </a:lnTo>
                  <a:lnTo>
                    <a:pt x="91" y="283"/>
                  </a:lnTo>
                  <a:lnTo>
                    <a:pt x="92" y="280"/>
                  </a:lnTo>
                  <a:lnTo>
                    <a:pt x="93" y="278"/>
                  </a:lnTo>
                  <a:lnTo>
                    <a:pt x="96" y="276"/>
                  </a:lnTo>
                  <a:lnTo>
                    <a:pt x="98" y="274"/>
                  </a:lnTo>
                  <a:lnTo>
                    <a:pt x="100" y="272"/>
                  </a:lnTo>
                  <a:lnTo>
                    <a:pt x="103" y="271"/>
                  </a:lnTo>
                  <a:lnTo>
                    <a:pt x="105" y="271"/>
                  </a:lnTo>
                  <a:lnTo>
                    <a:pt x="316" y="271"/>
                  </a:lnTo>
                  <a:lnTo>
                    <a:pt x="320" y="271"/>
                  </a:lnTo>
                  <a:lnTo>
                    <a:pt x="322" y="272"/>
                  </a:lnTo>
                  <a:lnTo>
                    <a:pt x="325" y="274"/>
                  </a:lnTo>
                  <a:lnTo>
                    <a:pt x="327" y="276"/>
                  </a:lnTo>
                  <a:lnTo>
                    <a:pt x="329" y="278"/>
                  </a:lnTo>
                  <a:lnTo>
                    <a:pt x="330" y="280"/>
                  </a:lnTo>
                  <a:lnTo>
                    <a:pt x="331" y="283"/>
                  </a:lnTo>
                  <a:lnTo>
                    <a:pt x="331" y="286"/>
                  </a:lnTo>
                  <a:lnTo>
                    <a:pt x="331" y="407"/>
                  </a:lnTo>
                  <a:close/>
                  <a:moveTo>
                    <a:pt x="723" y="226"/>
                  </a:moveTo>
                  <a:lnTo>
                    <a:pt x="723" y="223"/>
                  </a:lnTo>
                  <a:lnTo>
                    <a:pt x="722" y="220"/>
                  </a:lnTo>
                  <a:lnTo>
                    <a:pt x="721" y="218"/>
                  </a:lnTo>
                  <a:lnTo>
                    <a:pt x="719" y="216"/>
                  </a:lnTo>
                  <a:lnTo>
                    <a:pt x="717" y="213"/>
                  </a:lnTo>
                  <a:lnTo>
                    <a:pt x="713" y="212"/>
                  </a:lnTo>
                  <a:lnTo>
                    <a:pt x="711" y="211"/>
                  </a:lnTo>
                  <a:lnTo>
                    <a:pt x="708" y="211"/>
                  </a:lnTo>
                  <a:lnTo>
                    <a:pt x="603" y="211"/>
                  </a:lnTo>
                  <a:lnTo>
                    <a:pt x="603" y="150"/>
                  </a:lnTo>
                  <a:lnTo>
                    <a:pt x="678" y="150"/>
                  </a:lnTo>
                  <a:lnTo>
                    <a:pt x="686" y="149"/>
                  </a:lnTo>
                  <a:lnTo>
                    <a:pt x="695" y="147"/>
                  </a:lnTo>
                  <a:lnTo>
                    <a:pt x="703" y="143"/>
                  </a:lnTo>
                  <a:lnTo>
                    <a:pt x="710" y="137"/>
                  </a:lnTo>
                  <a:lnTo>
                    <a:pt x="715" y="131"/>
                  </a:lnTo>
                  <a:lnTo>
                    <a:pt x="720" y="123"/>
                  </a:lnTo>
                  <a:lnTo>
                    <a:pt x="722" y="115"/>
                  </a:lnTo>
                  <a:lnTo>
                    <a:pt x="723" y="105"/>
                  </a:lnTo>
                  <a:lnTo>
                    <a:pt x="723" y="45"/>
                  </a:lnTo>
                  <a:lnTo>
                    <a:pt x="722" y="36"/>
                  </a:lnTo>
                  <a:lnTo>
                    <a:pt x="720" y="28"/>
                  </a:lnTo>
                  <a:lnTo>
                    <a:pt x="715" y="20"/>
                  </a:lnTo>
                  <a:lnTo>
                    <a:pt x="710" y="13"/>
                  </a:lnTo>
                  <a:lnTo>
                    <a:pt x="703" y="8"/>
                  </a:lnTo>
                  <a:lnTo>
                    <a:pt x="695" y="3"/>
                  </a:lnTo>
                  <a:lnTo>
                    <a:pt x="686" y="1"/>
                  </a:lnTo>
                  <a:lnTo>
                    <a:pt x="678" y="0"/>
                  </a:lnTo>
                  <a:lnTo>
                    <a:pt x="497" y="0"/>
                  </a:lnTo>
                  <a:lnTo>
                    <a:pt x="488" y="1"/>
                  </a:lnTo>
                  <a:lnTo>
                    <a:pt x="479" y="3"/>
                  </a:lnTo>
                  <a:lnTo>
                    <a:pt x="472" y="8"/>
                  </a:lnTo>
                  <a:lnTo>
                    <a:pt x="466" y="13"/>
                  </a:lnTo>
                  <a:lnTo>
                    <a:pt x="460" y="20"/>
                  </a:lnTo>
                  <a:lnTo>
                    <a:pt x="456" y="28"/>
                  </a:lnTo>
                  <a:lnTo>
                    <a:pt x="453" y="36"/>
                  </a:lnTo>
                  <a:lnTo>
                    <a:pt x="452" y="45"/>
                  </a:lnTo>
                  <a:lnTo>
                    <a:pt x="452" y="105"/>
                  </a:lnTo>
                  <a:lnTo>
                    <a:pt x="453" y="115"/>
                  </a:lnTo>
                  <a:lnTo>
                    <a:pt x="456" y="123"/>
                  </a:lnTo>
                  <a:lnTo>
                    <a:pt x="460" y="131"/>
                  </a:lnTo>
                  <a:lnTo>
                    <a:pt x="466" y="137"/>
                  </a:lnTo>
                  <a:lnTo>
                    <a:pt x="472" y="143"/>
                  </a:lnTo>
                  <a:lnTo>
                    <a:pt x="479" y="147"/>
                  </a:lnTo>
                  <a:lnTo>
                    <a:pt x="488" y="150"/>
                  </a:lnTo>
                  <a:lnTo>
                    <a:pt x="497" y="150"/>
                  </a:lnTo>
                  <a:lnTo>
                    <a:pt x="573" y="150"/>
                  </a:lnTo>
                  <a:lnTo>
                    <a:pt x="573" y="211"/>
                  </a:lnTo>
                  <a:lnTo>
                    <a:pt x="301" y="211"/>
                  </a:lnTo>
                  <a:lnTo>
                    <a:pt x="301" y="75"/>
                  </a:lnTo>
                  <a:lnTo>
                    <a:pt x="301" y="72"/>
                  </a:lnTo>
                  <a:lnTo>
                    <a:pt x="299" y="69"/>
                  </a:lnTo>
                  <a:lnTo>
                    <a:pt x="297" y="65"/>
                  </a:lnTo>
                  <a:lnTo>
                    <a:pt x="295" y="63"/>
                  </a:lnTo>
                  <a:lnTo>
                    <a:pt x="292" y="61"/>
                  </a:lnTo>
                  <a:lnTo>
                    <a:pt x="288" y="60"/>
                  </a:lnTo>
                  <a:lnTo>
                    <a:pt x="284" y="60"/>
                  </a:lnTo>
                  <a:lnTo>
                    <a:pt x="281" y="61"/>
                  </a:lnTo>
                  <a:lnTo>
                    <a:pt x="130" y="121"/>
                  </a:lnTo>
                  <a:lnTo>
                    <a:pt x="127" y="123"/>
                  </a:lnTo>
                  <a:lnTo>
                    <a:pt x="123" y="128"/>
                  </a:lnTo>
                  <a:lnTo>
                    <a:pt x="121" y="131"/>
                  </a:lnTo>
                  <a:lnTo>
                    <a:pt x="121" y="135"/>
                  </a:lnTo>
                  <a:lnTo>
                    <a:pt x="121" y="211"/>
                  </a:lnTo>
                  <a:lnTo>
                    <a:pt x="15" y="211"/>
                  </a:lnTo>
                  <a:lnTo>
                    <a:pt x="12" y="211"/>
                  </a:lnTo>
                  <a:lnTo>
                    <a:pt x="10" y="212"/>
                  </a:lnTo>
                  <a:lnTo>
                    <a:pt x="7" y="213"/>
                  </a:lnTo>
                  <a:lnTo>
                    <a:pt x="4" y="216"/>
                  </a:lnTo>
                  <a:lnTo>
                    <a:pt x="3" y="218"/>
                  </a:lnTo>
                  <a:lnTo>
                    <a:pt x="1" y="220"/>
                  </a:lnTo>
                  <a:lnTo>
                    <a:pt x="1" y="223"/>
                  </a:lnTo>
                  <a:lnTo>
                    <a:pt x="0" y="226"/>
                  </a:lnTo>
                  <a:lnTo>
                    <a:pt x="0" y="452"/>
                  </a:lnTo>
                  <a:lnTo>
                    <a:pt x="723" y="452"/>
                  </a:lnTo>
                  <a:lnTo>
                    <a:pt x="723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</p:grp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xmlns="" id="{BF061177-3A0B-4D94-95FF-46770B8B2E9B}"/>
              </a:ext>
            </a:extLst>
          </p:cNvPr>
          <p:cNvSpPr/>
          <p:nvPr/>
        </p:nvSpPr>
        <p:spPr>
          <a:xfrm>
            <a:off x="8467385" y="1577181"/>
            <a:ext cx="3419021" cy="962601"/>
          </a:xfrm>
          <a:prstGeom prst="rect">
            <a:avLst/>
          </a:prstGeom>
          <a:solidFill>
            <a:srgbClr val="CE29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>
              <a:spcBef>
                <a:spcPts val="600"/>
              </a:spcBef>
            </a:pPr>
            <a:r>
              <a:rPr lang="ru-RU" sz="2400" dirty="0"/>
              <a:t>Всего личных</a:t>
            </a:r>
          </a:p>
          <a:p>
            <a:pPr rtl="0">
              <a:spcBef>
                <a:spcPts val="600"/>
              </a:spcBef>
            </a:pPr>
            <a:r>
              <a:rPr lang="ru-RU" sz="2400" dirty="0"/>
              <a:t> кабинетов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xmlns="" id="{8D0359B6-238F-4B5E-B1A4-229F370E96D7}"/>
              </a:ext>
            </a:extLst>
          </p:cNvPr>
          <p:cNvSpPr/>
          <p:nvPr/>
        </p:nvSpPr>
        <p:spPr>
          <a:xfrm>
            <a:off x="8467385" y="2956227"/>
            <a:ext cx="3419021" cy="4191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ru-RU" sz="1600" dirty="0">
                <a:solidFill>
                  <a:schemeClr val="bg1"/>
                </a:solidFill>
              </a:rPr>
              <a:t>Юридические лица (92 %)</a:t>
            </a: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xmlns="" id="{C14F284B-6377-4804-9C82-CA1083F54D5A}"/>
              </a:ext>
            </a:extLst>
          </p:cNvPr>
          <p:cNvSpPr/>
          <p:nvPr/>
        </p:nvSpPr>
        <p:spPr>
          <a:xfrm>
            <a:off x="8467385" y="2539783"/>
            <a:ext cx="3419021" cy="4191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ru-RU" sz="1600" dirty="0">
                <a:solidFill>
                  <a:schemeClr val="bg1"/>
                </a:solidFill>
              </a:rPr>
              <a:t>Физические лица  (28 %)</a:t>
            </a:r>
          </a:p>
        </p:txBody>
      </p:sp>
      <p:sp>
        <p:nvSpPr>
          <p:cNvPr id="89" name="Овал 88">
            <a:extLst>
              <a:ext uri="{FF2B5EF4-FFF2-40B4-BE49-F238E27FC236}">
                <a16:creationId xmlns:a16="http://schemas.microsoft.com/office/drawing/2014/main" xmlns="" id="{1710653A-F5C8-47DE-8D3E-A0B5438ED78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9829233" y="1119355"/>
            <a:ext cx="657225" cy="657225"/>
          </a:xfrm>
          <a:prstGeom prst="ellipse">
            <a:avLst/>
          </a:prstGeom>
          <a:solidFill>
            <a:srgbClr val="CE295E"/>
          </a:solidFill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xmlns="" id="{64E23882-97E3-4B34-BBE0-6959274930AF}"/>
              </a:ext>
            </a:extLst>
          </p:cNvPr>
          <p:cNvSpPr/>
          <p:nvPr/>
        </p:nvSpPr>
        <p:spPr>
          <a:xfrm>
            <a:off x="10414535" y="1642983"/>
            <a:ext cx="1385288" cy="83099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r" rtl="0">
              <a:spcBef>
                <a:spcPts val="600"/>
              </a:spcBef>
            </a:pPr>
            <a:r>
              <a:rPr lang="ru-RU" sz="2400" dirty="0">
                <a:solidFill>
                  <a:schemeClr val="bg1"/>
                </a:solidFill>
              </a:rPr>
              <a:t> более 151 тыс.</a:t>
            </a:r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xmlns="" id="{576948FB-CC34-4B03-88DC-8401A5A57F4D}"/>
              </a:ext>
            </a:extLst>
          </p:cNvPr>
          <p:cNvSpPr/>
          <p:nvPr/>
        </p:nvSpPr>
        <p:spPr>
          <a:xfrm>
            <a:off x="10885423" y="2580055"/>
            <a:ext cx="914400" cy="338554"/>
          </a:xfrm>
          <a:prstGeom prst="rect">
            <a:avLst/>
          </a:prstGeom>
        </p:spPr>
        <p:txBody>
          <a:bodyPr wrap="none" rtlCol="0" anchor="ctr">
            <a:normAutofit/>
          </a:bodyPr>
          <a:lstStyle/>
          <a:p>
            <a:pPr algn="r" rtl="0">
              <a:spcBef>
                <a:spcPts val="600"/>
              </a:spcBef>
            </a:pPr>
            <a:r>
              <a:rPr lang="ru-RU" sz="1600" dirty="0">
                <a:solidFill>
                  <a:schemeClr val="bg1"/>
                </a:solidFill>
              </a:rPr>
              <a:t> </a:t>
            </a:r>
            <a:r>
              <a:rPr lang="ru-RU" sz="1000" dirty="0">
                <a:solidFill>
                  <a:schemeClr val="bg1"/>
                </a:solidFill>
              </a:rPr>
              <a:t>общего числа</a:t>
            </a:r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xmlns="" id="{7A6E0B43-CBC1-4B75-A350-E61BB761761E}"/>
              </a:ext>
            </a:extLst>
          </p:cNvPr>
          <p:cNvSpPr/>
          <p:nvPr/>
        </p:nvSpPr>
        <p:spPr>
          <a:xfrm>
            <a:off x="10885423" y="2994209"/>
            <a:ext cx="914400" cy="338554"/>
          </a:xfrm>
          <a:prstGeom prst="rect">
            <a:avLst/>
          </a:prstGeom>
        </p:spPr>
        <p:txBody>
          <a:bodyPr wrap="none" rtlCol="0" anchor="ctr">
            <a:normAutofit/>
          </a:bodyPr>
          <a:lstStyle/>
          <a:p>
            <a:pPr algn="r" rtl="0">
              <a:spcBef>
                <a:spcPts val="600"/>
              </a:spcBef>
            </a:pPr>
            <a:r>
              <a:rPr lang="ru-RU" sz="1600" dirty="0">
                <a:solidFill>
                  <a:schemeClr val="bg1"/>
                </a:solidFill>
              </a:rPr>
              <a:t> _</a:t>
            </a: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xmlns="" id="{C4B4557E-2EE3-41E0-8A59-E60F50BDB6EC}"/>
              </a:ext>
            </a:extLst>
          </p:cNvPr>
          <p:cNvSpPr/>
          <p:nvPr/>
        </p:nvSpPr>
        <p:spPr>
          <a:xfrm>
            <a:off x="10885423" y="3412943"/>
            <a:ext cx="914400" cy="338554"/>
          </a:xfrm>
          <a:prstGeom prst="rect">
            <a:avLst/>
          </a:prstGeom>
        </p:spPr>
        <p:txBody>
          <a:bodyPr wrap="none" rtlCol="0" anchor="ctr">
            <a:normAutofit/>
          </a:bodyPr>
          <a:lstStyle/>
          <a:p>
            <a:pPr algn="r" rtl="0">
              <a:spcBef>
                <a:spcPts val="600"/>
              </a:spcBef>
            </a:pPr>
            <a:r>
              <a:rPr lang="ru-RU" sz="1600" dirty="0">
                <a:solidFill>
                  <a:schemeClr val="bg1"/>
                </a:solidFill>
              </a:rPr>
              <a:t>186,54 ₽</a:t>
            </a:r>
          </a:p>
        </p:txBody>
      </p:sp>
      <p:grpSp>
        <p:nvGrpSpPr>
          <p:cNvPr id="101" name="Группа 100" descr="Это значок кредитной карты. ">
            <a:extLst>
              <a:ext uri="{FF2B5EF4-FFF2-40B4-BE49-F238E27FC236}">
                <a16:creationId xmlns:a16="http://schemas.microsoft.com/office/drawing/2014/main" xmlns="" id="{3F8007BE-3B68-4A53-AEE4-024A0881F8D7}"/>
              </a:ext>
            </a:extLst>
          </p:cNvPr>
          <p:cNvGrpSpPr/>
          <p:nvPr/>
        </p:nvGrpSpPr>
        <p:grpSpPr>
          <a:xfrm>
            <a:off x="10033226" y="1333742"/>
            <a:ext cx="287338" cy="200025"/>
            <a:chOff x="877888" y="1966913"/>
            <a:chExt cx="287338" cy="200025"/>
          </a:xfrm>
          <a:solidFill>
            <a:schemeClr val="bg1"/>
          </a:solidFill>
        </p:grpSpPr>
        <p:sp>
          <p:nvSpPr>
            <p:cNvPr id="102" name="Полилиния 433">
              <a:extLst>
                <a:ext uri="{FF2B5EF4-FFF2-40B4-BE49-F238E27FC236}">
                  <a16:creationId xmlns:a16="http://schemas.microsoft.com/office/drawing/2014/main" xmlns="" id="{D0CE91C6-2C66-47F1-A984-605FA356B2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7888" y="1966913"/>
              <a:ext cx="287338" cy="200025"/>
            </a:xfrm>
            <a:custGeom>
              <a:avLst/>
              <a:gdLst>
                <a:gd name="T0" fmla="*/ 550 w 903"/>
                <a:gd name="T1" fmla="*/ 473 h 632"/>
                <a:gd name="T2" fmla="*/ 491 w 903"/>
                <a:gd name="T3" fmla="*/ 438 h 632"/>
                <a:gd name="T4" fmla="*/ 499 w 903"/>
                <a:gd name="T5" fmla="*/ 388 h 632"/>
                <a:gd name="T6" fmla="*/ 512 w 903"/>
                <a:gd name="T7" fmla="*/ 331 h 632"/>
                <a:gd name="T8" fmla="*/ 507 w 903"/>
                <a:gd name="T9" fmla="*/ 272 h 632"/>
                <a:gd name="T10" fmla="*/ 486 w 903"/>
                <a:gd name="T11" fmla="*/ 219 h 632"/>
                <a:gd name="T12" fmla="*/ 519 w 903"/>
                <a:gd name="T13" fmla="*/ 173 h 632"/>
                <a:gd name="T14" fmla="*/ 585 w 903"/>
                <a:gd name="T15" fmla="*/ 151 h 632"/>
                <a:gd name="T16" fmla="*/ 651 w 903"/>
                <a:gd name="T17" fmla="*/ 158 h 632"/>
                <a:gd name="T18" fmla="*/ 708 w 903"/>
                <a:gd name="T19" fmla="*/ 189 h 632"/>
                <a:gd name="T20" fmla="*/ 748 w 903"/>
                <a:gd name="T21" fmla="*/ 237 h 632"/>
                <a:gd name="T22" fmla="*/ 767 w 903"/>
                <a:gd name="T23" fmla="*/ 299 h 632"/>
                <a:gd name="T24" fmla="*/ 760 w 903"/>
                <a:gd name="T25" fmla="*/ 366 h 632"/>
                <a:gd name="T26" fmla="*/ 730 w 903"/>
                <a:gd name="T27" fmla="*/ 422 h 632"/>
                <a:gd name="T28" fmla="*/ 681 w 903"/>
                <a:gd name="T29" fmla="*/ 461 h 632"/>
                <a:gd name="T30" fmla="*/ 619 w 903"/>
                <a:gd name="T31" fmla="*/ 481 h 632"/>
                <a:gd name="T32" fmla="*/ 392 w 903"/>
                <a:gd name="T33" fmla="*/ 422 h 632"/>
                <a:gd name="T34" fmla="*/ 387 w 903"/>
                <a:gd name="T35" fmla="*/ 466 h 632"/>
                <a:gd name="T36" fmla="*/ 331 w 903"/>
                <a:gd name="T37" fmla="*/ 452 h 632"/>
                <a:gd name="T38" fmla="*/ 307 w 903"/>
                <a:gd name="T39" fmla="*/ 482 h 632"/>
                <a:gd name="T40" fmla="*/ 268 w 903"/>
                <a:gd name="T41" fmla="*/ 474 h 632"/>
                <a:gd name="T42" fmla="*/ 241 w 903"/>
                <a:gd name="T43" fmla="*/ 452 h 632"/>
                <a:gd name="T44" fmla="*/ 199 w 903"/>
                <a:gd name="T45" fmla="*/ 432 h 632"/>
                <a:gd name="T46" fmla="*/ 174 w 903"/>
                <a:gd name="T47" fmla="*/ 400 h 632"/>
                <a:gd name="T48" fmla="*/ 158 w 903"/>
                <a:gd name="T49" fmla="*/ 361 h 632"/>
                <a:gd name="T50" fmla="*/ 181 w 903"/>
                <a:gd name="T51" fmla="*/ 301 h 632"/>
                <a:gd name="T52" fmla="*/ 181 w 903"/>
                <a:gd name="T53" fmla="*/ 271 h 632"/>
                <a:gd name="T54" fmla="*/ 179 w 903"/>
                <a:gd name="T55" fmla="*/ 223 h 632"/>
                <a:gd name="T56" fmla="*/ 206 w 903"/>
                <a:gd name="T57" fmla="*/ 193 h 632"/>
                <a:gd name="T58" fmla="*/ 241 w 903"/>
                <a:gd name="T59" fmla="*/ 168 h 632"/>
                <a:gd name="T60" fmla="*/ 277 w 903"/>
                <a:gd name="T61" fmla="*/ 156 h 632"/>
                <a:gd name="T62" fmla="*/ 316 w 903"/>
                <a:gd name="T63" fmla="*/ 150 h 632"/>
                <a:gd name="T64" fmla="*/ 362 w 903"/>
                <a:gd name="T65" fmla="*/ 180 h 632"/>
                <a:gd name="T66" fmla="*/ 400 w 903"/>
                <a:gd name="T67" fmla="*/ 173 h 632"/>
                <a:gd name="T68" fmla="*/ 422 w 903"/>
                <a:gd name="T69" fmla="*/ 210 h 632"/>
                <a:gd name="T70" fmla="*/ 447 w 903"/>
                <a:gd name="T71" fmla="*/ 216 h 632"/>
                <a:gd name="T72" fmla="*/ 472 w 903"/>
                <a:gd name="T73" fmla="*/ 259 h 632"/>
                <a:gd name="T74" fmla="*/ 482 w 903"/>
                <a:gd name="T75" fmla="*/ 301 h 632"/>
                <a:gd name="T76" fmla="*/ 482 w 903"/>
                <a:gd name="T77" fmla="*/ 331 h 632"/>
                <a:gd name="T78" fmla="*/ 472 w 903"/>
                <a:gd name="T79" fmla="*/ 373 h 632"/>
                <a:gd name="T80" fmla="*/ 447 w 903"/>
                <a:gd name="T81" fmla="*/ 417 h 632"/>
                <a:gd name="T82" fmla="*/ 422 w 903"/>
                <a:gd name="T83" fmla="*/ 444 h 632"/>
                <a:gd name="T84" fmla="*/ 60 w 903"/>
                <a:gd name="T85" fmla="*/ 1 h 632"/>
                <a:gd name="T86" fmla="*/ 33 w 903"/>
                <a:gd name="T87" fmla="*/ 13 h 632"/>
                <a:gd name="T88" fmla="*/ 13 w 903"/>
                <a:gd name="T89" fmla="*/ 33 h 632"/>
                <a:gd name="T90" fmla="*/ 2 w 903"/>
                <a:gd name="T91" fmla="*/ 60 h 632"/>
                <a:gd name="T92" fmla="*/ 1 w 903"/>
                <a:gd name="T93" fmla="*/ 564 h 632"/>
                <a:gd name="T94" fmla="*/ 10 w 903"/>
                <a:gd name="T95" fmla="*/ 593 h 632"/>
                <a:gd name="T96" fmla="*/ 28 w 903"/>
                <a:gd name="T97" fmla="*/ 615 h 632"/>
                <a:gd name="T98" fmla="*/ 54 w 903"/>
                <a:gd name="T99" fmla="*/ 629 h 632"/>
                <a:gd name="T100" fmla="*/ 828 w 903"/>
                <a:gd name="T101" fmla="*/ 632 h 632"/>
                <a:gd name="T102" fmla="*/ 857 w 903"/>
                <a:gd name="T103" fmla="*/ 626 h 632"/>
                <a:gd name="T104" fmla="*/ 882 w 903"/>
                <a:gd name="T105" fmla="*/ 610 h 632"/>
                <a:gd name="T106" fmla="*/ 898 w 903"/>
                <a:gd name="T107" fmla="*/ 587 h 632"/>
                <a:gd name="T108" fmla="*/ 903 w 903"/>
                <a:gd name="T109" fmla="*/ 557 h 632"/>
                <a:gd name="T110" fmla="*/ 900 w 903"/>
                <a:gd name="T111" fmla="*/ 53 h 632"/>
                <a:gd name="T112" fmla="*/ 886 w 903"/>
                <a:gd name="T113" fmla="*/ 27 h 632"/>
                <a:gd name="T114" fmla="*/ 865 w 903"/>
                <a:gd name="T115" fmla="*/ 9 h 632"/>
                <a:gd name="T116" fmla="*/ 836 w 903"/>
                <a:gd name="T117" fmla="*/ 0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3" h="632">
                  <a:moveTo>
                    <a:pt x="603" y="482"/>
                  </a:moveTo>
                  <a:lnTo>
                    <a:pt x="585" y="481"/>
                  </a:lnTo>
                  <a:lnTo>
                    <a:pt x="567" y="478"/>
                  </a:lnTo>
                  <a:lnTo>
                    <a:pt x="550" y="473"/>
                  </a:lnTo>
                  <a:lnTo>
                    <a:pt x="534" y="467"/>
                  </a:lnTo>
                  <a:lnTo>
                    <a:pt x="519" y="459"/>
                  </a:lnTo>
                  <a:lnTo>
                    <a:pt x="504" y="449"/>
                  </a:lnTo>
                  <a:lnTo>
                    <a:pt x="491" y="438"/>
                  </a:lnTo>
                  <a:lnTo>
                    <a:pt x="478" y="426"/>
                  </a:lnTo>
                  <a:lnTo>
                    <a:pt x="486" y="413"/>
                  </a:lnTo>
                  <a:lnTo>
                    <a:pt x="492" y="401"/>
                  </a:lnTo>
                  <a:lnTo>
                    <a:pt x="499" y="388"/>
                  </a:lnTo>
                  <a:lnTo>
                    <a:pt x="503" y="374"/>
                  </a:lnTo>
                  <a:lnTo>
                    <a:pt x="507" y="360"/>
                  </a:lnTo>
                  <a:lnTo>
                    <a:pt x="510" y="345"/>
                  </a:lnTo>
                  <a:lnTo>
                    <a:pt x="512" y="331"/>
                  </a:lnTo>
                  <a:lnTo>
                    <a:pt x="512" y="316"/>
                  </a:lnTo>
                  <a:lnTo>
                    <a:pt x="512" y="301"/>
                  </a:lnTo>
                  <a:lnTo>
                    <a:pt x="510" y="286"/>
                  </a:lnTo>
                  <a:lnTo>
                    <a:pt x="507" y="272"/>
                  </a:lnTo>
                  <a:lnTo>
                    <a:pt x="503" y="257"/>
                  </a:lnTo>
                  <a:lnTo>
                    <a:pt x="499" y="245"/>
                  </a:lnTo>
                  <a:lnTo>
                    <a:pt x="492" y="232"/>
                  </a:lnTo>
                  <a:lnTo>
                    <a:pt x="486" y="219"/>
                  </a:lnTo>
                  <a:lnTo>
                    <a:pt x="478" y="207"/>
                  </a:lnTo>
                  <a:lnTo>
                    <a:pt x="491" y="194"/>
                  </a:lnTo>
                  <a:lnTo>
                    <a:pt x="504" y="182"/>
                  </a:lnTo>
                  <a:lnTo>
                    <a:pt x="519" y="173"/>
                  </a:lnTo>
                  <a:lnTo>
                    <a:pt x="534" y="165"/>
                  </a:lnTo>
                  <a:lnTo>
                    <a:pt x="550" y="159"/>
                  </a:lnTo>
                  <a:lnTo>
                    <a:pt x="567" y="154"/>
                  </a:lnTo>
                  <a:lnTo>
                    <a:pt x="585" y="151"/>
                  </a:lnTo>
                  <a:lnTo>
                    <a:pt x="603" y="150"/>
                  </a:lnTo>
                  <a:lnTo>
                    <a:pt x="619" y="151"/>
                  </a:lnTo>
                  <a:lnTo>
                    <a:pt x="636" y="153"/>
                  </a:lnTo>
                  <a:lnTo>
                    <a:pt x="651" y="158"/>
                  </a:lnTo>
                  <a:lnTo>
                    <a:pt x="667" y="163"/>
                  </a:lnTo>
                  <a:lnTo>
                    <a:pt x="681" y="171"/>
                  </a:lnTo>
                  <a:lnTo>
                    <a:pt x="695" y="179"/>
                  </a:lnTo>
                  <a:lnTo>
                    <a:pt x="708" y="189"/>
                  </a:lnTo>
                  <a:lnTo>
                    <a:pt x="720" y="200"/>
                  </a:lnTo>
                  <a:lnTo>
                    <a:pt x="730" y="211"/>
                  </a:lnTo>
                  <a:lnTo>
                    <a:pt x="740" y="223"/>
                  </a:lnTo>
                  <a:lnTo>
                    <a:pt x="748" y="237"/>
                  </a:lnTo>
                  <a:lnTo>
                    <a:pt x="755" y="252"/>
                  </a:lnTo>
                  <a:lnTo>
                    <a:pt x="760" y="267"/>
                  </a:lnTo>
                  <a:lnTo>
                    <a:pt x="765" y="283"/>
                  </a:lnTo>
                  <a:lnTo>
                    <a:pt x="767" y="299"/>
                  </a:lnTo>
                  <a:lnTo>
                    <a:pt x="768" y="316"/>
                  </a:lnTo>
                  <a:lnTo>
                    <a:pt x="767" y="333"/>
                  </a:lnTo>
                  <a:lnTo>
                    <a:pt x="765" y="350"/>
                  </a:lnTo>
                  <a:lnTo>
                    <a:pt x="760" y="366"/>
                  </a:lnTo>
                  <a:lnTo>
                    <a:pt x="755" y="381"/>
                  </a:lnTo>
                  <a:lnTo>
                    <a:pt x="748" y="395"/>
                  </a:lnTo>
                  <a:lnTo>
                    <a:pt x="740" y="409"/>
                  </a:lnTo>
                  <a:lnTo>
                    <a:pt x="730" y="422"/>
                  </a:lnTo>
                  <a:lnTo>
                    <a:pt x="720" y="433"/>
                  </a:lnTo>
                  <a:lnTo>
                    <a:pt x="708" y="444"/>
                  </a:lnTo>
                  <a:lnTo>
                    <a:pt x="695" y="454"/>
                  </a:lnTo>
                  <a:lnTo>
                    <a:pt x="681" y="461"/>
                  </a:lnTo>
                  <a:lnTo>
                    <a:pt x="667" y="469"/>
                  </a:lnTo>
                  <a:lnTo>
                    <a:pt x="651" y="474"/>
                  </a:lnTo>
                  <a:lnTo>
                    <a:pt x="636" y="478"/>
                  </a:lnTo>
                  <a:lnTo>
                    <a:pt x="619" y="481"/>
                  </a:lnTo>
                  <a:lnTo>
                    <a:pt x="603" y="482"/>
                  </a:lnTo>
                  <a:close/>
                  <a:moveTo>
                    <a:pt x="422" y="444"/>
                  </a:moveTo>
                  <a:lnTo>
                    <a:pt x="422" y="422"/>
                  </a:lnTo>
                  <a:lnTo>
                    <a:pt x="392" y="422"/>
                  </a:lnTo>
                  <a:lnTo>
                    <a:pt x="392" y="452"/>
                  </a:lnTo>
                  <a:lnTo>
                    <a:pt x="411" y="452"/>
                  </a:lnTo>
                  <a:lnTo>
                    <a:pt x="400" y="459"/>
                  </a:lnTo>
                  <a:lnTo>
                    <a:pt x="387" y="466"/>
                  </a:lnTo>
                  <a:lnTo>
                    <a:pt x="374" y="471"/>
                  </a:lnTo>
                  <a:lnTo>
                    <a:pt x="362" y="475"/>
                  </a:lnTo>
                  <a:lnTo>
                    <a:pt x="362" y="452"/>
                  </a:lnTo>
                  <a:lnTo>
                    <a:pt x="331" y="452"/>
                  </a:lnTo>
                  <a:lnTo>
                    <a:pt x="331" y="481"/>
                  </a:lnTo>
                  <a:lnTo>
                    <a:pt x="324" y="482"/>
                  </a:lnTo>
                  <a:lnTo>
                    <a:pt x="316" y="482"/>
                  </a:lnTo>
                  <a:lnTo>
                    <a:pt x="307" y="482"/>
                  </a:lnTo>
                  <a:lnTo>
                    <a:pt x="296" y="481"/>
                  </a:lnTo>
                  <a:lnTo>
                    <a:pt x="286" y="479"/>
                  </a:lnTo>
                  <a:lnTo>
                    <a:pt x="277" y="477"/>
                  </a:lnTo>
                  <a:lnTo>
                    <a:pt x="268" y="474"/>
                  </a:lnTo>
                  <a:lnTo>
                    <a:pt x="259" y="471"/>
                  </a:lnTo>
                  <a:lnTo>
                    <a:pt x="250" y="468"/>
                  </a:lnTo>
                  <a:lnTo>
                    <a:pt x="241" y="463"/>
                  </a:lnTo>
                  <a:lnTo>
                    <a:pt x="241" y="452"/>
                  </a:lnTo>
                  <a:lnTo>
                    <a:pt x="221" y="452"/>
                  </a:lnTo>
                  <a:lnTo>
                    <a:pt x="214" y="445"/>
                  </a:lnTo>
                  <a:lnTo>
                    <a:pt x="206" y="439"/>
                  </a:lnTo>
                  <a:lnTo>
                    <a:pt x="199" y="432"/>
                  </a:lnTo>
                  <a:lnTo>
                    <a:pt x="192" y="425"/>
                  </a:lnTo>
                  <a:lnTo>
                    <a:pt x="186" y="417"/>
                  </a:lnTo>
                  <a:lnTo>
                    <a:pt x="179" y="409"/>
                  </a:lnTo>
                  <a:lnTo>
                    <a:pt x="174" y="400"/>
                  </a:lnTo>
                  <a:lnTo>
                    <a:pt x="170" y="392"/>
                  </a:lnTo>
                  <a:lnTo>
                    <a:pt x="181" y="392"/>
                  </a:lnTo>
                  <a:lnTo>
                    <a:pt x="181" y="361"/>
                  </a:lnTo>
                  <a:lnTo>
                    <a:pt x="158" y="361"/>
                  </a:lnTo>
                  <a:lnTo>
                    <a:pt x="153" y="346"/>
                  </a:lnTo>
                  <a:lnTo>
                    <a:pt x="151" y="331"/>
                  </a:lnTo>
                  <a:lnTo>
                    <a:pt x="181" y="331"/>
                  </a:lnTo>
                  <a:lnTo>
                    <a:pt x="181" y="301"/>
                  </a:lnTo>
                  <a:lnTo>
                    <a:pt x="151" y="301"/>
                  </a:lnTo>
                  <a:lnTo>
                    <a:pt x="153" y="285"/>
                  </a:lnTo>
                  <a:lnTo>
                    <a:pt x="158" y="271"/>
                  </a:lnTo>
                  <a:lnTo>
                    <a:pt x="181" y="271"/>
                  </a:lnTo>
                  <a:lnTo>
                    <a:pt x="181" y="240"/>
                  </a:lnTo>
                  <a:lnTo>
                    <a:pt x="170" y="240"/>
                  </a:lnTo>
                  <a:lnTo>
                    <a:pt x="174" y="232"/>
                  </a:lnTo>
                  <a:lnTo>
                    <a:pt x="179" y="223"/>
                  </a:lnTo>
                  <a:lnTo>
                    <a:pt x="186" y="216"/>
                  </a:lnTo>
                  <a:lnTo>
                    <a:pt x="192" y="207"/>
                  </a:lnTo>
                  <a:lnTo>
                    <a:pt x="199" y="201"/>
                  </a:lnTo>
                  <a:lnTo>
                    <a:pt x="206" y="193"/>
                  </a:lnTo>
                  <a:lnTo>
                    <a:pt x="214" y="187"/>
                  </a:lnTo>
                  <a:lnTo>
                    <a:pt x="221" y="180"/>
                  </a:lnTo>
                  <a:lnTo>
                    <a:pt x="241" y="180"/>
                  </a:lnTo>
                  <a:lnTo>
                    <a:pt x="241" y="168"/>
                  </a:lnTo>
                  <a:lnTo>
                    <a:pt x="250" y="164"/>
                  </a:lnTo>
                  <a:lnTo>
                    <a:pt x="259" y="161"/>
                  </a:lnTo>
                  <a:lnTo>
                    <a:pt x="268" y="158"/>
                  </a:lnTo>
                  <a:lnTo>
                    <a:pt x="277" y="156"/>
                  </a:lnTo>
                  <a:lnTo>
                    <a:pt x="286" y="153"/>
                  </a:lnTo>
                  <a:lnTo>
                    <a:pt x="296" y="151"/>
                  </a:lnTo>
                  <a:lnTo>
                    <a:pt x="307" y="151"/>
                  </a:lnTo>
                  <a:lnTo>
                    <a:pt x="316" y="150"/>
                  </a:lnTo>
                  <a:lnTo>
                    <a:pt x="324" y="150"/>
                  </a:lnTo>
                  <a:lnTo>
                    <a:pt x="331" y="151"/>
                  </a:lnTo>
                  <a:lnTo>
                    <a:pt x="331" y="180"/>
                  </a:lnTo>
                  <a:lnTo>
                    <a:pt x="362" y="180"/>
                  </a:lnTo>
                  <a:lnTo>
                    <a:pt x="362" y="157"/>
                  </a:lnTo>
                  <a:lnTo>
                    <a:pt x="374" y="161"/>
                  </a:lnTo>
                  <a:lnTo>
                    <a:pt x="387" y="166"/>
                  </a:lnTo>
                  <a:lnTo>
                    <a:pt x="400" y="173"/>
                  </a:lnTo>
                  <a:lnTo>
                    <a:pt x="411" y="180"/>
                  </a:lnTo>
                  <a:lnTo>
                    <a:pt x="392" y="180"/>
                  </a:lnTo>
                  <a:lnTo>
                    <a:pt x="392" y="210"/>
                  </a:lnTo>
                  <a:lnTo>
                    <a:pt x="422" y="210"/>
                  </a:lnTo>
                  <a:lnTo>
                    <a:pt x="422" y="189"/>
                  </a:lnTo>
                  <a:lnTo>
                    <a:pt x="431" y="196"/>
                  </a:lnTo>
                  <a:lnTo>
                    <a:pt x="440" y="206"/>
                  </a:lnTo>
                  <a:lnTo>
                    <a:pt x="447" y="216"/>
                  </a:lnTo>
                  <a:lnTo>
                    <a:pt x="455" y="225"/>
                  </a:lnTo>
                  <a:lnTo>
                    <a:pt x="461" y="236"/>
                  </a:lnTo>
                  <a:lnTo>
                    <a:pt x="467" y="247"/>
                  </a:lnTo>
                  <a:lnTo>
                    <a:pt x="472" y="259"/>
                  </a:lnTo>
                  <a:lnTo>
                    <a:pt x="475" y="271"/>
                  </a:lnTo>
                  <a:lnTo>
                    <a:pt x="452" y="271"/>
                  </a:lnTo>
                  <a:lnTo>
                    <a:pt x="452" y="301"/>
                  </a:lnTo>
                  <a:lnTo>
                    <a:pt x="482" y="301"/>
                  </a:lnTo>
                  <a:lnTo>
                    <a:pt x="482" y="309"/>
                  </a:lnTo>
                  <a:lnTo>
                    <a:pt x="482" y="316"/>
                  </a:lnTo>
                  <a:lnTo>
                    <a:pt x="482" y="324"/>
                  </a:lnTo>
                  <a:lnTo>
                    <a:pt x="482" y="331"/>
                  </a:lnTo>
                  <a:lnTo>
                    <a:pt x="452" y="331"/>
                  </a:lnTo>
                  <a:lnTo>
                    <a:pt x="452" y="361"/>
                  </a:lnTo>
                  <a:lnTo>
                    <a:pt x="475" y="361"/>
                  </a:lnTo>
                  <a:lnTo>
                    <a:pt x="472" y="373"/>
                  </a:lnTo>
                  <a:lnTo>
                    <a:pt x="467" y="385"/>
                  </a:lnTo>
                  <a:lnTo>
                    <a:pt x="461" y="396"/>
                  </a:lnTo>
                  <a:lnTo>
                    <a:pt x="455" y="407"/>
                  </a:lnTo>
                  <a:lnTo>
                    <a:pt x="447" y="417"/>
                  </a:lnTo>
                  <a:lnTo>
                    <a:pt x="440" y="427"/>
                  </a:lnTo>
                  <a:lnTo>
                    <a:pt x="431" y="436"/>
                  </a:lnTo>
                  <a:lnTo>
                    <a:pt x="422" y="444"/>
                  </a:lnTo>
                  <a:lnTo>
                    <a:pt x="422" y="444"/>
                  </a:lnTo>
                  <a:close/>
                  <a:moveTo>
                    <a:pt x="828" y="0"/>
                  </a:moveTo>
                  <a:lnTo>
                    <a:pt x="75" y="0"/>
                  </a:lnTo>
                  <a:lnTo>
                    <a:pt x="68" y="0"/>
                  </a:lnTo>
                  <a:lnTo>
                    <a:pt x="60" y="1"/>
                  </a:lnTo>
                  <a:lnTo>
                    <a:pt x="54" y="3"/>
                  </a:lnTo>
                  <a:lnTo>
                    <a:pt x="46" y="5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3" y="21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40"/>
                  </a:lnTo>
                  <a:lnTo>
                    <a:pt x="7" y="46"/>
                  </a:lnTo>
                  <a:lnTo>
                    <a:pt x="3" y="53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0" y="557"/>
                  </a:lnTo>
                  <a:lnTo>
                    <a:pt x="1" y="564"/>
                  </a:lnTo>
                  <a:lnTo>
                    <a:pt x="2" y="572"/>
                  </a:lnTo>
                  <a:lnTo>
                    <a:pt x="3" y="579"/>
                  </a:lnTo>
                  <a:lnTo>
                    <a:pt x="7" y="586"/>
                  </a:lnTo>
                  <a:lnTo>
                    <a:pt x="10" y="593"/>
                  </a:lnTo>
                  <a:lnTo>
                    <a:pt x="13" y="599"/>
                  </a:lnTo>
                  <a:lnTo>
                    <a:pt x="17" y="605"/>
                  </a:lnTo>
                  <a:lnTo>
                    <a:pt x="23" y="610"/>
                  </a:lnTo>
                  <a:lnTo>
                    <a:pt x="28" y="615"/>
                  </a:lnTo>
                  <a:lnTo>
                    <a:pt x="33" y="619"/>
                  </a:lnTo>
                  <a:lnTo>
                    <a:pt x="40" y="623"/>
                  </a:lnTo>
                  <a:lnTo>
                    <a:pt x="46" y="626"/>
                  </a:lnTo>
                  <a:lnTo>
                    <a:pt x="54" y="629"/>
                  </a:lnTo>
                  <a:lnTo>
                    <a:pt x="60" y="631"/>
                  </a:lnTo>
                  <a:lnTo>
                    <a:pt x="68" y="632"/>
                  </a:lnTo>
                  <a:lnTo>
                    <a:pt x="75" y="632"/>
                  </a:lnTo>
                  <a:lnTo>
                    <a:pt x="828" y="632"/>
                  </a:lnTo>
                  <a:lnTo>
                    <a:pt x="836" y="632"/>
                  </a:lnTo>
                  <a:lnTo>
                    <a:pt x="843" y="631"/>
                  </a:lnTo>
                  <a:lnTo>
                    <a:pt x="851" y="629"/>
                  </a:lnTo>
                  <a:lnTo>
                    <a:pt x="857" y="626"/>
                  </a:lnTo>
                  <a:lnTo>
                    <a:pt x="865" y="623"/>
                  </a:lnTo>
                  <a:lnTo>
                    <a:pt x="870" y="619"/>
                  </a:lnTo>
                  <a:lnTo>
                    <a:pt x="876" y="615"/>
                  </a:lnTo>
                  <a:lnTo>
                    <a:pt x="882" y="610"/>
                  </a:lnTo>
                  <a:lnTo>
                    <a:pt x="886" y="605"/>
                  </a:lnTo>
                  <a:lnTo>
                    <a:pt x="890" y="599"/>
                  </a:lnTo>
                  <a:lnTo>
                    <a:pt x="895" y="593"/>
                  </a:lnTo>
                  <a:lnTo>
                    <a:pt x="898" y="587"/>
                  </a:lnTo>
                  <a:lnTo>
                    <a:pt x="900" y="579"/>
                  </a:lnTo>
                  <a:lnTo>
                    <a:pt x="902" y="572"/>
                  </a:lnTo>
                  <a:lnTo>
                    <a:pt x="903" y="564"/>
                  </a:lnTo>
                  <a:lnTo>
                    <a:pt x="903" y="557"/>
                  </a:lnTo>
                  <a:lnTo>
                    <a:pt x="903" y="75"/>
                  </a:lnTo>
                  <a:lnTo>
                    <a:pt x="903" y="68"/>
                  </a:lnTo>
                  <a:lnTo>
                    <a:pt x="902" y="60"/>
                  </a:lnTo>
                  <a:lnTo>
                    <a:pt x="900" y="53"/>
                  </a:lnTo>
                  <a:lnTo>
                    <a:pt x="898" y="46"/>
                  </a:lnTo>
                  <a:lnTo>
                    <a:pt x="895" y="40"/>
                  </a:lnTo>
                  <a:lnTo>
                    <a:pt x="890" y="33"/>
                  </a:lnTo>
                  <a:lnTo>
                    <a:pt x="886" y="27"/>
                  </a:lnTo>
                  <a:lnTo>
                    <a:pt x="882" y="21"/>
                  </a:lnTo>
                  <a:lnTo>
                    <a:pt x="876" y="17"/>
                  </a:lnTo>
                  <a:lnTo>
                    <a:pt x="870" y="13"/>
                  </a:lnTo>
                  <a:lnTo>
                    <a:pt x="865" y="9"/>
                  </a:lnTo>
                  <a:lnTo>
                    <a:pt x="857" y="5"/>
                  </a:lnTo>
                  <a:lnTo>
                    <a:pt x="851" y="3"/>
                  </a:lnTo>
                  <a:lnTo>
                    <a:pt x="843" y="1"/>
                  </a:lnTo>
                  <a:lnTo>
                    <a:pt x="836" y="0"/>
                  </a:lnTo>
                  <a:lnTo>
                    <a:pt x="8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03" name="Прямоугольник 434">
              <a:extLst>
                <a:ext uri="{FF2B5EF4-FFF2-40B4-BE49-F238E27FC236}">
                  <a16:creationId xmlns:a16="http://schemas.microsoft.com/office/drawing/2014/main" xmlns="" id="{30899386-DA20-45F7-9F80-B28EF46BC1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563" y="20526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04" name="Прямоугольник 435">
              <a:extLst>
                <a:ext uri="{FF2B5EF4-FFF2-40B4-BE49-F238E27FC236}">
                  <a16:creationId xmlns:a16="http://schemas.microsoft.com/office/drawing/2014/main" xmlns="" id="{834CEF6D-25BC-4467-90F0-FCB8E616C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563" y="20716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05" name="Прямоугольник 436">
              <a:extLst>
                <a:ext uri="{FF2B5EF4-FFF2-40B4-BE49-F238E27FC236}">
                  <a16:creationId xmlns:a16="http://schemas.microsoft.com/office/drawing/2014/main" xmlns="" id="{5A07BE7D-17A5-48AF-BBAE-2F8EDCE81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3613" y="20812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06" name="Прямоугольник 437">
              <a:extLst>
                <a:ext uri="{FF2B5EF4-FFF2-40B4-BE49-F238E27FC236}">
                  <a16:creationId xmlns:a16="http://schemas.microsoft.com/office/drawing/2014/main" xmlns="" id="{ABCE1F96-72C3-41F5-9324-133CEA8B52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3613" y="210026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07" name="Прямоугольник 438">
              <a:extLst>
                <a:ext uri="{FF2B5EF4-FFF2-40B4-BE49-F238E27FC236}">
                  <a16:creationId xmlns:a16="http://schemas.microsoft.com/office/drawing/2014/main" xmlns="" id="{F30470D5-34E0-4759-9B13-ECD38D2073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3613" y="202406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08" name="Прямоугольник 439">
              <a:extLst>
                <a:ext uri="{FF2B5EF4-FFF2-40B4-BE49-F238E27FC236}">
                  <a16:creationId xmlns:a16="http://schemas.microsoft.com/office/drawing/2014/main" xmlns="" id="{25219C16-596F-4188-8E6E-1C56615455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3613" y="206216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09" name="Прямоугольник 440">
              <a:extLst>
                <a:ext uri="{FF2B5EF4-FFF2-40B4-BE49-F238E27FC236}">
                  <a16:creationId xmlns:a16="http://schemas.microsoft.com/office/drawing/2014/main" xmlns="" id="{DC624ED0-73A8-494E-A006-0DBAE5879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3613" y="20431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10" name="Прямоугольник 441">
              <a:extLst>
                <a:ext uri="{FF2B5EF4-FFF2-40B4-BE49-F238E27FC236}">
                  <a16:creationId xmlns:a16="http://schemas.microsoft.com/office/drawing/2014/main" xmlns="" id="{669F6E53-A695-4E1F-AB85-A34FE43DB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300" y="20812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11" name="Прямоугольник 442">
              <a:extLst>
                <a:ext uri="{FF2B5EF4-FFF2-40B4-BE49-F238E27FC236}">
                  <a16:creationId xmlns:a16="http://schemas.microsoft.com/office/drawing/2014/main" xmlns="" id="{C17D0782-16A5-4FE1-8F4B-BD0C1111CC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300" y="206216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12" name="Прямоугольник 443">
              <a:extLst>
                <a:ext uri="{FF2B5EF4-FFF2-40B4-BE49-F238E27FC236}">
                  <a16:creationId xmlns:a16="http://schemas.microsoft.com/office/drawing/2014/main" xmlns="" id="{272E8601-9310-490D-94F6-63CEEB8F7A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300" y="2043113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13" name="Прямоугольник 444">
              <a:extLst>
                <a:ext uri="{FF2B5EF4-FFF2-40B4-BE49-F238E27FC236}">
                  <a16:creationId xmlns:a16="http://schemas.microsoft.com/office/drawing/2014/main" xmlns="" id="{FE61DE21-6C27-46D8-842D-BDD3C8EF71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563" y="209073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14" name="Прямоугольник 445">
              <a:extLst>
                <a:ext uri="{FF2B5EF4-FFF2-40B4-BE49-F238E27FC236}">
                  <a16:creationId xmlns:a16="http://schemas.microsoft.com/office/drawing/2014/main" xmlns="" id="{6CCE631C-12A5-4752-8E65-BA8787F570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563" y="2033588"/>
              <a:ext cx="9525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15" name="Прямоугольник 446">
              <a:extLst>
                <a:ext uri="{FF2B5EF4-FFF2-40B4-BE49-F238E27FC236}">
                  <a16:creationId xmlns:a16="http://schemas.microsoft.com/office/drawing/2014/main" xmlns="" id="{3CB2E858-A7D8-4E87-AE5E-5399DC5D8B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3" y="2052638"/>
              <a:ext cx="1111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16" name="Прямоугольник 447">
              <a:extLst>
                <a:ext uri="{FF2B5EF4-FFF2-40B4-BE49-F238E27FC236}">
                  <a16:creationId xmlns:a16="http://schemas.microsoft.com/office/drawing/2014/main" xmlns="" id="{B78B1C91-9EA0-420D-AB04-82322F7DF8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3" y="2071688"/>
              <a:ext cx="1111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17" name="Прямоугольник 448">
              <a:extLst>
                <a:ext uri="{FF2B5EF4-FFF2-40B4-BE49-F238E27FC236}">
                  <a16:creationId xmlns:a16="http://schemas.microsoft.com/office/drawing/2014/main" xmlns="" id="{9BBF9638-FA96-4436-AE58-8EBA61CBA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3" y="2090738"/>
              <a:ext cx="1111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18" name="Прямоугольник 449">
              <a:extLst>
                <a:ext uri="{FF2B5EF4-FFF2-40B4-BE49-F238E27FC236}">
                  <a16:creationId xmlns:a16="http://schemas.microsoft.com/office/drawing/2014/main" xmlns="" id="{919C5518-E69B-42C0-AFDE-170FE83E28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3" y="2033588"/>
              <a:ext cx="11113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</p:grpSp>
      <p:grpSp>
        <p:nvGrpSpPr>
          <p:cNvPr id="120" name="Группа 225" descr="Это карта.">
            <a:extLst>
              <a:ext uri="{FF2B5EF4-FFF2-40B4-BE49-F238E27FC236}">
                <a16:creationId xmlns:a16="http://schemas.microsoft.com/office/drawing/2014/main" xmlns="" id="{E7C433E1-2468-4CB5-BB9B-DC81C26CDDD2}"/>
              </a:ext>
            </a:extLst>
          </p:cNvPr>
          <p:cNvGrpSpPr>
            <a:grpSpLocks/>
          </p:cNvGrpSpPr>
          <p:nvPr/>
        </p:nvGrpSpPr>
        <p:grpSpPr bwMode="auto">
          <a:xfrm>
            <a:off x="611417" y="4640855"/>
            <a:ext cx="2805786" cy="1464670"/>
            <a:chOff x="61887" y="752420"/>
            <a:chExt cx="8725336" cy="5044568"/>
          </a:xfrm>
          <a:solidFill>
            <a:srgbClr val="7F7F7F"/>
          </a:solidFill>
        </p:grpSpPr>
        <p:sp>
          <p:nvSpPr>
            <p:cNvPr id="121" name="Полилиния 5962">
              <a:extLst>
                <a:ext uri="{FF2B5EF4-FFF2-40B4-BE49-F238E27FC236}">
                  <a16:creationId xmlns:a16="http://schemas.microsoft.com/office/drawing/2014/main" xmlns="" id="{33931C5B-EF27-4D07-A2CC-B6D8CF9FC7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79735" y="3535028"/>
              <a:ext cx="1189097" cy="2261960"/>
            </a:xfrm>
            <a:custGeom>
              <a:avLst/>
              <a:gdLst>
                <a:gd name="T0" fmla="*/ 168775 w 1874"/>
                <a:gd name="T1" fmla="*/ 2086902 h 3562"/>
                <a:gd name="T2" fmla="*/ 147202 w 1874"/>
                <a:gd name="T3" fmla="*/ 1968776 h 3562"/>
                <a:gd name="T4" fmla="*/ 184003 w 1874"/>
                <a:gd name="T5" fmla="*/ 1976397 h 3562"/>
                <a:gd name="T6" fmla="*/ 161161 w 1874"/>
                <a:gd name="T7" fmla="*/ 1982748 h 3562"/>
                <a:gd name="T8" fmla="*/ 154816 w 1874"/>
                <a:gd name="T9" fmla="*/ 2042446 h 3562"/>
                <a:gd name="T10" fmla="*/ 156085 w 1874"/>
                <a:gd name="T11" fmla="*/ 1997990 h 3562"/>
                <a:gd name="T12" fmla="*/ 147202 w 1874"/>
                <a:gd name="T13" fmla="*/ 2006881 h 3562"/>
                <a:gd name="T14" fmla="*/ 184003 w 1874"/>
                <a:gd name="T15" fmla="*/ 2086902 h 3562"/>
                <a:gd name="T16" fmla="*/ 153547 w 1874"/>
                <a:gd name="T17" fmla="*/ 1999260 h 3562"/>
                <a:gd name="T18" fmla="*/ 185272 w 1874"/>
                <a:gd name="T19" fmla="*/ 1850649 h 3562"/>
                <a:gd name="T20" fmla="*/ 192886 w 1874"/>
                <a:gd name="T21" fmla="*/ 1841758 h 3562"/>
                <a:gd name="T22" fmla="*/ 166237 w 1874"/>
                <a:gd name="T23" fmla="*/ 1884944 h 3562"/>
                <a:gd name="T24" fmla="*/ 348971 w 1874"/>
                <a:gd name="T25" fmla="*/ 2235513 h 3562"/>
                <a:gd name="T26" fmla="*/ 304556 w 1874"/>
                <a:gd name="T27" fmla="*/ 2245675 h 3562"/>
                <a:gd name="T28" fmla="*/ 284252 w 1874"/>
                <a:gd name="T29" fmla="*/ 2227892 h 3562"/>
                <a:gd name="T30" fmla="*/ 323591 w 1874"/>
                <a:gd name="T31" fmla="*/ 2224082 h 3562"/>
                <a:gd name="T32" fmla="*/ 277907 w 1874"/>
                <a:gd name="T33" fmla="*/ 2230433 h 3562"/>
                <a:gd name="T34" fmla="*/ 170044 w 1874"/>
                <a:gd name="T35" fmla="*/ 2140250 h 3562"/>
                <a:gd name="T36" fmla="*/ 180196 w 1874"/>
                <a:gd name="T37" fmla="*/ 2163113 h 3562"/>
                <a:gd name="T38" fmla="*/ 157354 w 1874"/>
                <a:gd name="T39" fmla="*/ 2090713 h 3562"/>
                <a:gd name="T40" fmla="*/ 247452 w 1874"/>
                <a:gd name="T41" fmla="*/ 2198678 h 3562"/>
                <a:gd name="T42" fmla="*/ 214458 w 1874"/>
                <a:gd name="T43" fmla="*/ 2170734 h 3562"/>
                <a:gd name="T44" fmla="*/ 224610 w 1874"/>
                <a:gd name="T45" fmla="*/ 2189787 h 3562"/>
                <a:gd name="T46" fmla="*/ 300749 w 1874"/>
                <a:gd name="T47" fmla="*/ 2198678 h 3562"/>
                <a:gd name="T48" fmla="*/ 237300 w 1874"/>
                <a:gd name="T49" fmla="*/ 2207569 h 3562"/>
                <a:gd name="T50" fmla="*/ 319784 w 1874"/>
                <a:gd name="T51" fmla="*/ 2224082 h 3562"/>
                <a:gd name="T52" fmla="*/ 184003 w 1874"/>
                <a:gd name="T53" fmla="*/ 1738874 h 3562"/>
                <a:gd name="T54" fmla="*/ 166237 w 1874"/>
                <a:gd name="T55" fmla="*/ 1802383 h 3562"/>
                <a:gd name="T56" fmla="*/ 187810 w 1874"/>
                <a:gd name="T57" fmla="*/ 1807463 h 3562"/>
                <a:gd name="T58" fmla="*/ 176389 w 1874"/>
                <a:gd name="T59" fmla="*/ 1878593 h 3562"/>
                <a:gd name="T60" fmla="*/ 939048 w 1874"/>
                <a:gd name="T61" fmla="*/ 443292 h 3562"/>
                <a:gd name="T62" fmla="*/ 767735 w 1874"/>
                <a:gd name="T63" fmla="*/ 403917 h 3562"/>
                <a:gd name="T64" fmla="*/ 761390 w 1874"/>
                <a:gd name="T65" fmla="*/ 248955 h 3562"/>
                <a:gd name="T66" fmla="*/ 611650 w 1874"/>
                <a:gd name="T67" fmla="*/ 190527 h 3562"/>
                <a:gd name="T68" fmla="*/ 474600 w 1874"/>
                <a:gd name="T69" fmla="*/ 59698 h 3562"/>
                <a:gd name="T70" fmla="*/ 281714 w 1874"/>
                <a:gd name="T71" fmla="*/ 21593 h 3562"/>
                <a:gd name="T72" fmla="*/ 157354 w 1874"/>
                <a:gd name="T73" fmla="*/ 45726 h 3562"/>
                <a:gd name="T74" fmla="*/ 91367 w 1874"/>
                <a:gd name="T75" fmla="*/ 299762 h 3562"/>
                <a:gd name="T76" fmla="*/ 35532 w 1874"/>
                <a:gd name="T77" fmla="*/ 461075 h 3562"/>
                <a:gd name="T78" fmla="*/ 109133 w 1874"/>
                <a:gd name="T79" fmla="*/ 768458 h 3562"/>
                <a:gd name="T80" fmla="*/ 275370 w 1874"/>
                <a:gd name="T81" fmla="*/ 1108865 h 3562"/>
                <a:gd name="T82" fmla="*/ 252528 w 1874"/>
                <a:gd name="T83" fmla="*/ 1420059 h 3562"/>
                <a:gd name="T84" fmla="*/ 196693 w 1874"/>
                <a:gd name="T85" fmla="*/ 1667744 h 3562"/>
                <a:gd name="T86" fmla="*/ 209382 w 1874"/>
                <a:gd name="T87" fmla="*/ 1797302 h 3562"/>
                <a:gd name="T88" fmla="*/ 171313 w 1874"/>
                <a:gd name="T89" fmla="*/ 1882404 h 3562"/>
                <a:gd name="T90" fmla="*/ 170044 w 1874"/>
                <a:gd name="T91" fmla="*/ 1947183 h 3562"/>
                <a:gd name="T92" fmla="*/ 176389 w 1874"/>
                <a:gd name="T93" fmla="*/ 2011962 h 3562"/>
                <a:gd name="T94" fmla="*/ 185272 w 1874"/>
                <a:gd name="T95" fmla="*/ 2053878 h 3562"/>
                <a:gd name="T96" fmla="*/ 196693 w 1874"/>
                <a:gd name="T97" fmla="*/ 2100874 h 3562"/>
                <a:gd name="T98" fmla="*/ 194155 w 1874"/>
                <a:gd name="T99" fmla="*/ 2113576 h 3562"/>
                <a:gd name="T100" fmla="*/ 233493 w 1874"/>
                <a:gd name="T101" fmla="*/ 2131359 h 3562"/>
                <a:gd name="T102" fmla="*/ 255066 w 1874"/>
                <a:gd name="T103" fmla="*/ 2141520 h 3562"/>
                <a:gd name="T104" fmla="*/ 314708 w 1874"/>
                <a:gd name="T105" fmla="*/ 2122467 h 3562"/>
                <a:gd name="T106" fmla="*/ 348971 w 1874"/>
                <a:gd name="T107" fmla="*/ 1890025 h 3562"/>
                <a:gd name="T108" fmla="*/ 453027 w 1874"/>
                <a:gd name="T109" fmla="*/ 1764277 h 3562"/>
                <a:gd name="T110" fmla="*/ 491097 w 1874"/>
                <a:gd name="T111" fmla="*/ 1635989 h 3562"/>
                <a:gd name="T112" fmla="*/ 629416 w 1874"/>
                <a:gd name="T113" fmla="*/ 1491189 h 3562"/>
                <a:gd name="T114" fmla="*/ 865447 w 1874"/>
                <a:gd name="T115" fmla="*/ 1158402 h 3562"/>
                <a:gd name="T116" fmla="*/ 1079905 w 1874"/>
                <a:gd name="T117" fmla="*/ 900556 h 3562"/>
                <a:gd name="T118" fmla="*/ 426379 w 1874"/>
                <a:gd name="T119" fmla="*/ 2222811 h 3562"/>
                <a:gd name="T120" fmla="*/ 184003 w 1874"/>
                <a:gd name="T121" fmla="*/ 1928130 h 3562"/>
                <a:gd name="T122" fmla="*/ 159892 w 1874"/>
                <a:gd name="T123" fmla="*/ 1994179 h 3562"/>
                <a:gd name="T124" fmla="*/ 175120 w 1874"/>
                <a:gd name="T125" fmla="*/ 2027204 h 356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74"/>
                <a:gd name="T190" fmla="*/ 0 h 3562"/>
                <a:gd name="T191" fmla="*/ 1874 w 1874"/>
                <a:gd name="T192" fmla="*/ 3562 h 356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74" h="3562">
                  <a:moveTo>
                    <a:pt x="282" y="3320"/>
                  </a:moveTo>
                  <a:lnTo>
                    <a:pt x="282" y="3320"/>
                  </a:lnTo>
                  <a:lnTo>
                    <a:pt x="286" y="3322"/>
                  </a:lnTo>
                  <a:lnTo>
                    <a:pt x="286" y="3320"/>
                  </a:lnTo>
                  <a:lnTo>
                    <a:pt x="284" y="3316"/>
                  </a:lnTo>
                  <a:lnTo>
                    <a:pt x="282" y="3312"/>
                  </a:lnTo>
                  <a:lnTo>
                    <a:pt x="278" y="3308"/>
                  </a:lnTo>
                  <a:lnTo>
                    <a:pt x="274" y="3308"/>
                  </a:lnTo>
                  <a:lnTo>
                    <a:pt x="274" y="3310"/>
                  </a:lnTo>
                  <a:lnTo>
                    <a:pt x="276" y="3314"/>
                  </a:lnTo>
                  <a:lnTo>
                    <a:pt x="276" y="3316"/>
                  </a:lnTo>
                  <a:lnTo>
                    <a:pt x="282" y="3320"/>
                  </a:lnTo>
                  <a:close/>
                  <a:moveTo>
                    <a:pt x="286" y="3348"/>
                  </a:moveTo>
                  <a:lnTo>
                    <a:pt x="286" y="3348"/>
                  </a:lnTo>
                  <a:lnTo>
                    <a:pt x="288" y="3348"/>
                  </a:lnTo>
                  <a:lnTo>
                    <a:pt x="290" y="3348"/>
                  </a:lnTo>
                  <a:lnTo>
                    <a:pt x="296" y="3344"/>
                  </a:lnTo>
                  <a:lnTo>
                    <a:pt x="294" y="3340"/>
                  </a:lnTo>
                  <a:lnTo>
                    <a:pt x="286" y="3334"/>
                  </a:lnTo>
                  <a:lnTo>
                    <a:pt x="282" y="3330"/>
                  </a:lnTo>
                  <a:lnTo>
                    <a:pt x="278" y="3330"/>
                  </a:lnTo>
                  <a:lnTo>
                    <a:pt x="276" y="3332"/>
                  </a:lnTo>
                  <a:lnTo>
                    <a:pt x="278" y="3334"/>
                  </a:lnTo>
                  <a:lnTo>
                    <a:pt x="278" y="3336"/>
                  </a:lnTo>
                  <a:lnTo>
                    <a:pt x="280" y="3336"/>
                  </a:lnTo>
                  <a:lnTo>
                    <a:pt x="282" y="3336"/>
                  </a:lnTo>
                  <a:lnTo>
                    <a:pt x="284" y="3336"/>
                  </a:lnTo>
                  <a:lnTo>
                    <a:pt x="284" y="3338"/>
                  </a:lnTo>
                  <a:lnTo>
                    <a:pt x="284" y="3340"/>
                  </a:lnTo>
                  <a:lnTo>
                    <a:pt x="284" y="3342"/>
                  </a:lnTo>
                  <a:lnTo>
                    <a:pt x="286" y="3348"/>
                  </a:lnTo>
                  <a:close/>
                  <a:moveTo>
                    <a:pt x="270" y="3286"/>
                  </a:moveTo>
                  <a:lnTo>
                    <a:pt x="270" y="3286"/>
                  </a:lnTo>
                  <a:lnTo>
                    <a:pt x="270" y="3280"/>
                  </a:lnTo>
                  <a:lnTo>
                    <a:pt x="268" y="3278"/>
                  </a:lnTo>
                  <a:lnTo>
                    <a:pt x="266" y="3278"/>
                  </a:lnTo>
                  <a:lnTo>
                    <a:pt x="262" y="3278"/>
                  </a:lnTo>
                  <a:lnTo>
                    <a:pt x="260" y="3280"/>
                  </a:lnTo>
                  <a:lnTo>
                    <a:pt x="256" y="3286"/>
                  </a:lnTo>
                  <a:lnTo>
                    <a:pt x="252" y="3292"/>
                  </a:lnTo>
                  <a:lnTo>
                    <a:pt x="254" y="3292"/>
                  </a:lnTo>
                  <a:lnTo>
                    <a:pt x="258" y="3292"/>
                  </a:lnTo>
                  <a:lnTo>
                    <a:pt x="262" y="3290"/>
                  </a:lnTo>
                  <a:lnTo>
                    <a:pt x="262" y="3288"/>
                  </a:lnTo>
                  <a:lnTo>
                    <a:pt x="264" y="3286"/>
                  </a:lnTo>
                  <a:lnTo>
                    <a:pt x="266" y="3286"/>
                  </a:lnTo>
                  <a:lnTo>
                    <a:pt x="266" y="3288"/>
                  </a:lnTo>
                  <a:lnTo>
                    <a:pt x="268" y="3290"/>
                  </a:lnTo>
                  <a:lnTo>
                    <a:pt x="270" y="3288"/>
                  </a:lnTo>
                  <a:lnTo>
                    <a:pt x="270" y="3286"/>
                  </a:lnTo>
                  <a:close/>
                  <a:moveTo>
                    <a:pt x="262" y="3260"/>
                  </a:moveTo>
                  <a:lnTo>
                    <a:pt x="262" y="3260"/>
                  </a:lnTo>
                  <a:lnTo>
                    <a:pt x="256" y="3260"/>
                  </a:lnTo>
                  <a:lnTo>
                    <a:pt x="254" y="3260"/>
                  </a:lnTo>
                  <a:lnTo>
                    <a:pt x="254" y="3262"/>
                  </a:lnTo>
                  <a:lnTo>
                    <a:pt x="256" y="3264"/>
                  </a:lnTo>
                  <a:lnTo>
                    <a:pt x="258" y="3266"/>
                  </a:lnTo>
                  <a:lnTo>
                    <a:pt x="260" y="3270"/>
                  </a:lnTo>
                  <a:lnTo>
                    <a:pt x="264" y="3272"/>
                  </a:lnTo>
                  <a:lnTo>
                    <a:pt x="266" y="3270"/>
                  </a:lnTo>
                  <a:lnTo>
                    <a:pt x="268" y="3268"/>
                  </a:lnTo>
                  <a:lnTo>
                    <a:pt x="270" y="3266"/>
                  </a:lnTo>
                  <a:lnTo>
                    <a:pt x="274" y="3266"/>
                  </a:lnTo>
                  <a:lnTo>
                    <a:pt x="276" y="3266"/>
                  </a:lnTo>
                  <a:lnTo>
                    <a:pt x="276" y="3258"/>
                  </a:lnTo>
                  <a:lnTo>
                    <a:pt x="274" y="3254"/>
                  </a:lnTo>
                  <a:lnTo>
                    <a:pt x="270" y="3250"/>
                  </a:lnTo>
                  <a:lnTo>
                    <a:pt x="268" y="3250"/>
                  </a:lnTo>
                  <a:lnTo>
                    <a:pt x="266" y="3252"/>
                  </a:lnTo>
                  <a:lnTo>
                    <a:pt x="268" y="3258"/>
                  </a:lnTo>
                  <a:lnTo>
                    <a:pt x="266" y="3260"/>
                  </a:lnTo>
                  <a:lnTo>
                    <a:pt x="262" y="3260"/>
                  </a:lnTo>
                  <a:close/>
                  <a:moveTo>
                    <a:pt x="236" y="3110"/>
                  </a:moveTo>
                  <a:lnTo>
                    <a:pt x="236" y="3110"/>
                  </a:lnTo>
                  <a:lnTo>
                    <a:pt x="238" y="3110"/>
                  </a:lnTo>
                  <a:lnTo>
                    <a:pt x="240" y="3112"/>
                  </a:lnTo>
                  <a:lnTo>
                    <a:pt x="240" y="3118"/>
                  </a:lnTo>
                  <a:lnTo>
                    <a:pt x="240" y="3126"/>
                  </a:lnTo>
                  <a:lnTo>
                    <a:pt x="242" y="3128"/>
                  </a:lnTo>
                  <a:lnTo>
                    <a:pt x="244" y="3128"/>
                  </a:lnTo>
                  <a:lnTo>
                    <a:pt x="248" y="3124"/>
                  </a:lnTo>
                  <a:lnTo>
                    <a:pt x="250" y="3120"/>
                  </a:lnTo>
                  <a:lnTo>
                    <a:pt x="244" y="3108"/>
                  </a:lnTo>
                  <a:lnTo>
                    <a:pt x="240" y="3102"/>
                  </a:lnTo>
                  <a:lnTo>
                    <a:pt x="240" y="3096"/>
                  </a:lnTo>
                  <a:lnTo>
                    <a:pt x="238" y="3090"/>
                  </a:lnTo>
                  <a:lnTo>
                    <a:pt x="236" y="3088"/>
                  </a:lnTo>
                  <a:lnTo>
                    <a:pt x="232" y="3090"/>
                  </a:lnTo>
                  <a:lnTo>
                    <a:pt x="230" y="3094"/>
                  </a:lnTo>
                  <a:lnTo>
                    <a:pt x="230" y="3098"/>
                  </a:lnTo>
                  <a:lnTo>
                    <a:pt x="232" y="3100"/>
                  </a:lnTo>
                  <a:lnTo>
                    <a:pt x="232" y="3104"/>
                  </a:lnTo>
                  <a:lnTo>
                    <a:pt x="230" y="3108"/>
                  </a:lnTo>
                  <a:lnTo>
                    <a:pt x="230" y="3110"/>
                  </a:lnTo>
                  <a:lnTo>
                    <a:pt x="232" y="3110"/>
                  </a:lnTo>
                  <a:lnTo>
                    <a:pt x="236" y="3110"/>
                  </a:lnTo>
                  <a:close/>
                  <a:moveTo>
                    <a:pt x="284" y="3278"/>
                  </a:moveTo>
                  <a:lnTo>
                    <a:pt x="284" y="3278"/>
                  </a:lnTo>
                  <a:lnTo>
                    <a:pt x="284" y="3276"/>
                  </a:lnTo>
                  <a:lnTo>
                    <a:pt x="284" y="3270"/>
                  </a:lnTo>
                  <a:lnTo>
                    <a:pt x="282" y="3264"/>
                  </a:lnTo>
                  <a:lnTo>
                    <a:pt x="280" y="3260"/>
                  </a:lnTo>
                  <a:lnTo>
                    <a:pt x="278" y="3264"/>
                  </a:lnTo>
                  <a:lnTo>
                    <a:pt x="278" y="3270"/>
                  </a:lnTo>
                  <a:lnTo>
                    <a:pt x="280" y="3276"/>
                  </a:lnTo>
                  <a:lnTo>
                    <a:pt x="282" y="3278"/>
                  </a:lnTo>
                  <a:lnTo>
                    <a:pt x="284" y="3278"/>
                  </a:lnTo>
                  <a:close/>
                  <a:moveTo>
                    <a:pt x="304" y="3362"/>
                  </a:moveTo>
                  <a:lnTo>
                    <a:pt x="304" y="3362"/>
                  </a:lnTo>
                  <a:lnTo>
                    <a:pt x="304" y="3358"/>
                  </a:lnTo>
                  <a:lnTo>
                    <a:pt x="304" y="3356"/>
                  </a:lnTo>
                  <a:lnTo>
                    <a:pt x="306" y="3354"/>
                  </a:lnTo>
                  <a:lnTo>
                    <a:pt x="304" y="3352"/>
                  </a:lnTo>
                  <a:lnTo>
                    <a:pt x="302" y="3350"/>
                  </a:lnTo>
                  <a:lnTo>
                    <a:pt x="300" y="3350"/>
                  </a:lnTo>
                  <a:lnTo>
                    <a:pt x="294" y="3356"/>
                  </a:lnTo>
                  <a:lnTo>
                    <a:pt x="292" y="3360"/>
                  </a:lnTo>
                  <a:lnTo>
                    <a:pt x="292" y="3362"/>
                  </a:lnTo>
                  <a:lnTo>
                    <a:pt x="296" y="3368"/>
                  </a:lnTo>
                  <a:lnTo>
                    <a:pt x="298" y="3368"/>
                  </a:lnTo>
                  <a:lnTo>
                    <a:pt x="300" y="3368"/>
                  </a:lnTo>
                  <a:lnTo>
                    <a:pt x="302" y="3366"/>
                  </a:lnTo>
                  <a:lnTo>
                    <a:pt x="304" y="3362"/>
                  </a:lnTo>
                  <a:close/>
                  <a:moveTo>
                    <a:pt x="262" y="3320"/>
                  </a:moveTo>
                  <a:lnTo>
                    <a:pt x="262" y="3320"/>
                  </a:lnTo>
                  <a:lnTo>
                    <a:pt x="260" y="3330"/>
                  </a:lnTo>
                  <a:lnTo>
                    <a:pt x="258" y="3332"/>
                  </a:lnTo>
                  <a:lnTo>
                    <a:pt x="260" y="3330"/>
                  </a:lnTo>
                  <a:lnTo>
                    <a:pt x="264" y="3328"/>
                  </a:lnTo>
                  <a:lnTo>
                    <a:pt x="268" y="3320"/>
                  </a:lnTo>
                  <a:lnTo>
                    <a:pt x="268" y="3316"/>
                  </a:lnTo>
                  <a:lnTo>
                    <a:pt x="266" y="3314"/>
                  </a:lnTo>
                  <a:lnTo>
                    <a:pt x="264" y="3314"/>
                  </a:lnTo>
                  <a:lnTo>
                    <a:pt x="262" y="3320"/>
                  </a:lnTo>
                  <a:close/>
                  <a:moveTo>
                    <a:pt x="276" y="3112"/>
                  </a:moveTo>
                  <a:lnTo>
                    <a:pt x="276" y="3112"/>
                  </a:lnTo>
                  <a:lnTo>
                    <a:pt x="286" y="3114"/>
                  </a:lnTo>
                  <a:lnTo>
                    <a:pt x="288" y="3114"/>
                  </a:lnTo>
                  <a:lnTo>
                    <a:pt x="290" y="3112"/>
                  </a:lnTo>
                  <a:lnTo>
                    <a:pt x="284" y="3110"/>
                  </a:lnTo>
                  <a:lnTo>
                    <a:pt x="276" y="3102"/>
                  </a:lnTo>
                  <a:lnTo>
                    <a:pt x="270" y="3096"/>
                  </a:lnTo>
                  <a:lnTo>
                    <a:pt x="270" y="3098"/>
                  </a:lnTo>
                  <a:lnTo>
                    <a:pt x="270" y="3102"/>
                  </a:lnTo>
                  <a:lnTo>
                    <a:pt x="272" y="3108"/>
                  </a:lnTo>
                  <a:lnTo>
                    <a:pt x="276" y="3112"/>
                  </a:lnTo>
                  <a:close/>
                  <a:moveTo>
                    <a:pt x="274" y="3270"/>
                  </a:moveTo>
                  <a:lnTo>
                    <a:pt x="274" y="3270"/>
                  </a:lnTo>
                  <a:lnTo>
                    <a:pt x="272" y="3270"/>
                  </a:lnTo>
                  <a:lnTo>
                    <a:pt x="270" y="3272"/>
                  </a:lnTo>
                  <a:lnTo>
                    <a:pt x="270" y="3274"/>
                  </a:lnTo>
                  <a:lnTo>
                    <a:pt x="272" y="3276"/>
                  </a:lnTo>
                  <a:lnTo>
                    <a:pt x="274" y="3278"/>
                  </a:lnTo>
                  <a:lnTo>
                    <a:pt x="276" y="3276"/>
                  </a:lnTo>
                  <a:lnTo>
                    <a:pt x="276" y="3272"/>
                  </a:lnTo>
                  <a:lnTo>
                    <a:pt x="274" y="3270"/>
                  </a:lnTo>
                  <a:close/>
                  <a:moveTo>
                    <a:pt x="246" y="3090"/>
                  </a:moveTo>
                  <a:lnTo>
                    <a:pt x="246" y="3090"/>
                  </a:lnTo>
                  <a:lnTo>
                    <a:pt x="250" y="3090"/>
                  </a:lnTo>
                  <a:lnTo>
                    <a:pt x="252" y="3090"/>
                  </a:lnTo>
                  <a:lnTo>
                    <a:pt x="254" y="3092"/>
                  </a:lnTo>
                  <a:lnTo>
                    <a:pt x="258" y="3092"/>
                  </a:lnTo>
                  <a:lnTo>
                    <a:pt x="260" y="3090"/>
                  </a:lnTo>
                  <a:lnTo>
                    <a:pt x="260" y="3084"/>
                  </a:lnTo>
                  <a:lnTo>
                    <a:pt x="260" y="3080"/>
                  </a:lnTo>
                  <a:lnTo>
                    <a:pt x="260" y="3076"/>
                  </a:lnTo>
                  <a:lnTo>
                    <a:pt x="258" y="3078"/>
                  </a:lnTo>
                  <a:lnTo>
                    <a:pt x="256" y="3080"/>
                  </a:lnTo>
                  <a:lnTo>
                    <a:pt x="252" y="3084"/>
                  </a:lnTo>
                  <a:lnTo>
                    <a:pt x="248" y="3086"/>
                  </a:lnTo>
                  <a:lnTo>
                    <a:pt x="244" y="3086"/>
                  </a:lnTo>
                  <a:lnTo>
                    <a:pt x="242" y="3088"/>
                  </a:lnTo>
                  <a:lnTo>
                    <a:pt x="242" y="3090"/>
                  </a:lnTo>
                  <a:lnTo>
                    <a:pt x="246" y="3090"/>
                  </a:lnTo>
                  <a:close/>
                  <a:moveTo>
                    <a:pt x="248" y="3074"/>
                  </a:moveTo>
                  <a:lnTo>
                    <a:pt x="248" y="3074"/>
                  </a:lnTo>
                  <a:lnTo>
                    <a:pt x="246" y="3072"/>
                  </a:lnTo>
                  <a:lnTo>
                    <a:pt x="244" y="3072"/>
                  </a:lnTo>
                  <a:lnTo>
                    <a:pt x="242" y="3074"/>
                  </a:lnTo>
                  <a:lnTo>
                    <a:pt x="244" y="3078"/>
                  </a:lnTo>
                  <a:lnTo>
                    <a:pt x="246" y="3080"/>
                  </a:lnTo>
                  <a:lnTo>
                    <a:pt x="248" y="3078"/>
                  </a:lnTo>
                  <a:lnTo>
                    <a:pt x="250" y="3076"/>
                  </a:lnTo>
                  <a:lnTo>
                    <a:pt x="248" y="3074"/>
                  </a:lnTo>
                  <a:close/>
                  <a:moveTo>
                    <a:pt x="252" y="3118"/>
                  </a:moveTo>
                  <a:lnTo>
                    <a:pt x="252" y="3118"/>
                  </a:lnTo>
                  <a:lnTo>
                    <a:pt x="252" y="3120"/>
                  </a:lnTo>
                  <a:lnTo>
                    <a:pt x="254" y="3122"/>
                  </a:lnTo>
                  <a:lnTo>
                    <a:pt x="266" y="3128"/>
                  </a:lnTo>
                  <a:lnTo>
                    <a:pt x="272" y="3128"/>
                  </a:lnTo>
                  <a:lnTo>
                    <a:pt x="274" y="3124"/>
                  </a:lnTo>
                  <a:lnTo>
                    <a:pt x="272" y="3124"/>
                  </a:lnTo>
                  <a:lnTo>
                    <a:pt x="270" y="3122"/>
                  </a:lnTo>
                  <a:lnTo>
                    <a:pt x="268" y="3118"/>
                  </a:lnTo>
                  <a:lnTo>
                    <a:pt x="270" y="3116"/>
                  </a:lnTo>
                  <a:lnTo>
                    <a:pt x="270" y="3114"/>
                  </a:lnTo>
                  <a:lnTo>
                    <a:pt x="270" y="3108"/>
                  </a:lnTo>
                  <a:lnTo>
                    <a:pt x="266" y="3100"/>
                  </a:lnTo>
                  <a:lnTo>
                    <a:pt x="264" y="3098"/>
                  </a:lnTo>
                  <a:lnTo>
                    <a:pt x="262" y="3102"/>
                  </a:lnTo>
                  <a:lnTo>
                    <a:pt x="262" y="3106"/>
                  </a:lnTo>
                  <a:lnTo>
                    <a:pt x="262" y="3108"/>
                  </a:lnTo>
                  <a:lnTo>
                    <a:pt x="262" y="3114"/>
                  </a:lnTo>
                  <a:lnTo>
                    <a:pt x="262" y="3116"/>
                  </a:lnTo>
                  <a:lnTo>
                    <a:pt x="260" y="3114"/>
                  </a:lnTo>
                  <a:lnTo>
                    <a:pt x="258" y="3114"/>
                  </a:lnTo>
                  <a:lnTo>
                    <a:pt x="252" y="3118"/>
                  </a:lnTo>
                  <a:close/>
                  <a:moveTo>
                    <a:pt x="246" y="3228"/>
                  </a:moveTo>
                  <a:lnTo>
                    <a:pt x="246" y="3228"/>
                  </a:lnTo>
                  <a:lnTo>
                    <a:pt x="248" y="3228"/>
                  </a:lnTo>
                  <a:lnTo>
                    <a:pt x="250" y="3228"/>
                  </a:lnTo>
                  <a:lnTo>
                    <a:pt x="252" y="3228"/>
                  </a:lnTo>
                  <a:lnTo>
                    <a:pt x="254" y="3228"/>
                  </a:lnTo>
                  <a:lnTo>
                    <a:pt x="256" y="3224"/>
                  </a:lnTo>
                  <a:lnTo>
                    <a:pt x="256" y="3222"/>
                  </a:lnTo>
                  <a:lnTo>
                    <a:pt x="258" y="3218"/>
                  </a:lnTo>
                  <a:lnTo>
                    <a:pt x="262" y="3216"/>
                  </a:lnTo>
                  <a:lnTo>
                    <a:pt x="262" y="3214"/>
                  </a:lnTo>
                  <a:lnTo>
                    <a:pt x="260" y="3214"/>
                  </a:lnTo>
                  <a:lnTo>
                    <a:pt x="256" y="3216"/>
                  </a:lnTo>
                  <a:lnTo>
                    <a:pt x="254" y="3216"/>
                  </a:lnTo>
                  <a:lnTo>
                    <a:pt x="254" y="3214"/>
                  </a:lnTo>
                  <a:lnTo>
                    <a:pt x="254" y="3212"/>
                  </a:lnTo>
                  <a:lnTo>
                    <a:pt x="252" y="3212"/>
                  </a:lnTo>
                  <a:lnTo>
                    <a:pt x="248" y="3210"/>
                  </a:lnTo>
                  <a:lnTo>
                    <a:pt x="246" y="3210"/>
                  </a:lnTo>
                  <a:lnTo>
                    <a:pt x="242" y="3208"/>
                  </a:lnTo>
                  <a:lnTo>
                    <a:pt x="238" y="3208"/>
                  </a:lnTo>
                  <a:lnTo>
                    <a:pt x="236" y="3208"/>
                  </a:lnTo>
                  <a:lnTo>
                    <a:pt x="236" y="3210"/>
                  </a:lnTo>
                  <a:lnTo>
                    <a:pt x="240" y="3212"/>
                  </a:lnTo>
                  <a:lnTo>
                    <a:pt x="244" y="3216"/>
                  </a:lnTo>
                  <a:lnTo>
                    <a:pt x="244" y="3218"/>
                  </a:lnTo>
                  <a:lnTo>
                    <a:pt x="242" y="3218"/>
                  </a:lnTo>
                  <a:lnTo>
                    <a:pt x="240" y="3218"/>
                  </a:lnTo>
                  <a:lnTo>
                    <a:pt x="236" y="3218"/>
                  </a:lnTo>
                  <a:lnTo>
                    <a:pt x="232" y="3222"/>
                  </a:lnTo>
                  <a:lnTo>
                    <a:pt x="232" y="3224"/>
                  </a:lnTo>
                  <a:lnTo>
                    <a:pt x="234" y="3226"/>
                  </a:lnTo>
                  <a:lnTo>
                    <a:pt x="238" y="3226"/>
                  </a:lnTo>
                  <a:lnTo>
                    <a:pt x="242" y="3226"/>
                  </a:lnTo>
                  <a:lnTo>
                    <a:pt x="240" y="3230"/>
                  </a:lnTo>
                  <a:lnTo>
                    <a:pt x="240" y="3232"/>
                  </a:lnTo>
                  <a:lnTo>
                    <a:pt x="242" y="3232"/>
                  </a:lnTo>
                  <a:lnTo>
                    <a:pt x="246" y="3228"/>
                  </a:lnTo>
                  <a:close/>
                  <a:moveTo>
                    <a:pt x="256" y="3248"/>
                  </a:moveTo>
                  <a:lnTo>
                    <a:pt x="256" y="3248"/>
                  </a:lnTo>
                  <a:lnTo>
                    <a:pt x="254" y="3250"/>
                  </a:lnTo>
                  <a:lnTo>
                    <a:pt x="254" y="3252"/>
                  </a:lnTo>
                  <a:lnTo>
                    <a:pt x="258" y="3256"/>
                  </a:lnTo>
                  <a:lnTo>
                    <a:pt x="262" y="3258"/>
                  </a:lnTo>
                  <a:lnTo>
                    <a:pt x="264" y="3258"/>
                  </a:lnTo>
                  <a:lnTo>
                    <a:pt x="264" y="3256"/>
                  </a:lnTo>
                  <a:lnTo>
                    <a:pt x="262" y="3252"/>
                  </a:lnTo>
                  <a:lnTo>
                    <a:pt x="260" y="3248"/>
                  </a:lnTo>
                  <a:lnTo>
                    <a:pt x="258" y="3248"/>
                  </a:lnTo>
                  <a:lnTo>
                    <a:pt x="256" y="3248"/>
                  </a:lnTo>
                  <a:close/>
                  <a:moveTo>
                    <a:pt x="254" y="3160"/>
                  </a:moveTo>
                  <a:lnTo>
                    <a:pt x="254" y="3160"/>
                  </a:lnTo>
                  <a:lnTo>
                    <a:pt x="256" y="3160"/>
                  </a:lnTo>
                  <a:lnTo>
                    <a:pt x="256" y="3154"/>
                  </a:lnTo>
                  <a:lnTo>
                    <a:pt x="254" y="3150"/>
                  </a:lnTo>
                  <a:lnTo>
                    <a:pt x="250" y="3150"/>
                  </a:lnTo>
                  <a:lnTo>
                    <a:pt x="246" y="3152"/>
                  </a:lnTo>
                  <a:lnTo>
                    <a:pt x="242" y="3154"/>
                  </a:lnTo>
                  <a:lnTo>
                    <a:pt x="242" y="3156"/>
                  </a:lnTo>
                  <a:lnTo>
                    <a:pt x="246" y="3156"/>
                  </a:lnTo>
                  <a:lnTo>
                    <a:pt x="248" y="3158"/>
                  </a:lnTo>
                  <a:lnTo>
                    <a:pt x="254" y="3160"/>
                  </a:lnTo>
                  <a:close/>
                  <a:moveTo>
                    <a:pt x="248" y="3146"/>
                  </a:moveTo>
                  <a:lnTo>
                    <a:pt x="248" y="3146"/>
                  </a:lnTo>
                  <a:lnTo>
                    <a:pt x="250" y="3144"/>
                  </a:lnTo>
                  <a:lnTo>
                    <a:pt x="250" y="3142"/>
                  </a:lnTo>
                  <a:lnTo>
                    <a:pt x="244" y="3136"/>
                  </a:lnTo>
                  <a:lnTo>
                    <a:pt x="242" y="3136"/>
                  </a:lnTo>
                  <a:lnTo>
                    <a:pt x="244" y="3142"/>
                  </a:lnTo>
                  <a:lnTo>
                    <a:pt x="246" y="3146"/>
                  </a:lnTo>
                  <a:lnTo>
                    <a:pt x="248" y="3146"/>
                  </a:lnTo>
                  <a:close/>
                  <a:moveTo>
                    <a:pt x="282" y="3246"/>
                  </a:moveTo>
                  <a:lnTo>
                    <a:pt x="282" y="3246"/>
                  </a:lnTo>
                  <a:lnTo>
                    <a:pt x="280" y="3242"/>
                  </a:lnTo>
                  <a:lnTo>
                    <a:pt x="278" y="3238"/>
                  </a:lnTo>
                  <a:lnTo>
                    <a:pt x="278" y="3236"/>
                  </a:lnTo>
                  <a:lnTo>
                    <a:pt x="276" y="3234"/>
                  </a:lnTo>
                  <a:lnTo>
                    <a:pt x="272" y="3232"/>
                  </a:lnTo>
                  <a:lnTo>
                    <a:pt x="270" y="3232"/>
                  </a:lnTo>
                  <a:lnTo>
                    <a:pt x="270" y="3234"/>
                  </a:lnTo>
                  <a:lnTo>
                    <a:pt x="272" y="3238"/>
                  </a:lnTo>
                  <a:lnTo>
                    <a:pt x="274" y="3240"/>
                  </a:lnTo>
                  <a:lnTo>
                    <a:pt x="272" y="3242"/>
                  </a:lnTo>
                  <a:lnTo>
                    <a:pt x="272" y="3244"/>
                  </a:lnTo>
                  <a:lnTo>
                    <a:pt x="276" y="3252"/>
                  </a:lnTo>
                  <a:lnTo>
                    <a:pt x="280" y="3256"/>
                  </a:lnTo>
                  <a:lnTo>
                    <a:pt x="284" y="3256"/>
                  </a:lnTo>
                  <a:lnTo>
                    <a:pt x="286" y="3254"/>
                  </a:lnTo>
                  <a:lnTo>
                    <a:pt x="286" y="3252"/>
                  </a:lnTo>
                  <a:lnTo>
                    <a:pt x="282" y="3246"/>
                  </a:lnTo>
                  <a:close/>
                  <a:moveTo>
                    <a:pt x="234" y="3130"/>
                  </a:moveTo>
                  <a:lnTo>
                    <a:pt x="234" y="3130"/>
                  </a:lnTo>
                  <a:lnTo>
                    <a:pt x="228" y="3130"/>
                  </a:lnTo>
                  <a:lnTo>
                    <a:pt x="226" y="3132"/>
                  </a:lnTo>
                  <a:lnTo>
                    <a:pt x="226" y="3134"/>
                  </a:lnTo>
                  <a:lnTo>
                    <a:pt x="228" y="3134"/>
                  </a:lnTo>
                  <a:lnTo>
                    <a:pt x="236" y="3132"/>
                  </a:lnTo>
                  <a:lnTo>
                    <a:pt x="240" y="3132"/>
                  </a:lnTo>
                  <a:lnTo>
                    <a:pt x="240" y="3130"/>
                  </a:lnTo>
                  <a:lnTo>
                    <a:pt x="238" y="3128"/>
                  </a:lnTo>
                  <a:lnTo>
                    <a:pt x="234" y="3130"/>
                  </a:lnTo>
                  <a:close/>
                  <a:moveTo>
                    <a:pt x="224" y="3120"/>
                  </a:moveTo>
                  <a:lnTo>
                    <a:pt x="224" y="3120"/>
                  </a:lnTo>
                  <a:lnTo>
                    <a:pt x="226" y="3124"/>
                  </a:lnTo>
                  <a:lnTo>
                    <a:pt x="228" y="3126"/>
                  </a:lnTo>
                  <a:lnTo>
                    <a:pt x="230" y="3128"/>
                  </a:lnTo>
                  <a:lnTo>
                    <a:pt x="236" y="3126"/>
                  </a:lnTo>
                  <a:lnTo>
                    <a:pt x="238" y="3124"/>
                  </a:lnTo>
                  <a:lnTo>
                    <a:pt x="236" y="3120"/>
                  </a:lnTo>
                  <a:lnTo>
                    <a:pt x="236" y="3116"/>
                  </a:lnTo>
                  <a:lnTo>
                    <a:pt x="234" y="3114"/>
                  </a:lnTo>
                  <a:lnTo>
                    <a:pt x="230" y="3116"/>
                  </a:lnTo>
                  <a:lnTo>
                    <a:pt x="228" y="3116"/>
                  </a:lnTo>
                  <a:lnTo>
                    <a:pt x="226" y="3116"/>
                  </a:lnTo>
                  <a:lnTo>
                    <a:pt x="224" y="3120"/>
                  </a:lnTo>
                  <a:close/>
                  <a:moveTo>
                    <a:pt x="232" y="3160"/>
                  </a:moveTo>
                  <a:lnTo>
                    <a:pt x="232" y="3160"/>
                  </a:lnTo>
                  <a:lnTo>
                    <a:pt x="234" y="3158"/>
                  </a:lnTo>
                  <a:lnTo>
                    <a:pt x="236" y="3156"/>
                  </a:lnTo>
                  <a:lnTo>
                    <a:pt x="238" y="3154"/>
                  </a:lnTo>
                  <a:lnTo>
                    <a:pt x="238" y="3152"/>
                  </a:lnTo>
                  <a:lnTo>
                    <a:pt x="236" y="3148"/>
                  </a:lnTo>
                  <a:lnTo>
                    <a:pt x="236" y="3150"/>
                  </a:lnTo>
                  <a:lnTo>
                    <a:pt x="234" y="3152"/>
                  </a:lnTo>
                  <a:lnTo>
                    <a:pt x="230" y="3154"/>
                  </a:lnTo>
                  <a:lnTo>
                    <a:pt x="228" y="3156"/>
                  </a:lnTo>
                  <a:lnTo>
                    <a:pt x="226" y="3158"/>
                  </a:lnTo>
                  <a:lnTo>
                    <a:pt x="226" y="3160"/>
                  </a:lnTo>
                  <a:lnTo>
                    <a:pt x="228" y="3162"/>
                  </a:lnTo>
                  <a:lnTo>
                    <a:pt x="232" y="3164"/>
                  </a:lnTo>
                  <a:lnTo>
                    <a:pt x="232" y="3160"/>
                  </a:lnTo>
                  <a:close/>
                  <a:moveTo>
                    <a:pt x="290" y="3322"/>
                  </a:moveTo>
                  <a:lnTo>
                    <a:pt x="290" y="3322"/>
                  </a:lnTo>
                  <a:lnTo>
                    <a:pt x="290" y="3324"/>
                  </a:lnTo>
                  <a:lnTo>
                    <a:pt x="292" y="3326"/>
                  </a:lnTo>
                  <a:lnTo>
                    <a:pt x="300" y="3334"/>
                  </a:lnTo>
                  <a:lnTo>
                    <a:pt x="304" y="3338"/>
                  </a:lnTo>
                  <a:lnTo>
                    <a:pt x="302" y="3332"/>
                  </a:lnTo>
                  <a:lnTo>
                    <a:pt x="296" y="3324"/>
                  </a:lnTo>
                  <a:lnTo>
                    <a:pt x="292" y="3322"/>
                  </a:lnTo>
                  <a:lnTo>
                    <a:pt x="290" y="3322"/>
                  </a:lnTo>
                  <a:close/>
                  <a:moveTo>
                    <a:pt x="246" y="3094"/>
                  </a:moveTo>
                  <a:lnTo>
                    <a:pt x="246" y="3094"/>
                  </a:lnTo>
                  <a:lnTo>
                    <a:pt x="244" y="3094"/>
                  </a:lnTo>
                  <a:lnTo>
                    <a:pt x="242" y="3094"/>
                  </a:lnTo>
                  <a:lnTo>
                    <a:pt x="242" y="3098"/>
                  </a:lnTo>
                  <a:lnTo>
                    <a:pt x="250" y="3112"/>
                  </a:lnTo>
                  <a:lnTo>
                    <a:pt x="252" y="3114"/>
                  </a:lnTo>
                  <a:lnTo>
                    <a:pt x="254" y="3112"/>
                  </a:lnTo>
                  <a:lnTo>
                    <a:pt x="256" y="3110"/>
                  </a:lnTo>
                  <a:lnTo>
                    <a:pt x="258" y="3110"/>
                  </a:lnTo>
                  <a:lnTo>
                    <a:pt x="258" y="3108"/>
                  </a:lnTo>
                  <a:lnTo>
                    <a:pt x="258" y="3102"/>
                  </a:lnTo>
                  <a:lnTo>
                    <a:pt x="258" y="3098"/>
                  </a:lnTo>
                  <a:lnTo>
                    <a:pt x="256" y="3096"/>
                  </a:lnTo>
                  <a:lnTo>
                    <a:pt x="246" y="3094"/>
                  </a:lnTo>
                  <a:close/>
                  <a:moveTo>
                    <a:pt x="294" y="3282"/>
                  </a:moveTo>
                  <a:lnTo>
                    <a:pt x="294" y="3282"/>
                  </a:lnTo>
                  <a:lnTo>
                    <a:pt x="294" y="3280"/>
                  </a:lnTo>
                  <a:lnTo>
                    <a:pt x="290" y="3278"/>
                  </a:lnTo>
                  <a:lnTo>
                    <a:pt x="288" y="3280"/>
                  </a:lnTo>
                  <a:lnTo>
                    <a:pt x="288" y="3284"/>
                  </a:lnTo>
                  <a:lnTo>
                    <a:pt x="290" y="3286"/>
                  </a:lnTo>
                  <a:lnTo>
                    <a:pt x="292" y="3286"/>
                  </a:lnTo>
                  <a:lnTo>
                    <a:pt x="294" y="3284"/>
                  </a:lnTo>
                  <a:lnTo>
                    <a:pt x="294" y="3282"/>
                  </a:lnTo>
                  <a:close/>
                  <a:moveTo>
                    <a:pt x="284" y="3284"/>
                  </a:moveTo>
                  <a:lnTo>
                    <a:pt x="284" y="3284"/>
                  </a:lnTo>
                  <a:lnTo>
                    <a:pt x="282" y="3284"/>
                  </a:lnTo>
                  <a:lnTo>
                    <a:pt x="282" y="3286"/>
                  </a:lnTo>
                  <a:lnTo>
                    <a:pt x="282" y="3288"/>
                  </a:lnTo>
                  <a:lnTo>
                    <a:pt x="286" y="3292"/>
                  </a:lnTo>
                  <a:lnTo>
                    <a:pt x="286" y="3288"/>
                  </a:lnTo>
                  <a:lnTo>
                    <a:pt x="286" y="3286"/>
                  </a:lnTo>
                  <a:lnTo>
                    <a:pt x="284" y="3284"/>
                  </a:lnTo>
                  <a:close/>
                  <a:moveTo>
                    <a:pt x="294" y="3312"/>
                  </a:moveTo>
                  <a:lnTo>
                    <a:pt x="294" y="3312"/>
                  </a:lnTo>
                  <a:lnTo>
                    <a:pt x="294" y="3310"/>
                  </a:lnTo>
                  <a:lnTo>
                    <a:pt x="294" y="3306"/>
                  </a:lnTo>
                  <a:lnTo>
                    <a:pt x="290" y="3298"/>
                  </a:lnTo>
                  <a:lnTo>
                    <a:pt x="288" y="3296"/>
                  </a:lnTo>
                  <a:lnTo>
                    <a:pt x="288" y="3298"/>
                  </a:lnTo>
                  <a:lnTo>
                    <a:pt x="288" y="3302"/>
                  </a:lnTo>
                  <a:lnTo>
                    <a:pt x="286" y="3306"/>
                  </a:lnTo>
                  <a:lnTo>
                    <a:pt x="284" y="3308"/>
                  </a:lnTo>
                  <a:lnTo>
                    <a:pt x="286" y="3312"/>
                  </a:lnTo>
                  <a:lnTo>
                    <a:pt x="290" y="3314"/>
                  </a:lnTo>
                  <a:lnTo>
                    <a:pt x="294" y="3312"/>
                  </a:lnTo>
                  <a:close/>
                  <a:moveTo>
                    <a:pt x="240" y="3200"/>
                  </a:moveTo>
                  <a:lnTo>
                    <a:pt x="240" y="3200"/>
                  </a:lnTo>
                  <a:lnTo>
                    <a:pt x="242" y="3200"/>
                  </a:lnTo>
                  <a:lnTo>
                    <a:pt x="242" y="3192"/>
                  </a:lnTo>
                  <a:lnTo>
                    <a:pt x="238" y="3184"/>
                  </a:lnTo>
                  <a:lnTo>
                    <a:pt x="236" y="3184"/>
                  </a:lnTo>
                  <a:lnTo>
                    <a:pt x="234" y="3184"/>
                  </a:lnTo>
                  <a:lnTo>
                    <a:pt x="230" y="3184"/>
                  </a:lnTo>
                  <a:lnTo>
                    <a:pt x="230" y="3186"/>
                  </a:lnTo>
                  <a:lnTo>
                    <a:pt x="230" y="3196"/>
                  </a:lnTo>
                  <a:lnTo>
                    <a:pt x="236" y="3194"/>
                  </a:lnTo>
                  <a:lnTo>
                    <a:pt x="238" y="3192"/>
                  </a:lnTo>
                  <a:lnTo>
                    <a:pt x="238" y="3194"/>
                  </a:lnTo>
                  <a:lnTo>
                    <a:pt x="238" y="3198"/>
                  </a:lnTo>
                  <a:lnTo>
                    <a:pt x="240" y="3200"/>
                  </a:lnTo>
                  <a:close/>
                  <a:moveTo>
                    <a:pt x="236" y="3146"/>
                  </a:moveTo>
                  <a:lnTo>
                    <a:pt x="236" y="3146"/>
                  </a:lnTo>
                  <a:lnTo>
                    <a:pt x="238" y="3146"/>
                  </a:lnTo>
                  <a:lnTo>
                    <a:pt x="240" y="3148"/>
                  </a:lnTo>
                  <a:lnTo>
                    <a:pt x="242" y="3148"/>
                  </a:lnTo>
                  <a:lnTo>
                    <a:pt x="242" y="3146"/>
                  </a:lnTo>
                  <a:lnTo>
                    <a:pt x="240" y="3142"/>
                  </a:lnTo>
                  <a:lnTo>
                    <a:pt x="236" y="3138"/>
                  </a:lnTo>
                  <a:lnTo>
                    <a:pt x="232" y="3138"/>
                  </a:lnTo>
                  <a:lnTo>
                    <a:pt x="228" y="3138"/>
                  </a:lnTo>
                  <a:lnTo>
                    <a:pt x="224" y="3140"/>
                  </a:lnTo>
                  <a:lnTo>
                    <a:pt x="224" y="3144"/>
                  </a:lnTo>
                  <a:lnTo>
                    <a:pt x="226" y="3146"/>
                  </a:lnTo>
                  <a:lnTo>
                    <a:pt x="230" y="3146"/>
                  </a:lnTo>
                  <a:lnTo>
                    <a:pt x="236" y="3146"/>
                  </a:lnTo>
                  <a:close/>
                  <a:moveTo>
                    <a:pt x="292" y="2928"/>
                  </a:moveTo>
                  <a:lnTo>
                    <a:pt x="292" y="2928"/>
                  </a:lnTo>
                  <a:lnTo>
                    <a:pt x="294" y="2930"/>
                  </a:lnTo>
                  <a:lnTo>
                    <a:pt x="296" y="2930"/>
                  </a:lnTo>
                  <a:lnTo>
                    <a:pt x="298" y="2930"/>
                  </a:lnTo>
                  <a:lnTo>
                    <a:pt x="302" y="2930"/>
                  </a:lnTo>
                  <a:lnTo>
                    <a:pt x="304" y="2930"/>
                  </a:lnTo>
                  <a:lnTo>
                    <a:pt x="306" y="2928"/>
                  </a:lnTo>
                  <a:lnTo>
                    <a:pt x="302" y="2918"/>
                  </a:lnTo>
                  <a:lnTo>
                    <a:pt x="300" y="2916"/>
                  </a:lnTo>
                  <a:lnTo>
                    <a:pt x="298" y="2916"/>
                  </a:lnTo>
                  <a:lnTo>
                    <a:pt x="294" y="2918"/>
                  </a:lnTo>
                  <a:lnTo>
                    <a:pt x="290" y="2918"/>
                  </a:lnTo>
                  <a:lnTo>
                    <a:pt x="286" y="2918"/>
                  </a:lnTo>
                  <a:lnTo>
                    <a:pt x="284" y="2920"/>
                  </a:lnTo>
                  <a:lnTo>
                    <a:pt x="284" y="2922"/>
                  </a:lnTo>
                  <a:lnTo>
                    <a:pt x="288" y="2924"/>
                  </a:lnTo>
                  <a:lnTo>
                    <a:pt x="290" y="2924"/>
                  </a:lnTo>
                  <a:lnTo>
                    <a:pt x="292" y="2928"/>
                  </a:lnTo>
                  <a:close/>
                  <a:moveTo>
                    <a:pt x="294" y="2944"/>
                  </a:moveTo>
                  <a:lnTo>
                    <a:pt x="294" y="2944"/>
                  </a:lnTo>
                  <a:lnTo>
                    <a:pt x="296" y="2944"/>
                  </a:lnTo>
                  <a:lnTo>
                    <a:pt x="298" y="2942"/>
                  </a:lnTo>
                  <a:lnTo>
                    <a:pt x="300" y="2940"/>
                  </a:lnTo>
                  <a:lnTo>
                    <a:pt x="298" y="2940"/>
                  </a:lnTo>
                  <a:lnTo>
                    <a:pt x="292" y="2940"/>
                  </a:lnTo>
                  <a:lnTo>
                    <a:pt x="290" y="2940"/>
                  </a:lnTo>
                  <a:lnTo>
                    <a:pt x="290" y="2942"/>
                  </a:lnTo>
                  <a:lnTo>
                    <a:pt x="288" y="2944"/>
                  </a:lnTo>
                  <a:lnTo>
                    <a:pt x="290" y="2944"/>
                  </a:lnTo>
                  <a:lnTo>
                    <a:pt x="294" y="2944"/>
                  </a:lnTo>
                  <a:close/>
                  <a:moveTo>
                    <a:pt x="278" y="2914"/>
                  </a:moveTo>
                  <a:lnTo>
                    <a:pt x="278" y="2914"/>
                  </a:lnTo>
                  <a:lnTo>
                    <a:pt x="278" y="2916"/>
                  </a:lnTo>
                  <a:lnTo>
                    <a:pt x="282" y="2916"/>
                  </a:lnTo>
                  <a:lnTo>
                    <a:pt x="286" y="2914"/>
                  </a:lnTo>
                  <a:lnTo>
                    <a:pt x="292" y="2914"/>
                  </a:lnTo>
                  <a:lnTo>
                    <a:pt x="294" y="2914"/>
                  </a:lnTo>
                  <a:lnTo>
                    <a:pt x="294" y="2912"/>
                  </a:lnTo>
                  <a:lnTo>
                    <a:pt x="288" y="2908"/>
                  </a:lnTo>
                  <a:lnTo>
                    <a:pt x="286" y="2908"/>
                  </a:lnTo>
                  <a:lnTo>
                    <a:pt x="282" y="2908"/>
                  </a:lnTo>
                  <a:lnTo>
                    <a:pt x="278" y="2914"/>
                  </a:lnTo>
                  <a:close/>
                  <a:moveTo>
                    <a:pt x="276" y="2888"/>
                  </a:moveTo>
                  <a:lnTo>
                    <a:pt x="276" y="2888"/>
                  </a:lnTo>
                  <a:lnTo>
                    <a:pt x="280" y="2886"/>
                  </a:lnTo>
                  <a:lnTo>
                    <a:pt x="282" y="2884"/>
                  </a:lnTo>
                  <a:lnTo>
                    <a:pt x="282" y="2882"/>
                  </a:lnTo>
                  <a:lnTo>
                    <a:pt x="282" y="2880"/>
                  </a:lnTo>
                  <a:lnTo>
                    <a:pt x="278" y="2880"/>
                  </a:lnTo>
                  <a:lnTo>
                    <a:pt x="272" y="2884"/>
                  </a:lnTo>
                  <a:lnTo>
                    <a:pt x="270" y="2884"/>
                  </a:lnTo>
                  <a:lnTo>
                    <a:pt x="270" y="2886"/>
                  </a:lnTo>
                  <a:lnTo>
                    <a:pt x="272" y="2888"/>
                  </a:lnTo>
                  <a:lnTo>
                    <a:pt x="276" y="2888"/>
                  </a:lnTo>
                  <a:close/>
                  <a:moveTo>
                    <a:pt x="282" y="2902"/>
                  </a:moveTo>
                  <a:lnTo>
                    <a:pt x="282" y="2902"/>
                  </a:lnTo>
                  <a:lnTo>
                    <a:pt x="284" y="2902"/>
                  </a:lnTo>
                  <a:lnTo>
                    <a:pt x="290" y="2900"/>
                  </a:lnTo>
                  <a:lnTo>
                    <a:pt x="296" y="2898"/>
                  </a:lnTo>
                  <a:lnTo>
                    <a:pt x="296" y="2896"/>
                  </a:lnTo>
                  <a:lnTo>
                    <a:pt x="294" y="2894"/>
                  </a:lnTo>
                  <a:lnTo>
                    <a:pt x="292" y="2894"/>
                  </a:lnTo>
                  <a:lnTo>
                    <a:pt x="282" y="2894"/>
                  </a:lnTo>
                  <a:lnTo>
                    <a:pt x="276" y="2894"/>
                  </a:lnTo>
                  <a:lnTo>
                    <a:pt x="276" y="2896"/>
                  </a:lnTo>
                  <a:lnTo>
                    <a:pt x="278" y="2900"/>
                  </a:lnTo>
                  <a:lnTo>
                    <a:pt x="282" y="2902"/>
                  </a:lnTo>
                  <a:close/>
                  <a:moveTo>
                    <a:pt x="296" y="2950"/>
                  </a:moveTo>
                  <a:lnTo>
                    <a:pt x="296" y="2950"/>
                  </a:lnTo>
                  <a:lnTo>
                    <a:pt x="294" y="2948"/>
                  </a:lnTo>
                  <a:lnTo>
                    <a:pt x="290" y="2950"/>
                  </a:lnTo>
                  <a:lnTo>
                    <a:pt x="290" y="2952"/>
                  </a:lnTo>
                  <a:lnTo>
                    <a:pt x="290" y="2954"/>
                  </a:lnTo>
                  <a:lnTo>
                    <a:pt x="292" y="2956"/>
                  </a:lnTo>
                  <a:lnTo>
                    <a:pt x="294" y="2954"/>
                  </a:lnTo>
                  <a:lnTo>
                    <a:pt x="296" y="2952"/>
                  </a:lnTo>
                  <a:lnTo>
                    <a:pt x="296" y="2950"/>
                  </a:lnTo>
                  <a:close/>
                  <a:moveTo>
                    <a:pt x="302" y="2888"/>
                  </a:moveTo>
                  <a:lnTo>
                    <a:pt x="302" y="2888"/>
                  </a:lnTo>
                  <a:lnTo>
                    <a:pt x="300" y="2890"/>
                  </a:lnTo>
                  <a:lnTo>
                    <a:pt x="300" y="2892"/>
                  </a:lnTo>
                  <a:lnTo>
                    <a:pt x="302" y="2898"/>
                  </a:lnTo>
                  <a:lnTo>
                    <a:pt x="304" y="2900"/>
                  </a:lnTo>
                  <a:lnTo>
                    <a:pt x="308" y="2898"/>
                  </a:lnTo>
                  <a:lnTo>
                    <a:pt x="310" y="2896"/>
                  </a:lnTo>
                  <a:lnTo>
                    <a:pt x="308" y="2894"/>
                  </a:lnTo>
                  <a:lnTo>
                    <a:pt x="306" y="2890"/>
                  </a:lnTo>
                  <a:lnTo>
                    <a:pt x="302" y="2888"/>
                  </a:lnTo>
                  <a:close/>
                  <a:moveTo>
                    <a:pt x="304" y="2856"/>
                  </a:moveTo>
                  <a:lnTo>
                    <a:pt x="304" y="2856"/>
                  </a:lnTo>
                  <a:lnTo>
                    <a:pt x="304" y="2858"/>
                  </a:lnTo>
                  <a:lnTo>
                    <a:pt x="304" y="2862"/>
                  </a:lnTo>
                  <a:lnTo>
                    <a:pt x="306" y="2864"/>
                  </a:lnTo>
                  <a:lnTo>
                    <a:pt x="308" y="2864"/>
                  </a:lnTo>
                  <a:lnTo>
                    <a:pt x="310" y="2862"/>
                  </a:lnTo>
                  <a:lnTo>
                    <a:pt x="308" y="2860"/>
                  </a:lnTo>
                  <a:lnTo>
                    <a:pt x="306" y="2856"/>
                  </a:lnTo>
                  <a:lnTo>
                    <a:pt x="304" y="2856"/>
                  </a:lnTo>
                  <a:close/>
                  <a:moveTo>
                    <a:pt x="300" y="2968"/>
                  </a:moveTo>
                  <a:lnTo>
                    <a:pt x="300" y="2968"/>
                  </a:lnTo>
                  <a:lnTo>
                    <a:pt x="304" y="2964"/>
                  </a:lnTo>
                  <a:lnTo>
                    <a:pt x="304" y="2962"/>
                  </a:lnTo>
                  <a:lnTo>
                    <a:pt x="304" y="2960"/>
                  </a:lnTo>
                  <a:lnTo>
                    <a:pt x="300" y="2962"/>
                  </a:lnTo>
                  <a:lnTo>
                    <a:pt x="298" y="2964"/>
                  </a:lnTo>
                  <a:lnTo>
                    <a:pt x="296" y="2968"/>
                  </a:lnTo>
                  <a:lnTo>
                    <a:pt x="296" y="2970"/>
                  </a:lnTo>
                  <a:lnTo>
                    <a:pt x="300" y="2968"/>
                  </a:lnTo>
                  <a:close/>
                  <a:moveTo>
                    <a:pt x="290" y="2888"/>
                  </a:moveTo>
                  <a:lnTo>
                    <a:pt x="290" y="2888"/>
                  </a:lnTo>
                  <a:lnTo>
                    <a:pt x="294" y="2888"/>
                  </a:lnTo>
                  <a:lnTo>
                    <a:pt x="294" y="2886"/>
                  </a:lnTo>
                  <a:lnTo>
                    <a:pt x="292" y="2884"/>
                  </a:lnTo>
                  <a:lnTo>
                    <a:pt x="290" y="2884"/>
                  </a:lnTo>
                  <a:lnTo>
                    <a:pt x="282" y="2888"/>
                  </a:lnTo>
                  <a:lnTo>
                    <a:pt x="280" y="2888"/>
                  </a:lnTo>
                  <a:lnTo>
                    <a:pt x="282" y="2890"/>
                  </a:lnTo>
                  <a:lnTo>
                    <a:pt x="290" y="2888"/>
                  </a:lnTo>
                  <a:close/>
                  <a:moveTo>
                    <a:pt x="250" y="2970"/>
                  </a:moveTo>
                  <a:lnTo>
                    <a:pt x="250" y="2970"/>
                  </a:lnTo>
                  <a:lnTo>
                    <a:pt x="250" y="2972"/>
                  </a:lnTo>
                  <a:lnTo>
                    <a:pt x="248" y="2974"/>
                  </a:lnTo>
                  <a:lnTo>
                    <a:pt x="248" y="2978"/>
                  </a:lnTo>
                  <a:lnTo>
                    <a:pt x="252" y="2980"/>
                  </a:lnTo>
                  <a:lnTo>
                    <a:pt x="254" y="2980"/>
                  </a:lnTo>
                  <a:lnTo>
                    <a:pt x="260" y="2974"/>
                  </a:lnTo>
                  <a:lnTo>
                    <a:pt x="262" y="2972"/>
                  </a:lnTo>
                  <a:lnTo>
                    <a:pt x="262" y="2968"/>
                  </a:lnTo>
                  <a:lnTo>
                    <a:pt x="262" y="2964"/>
                  </a:lnTo>
                  <a:lnTo>
                    <a:pt x="260" y="2962"/>
                  </a:lnTo>
                  <a:lnTo>
                    <a:pt x="256" y="2962"/>
                  </a:lnTo>
                  <a:lnTo>
                    <a:pt x="250" y="2966"/>
                  </a:lnTo>
                  <a:lnTo>
                    <a:pt x="248" y="2966"/>
                  </a:lnTo>
                  <a:lnTo>
                    <a:pt x="250" y="2970"/>
                  </a:lnTo>
                  <a:close/>
                  <a:moveTo>
                    <a:pt x="540" y="3562"/>
                  </a:moveTo>
                  <a:lnTo>
                    <a:pt x="540" y="3562"/>
                  </a:lnTo>
                  <a:lnTo>
                    <a:pt x="544" y="3562"/>
                  </a:lnTo>
                  <a:lnTo>
                    <a:pt x="548" y="3562"/>
                  </a:lnTo>
                  <a:lnTo>
                    <a:pt x="554" y="3560"/>
                  </a:lnTo>
                  <a:lnTo>
                    <a:pt x="554" y="3558"/>
                  </a:lnTo>
                  <a:lnTo>
                    <a:pt x="552" y="3558"/>
                  </a:lnTo>
                  <a:lnTo>
                    <a:pt x="546" y="3558"/>
                  </a:lnTo>
                  <a:lnTo>
                    <a:pt x="542" y="3560"/>
                  </a:lnTo>
                  <a:lnTo>
                    <a:pt x="540" y="3562"/>
                  </a:lnTo>
                  <a:close/>
                  <a:moveTo>
                    <a:pt x="560" y="3548"/>
                  </a:moveTo>
                  <a:lnTo>
                    <a:pt x="560" y="3548"/>
                  </a:lnTo>
                  <a:lnTo>
                    <a:pt x="558" y="3550"/>
                  </a:lnTo>
                  <a:lnTo>
                    <a:pt x="556" y="3548"/>
                  </a:lnTo>
                  <a:lnTo>
                    <a:pt x="554" y="3550"/>
                  </a:lnTo>
                  <a:lnTo>
                    <a:pt x="552" y="3552"/>
                  </a:lnTo>
                  <a:lnTo>
                    <a:pt x="554" y="3554"/>
                  </a:lnTo>
                  <a:lnTo>
                    <a:pt x="560" y="3556"/>
                  </a:lnTo>
                  <a:lnTo>
                    <a:pt x="562" y="3556"/>
                  </a:lnTo>
                  <a:lnTo>
                    <a:pt x="564" y="3556"/>
                  </a:lnTo>
                  <a:lnTo>
                    <a:pt x="562" y="3548"/>
                  </a:lnTo>
                  <a:lnTo>
                    <a:pt x="560" y="3544"/>
                  </a:lnTo>
                  <a:lnTo>
                    <a:pt x="560" y="3546"/>
                  </a:lnTo>
                  <a:lnTo>
                    <a:pt x="560" y="3548"/>
                  </a:lnTo>
                  <a:close/>
                  <a:moveTo>
                    <a:pt x="556" y="3506"/>
                  </a:moveTo>
                  <a:lnTo>
                    <a:pt x="556" y="3506"/>
                  </a:lnTo>
                  <a:lnTo>
                    <a:pt x="530" y="3504"/>
                  </a:lnTo>
                  <a:lnTo>
                    <a:pt x="522" y="3504"/>
                  </a:lnTo>
                  <a:lnTo>
                    <a:pt x="522" y="3506"/>
                  </a:lnTo>
                  <a:lnTo>
                    <a:pt x="526" y="3508"/>
                  </a:lnTo>
                  <a:lnTo>
                    <a:pt x="528" y="3510"/>
                  </a:lnTo>
                  <a:lnTo>
                    <a:pt x="528" y="3512"/>
                  </a:lnTo>
                  <a:lnTo>
                    <a:pt x="528" y="3516"/>
                  </a:lnTo>
                  <a:lnTo>
                    <a:pt x="530" y="3522"/>
                  </a:lnTo>
                  <a:lnTo>
                    <a:pt x="532" y="3524"/>
                  </a:lnTo>
                  <a:lnTo>
                    <a:pt x="536" y="3524"/>
                  </a:lnTo>
                  <a:lnTo>
                    <a:pt x="546" y="3524"/>
                  </a:lnTo>
                  <a:lnTo>
                    <a:pt x="550" y="3524"/>
                  </a:lnTo>
                  <a:lnTo>
                    <a:pt x="550" y="3522"/>
                  </a:lnTo>
                  <a:lnTo>
                    <a:pt x="550" y="3520"/>
                  </a:lnTo>
                  <a:lnTo>
                    <a:pt x="554" y="3518"/>
                  </a:lnTo>
                  <a:lnTo>
                    <a:pt x="556" y="3520"/>
                  </a:lnTo>
                  <a:lnTo>
                    <a:pt x="558" y="3524"/>
                  </a:lnTo>
                  <a:lnTo>
                    <a:pt x="558" y="3526"/>
                  </a:lnTo>
                  <a:lnTo>
                    <a:pt x="562" y="3528"/>
                  </a:lnTo>
                  <a:lnTo>
                    <a:pt x="566" y="3526"/>
                  </a:lnTo>
                  <a:lnTo>
                    <a:pt x="568" y="3524"/>
                  </a:lnTo>
                  <a:lnTo>
                    <a:pt x="572" y="3514"/>
                  </a:lnTo>
                  <a:lnTo>
                    <a:pt x="572" y="3512"/>
                  </a:lnTo>
                  <a:lnTo>
                    <a:pt x="572" y="3508"/>
                  </a:lnTo>
                  <a:lnTo>
                    <a:pt x="568" y="3506"/>
                  </a:lnTo>
                  <a:lnTo>
                    <a:pt x="562" y="3506"/>
                  </a:lnTo>
                  <a:lnTo>
                    <a:pt x="556" y="3506"/>
                  </a:lnTo>
                  <a:close/>
                  <a:moveTo>
                    <a:pt x="522" y="3532"/>
                  </a:moveTo>
                  <a:lnTo>
                    <a:pt x="522" y="3532"/>
                  </a:lnTo>
                  <a:lnTo>
                    <a:pt x="516" y="3528"/>
                  </a:lnTo>
                  <a:lnTo>
                    <a:pt x="520" y="3528"/>
                  </a:lnTo>
                  <a:lnTo>
                    <a:pt x="524" y="3526"/>
                  </a:lnTo>
                  <a:lnTo>
                    <a:pt x="524" y="3524"/>
                  </a:lnTo>
                  <a:lnTo>
                    <a:pt x="518" y="3520"/>
                  </a:lnTo>
                  <a:lnTo>
                    <a:pt x="510" y="3520"/>
                  </a:lnTo>
                  <a:lnTo>
                    <a:pt x="506" y="3520"/>
                  </a:lnTo>
                  <a:lnTo>
                    <a:pt x="506" y="3518"/>
                  </a:lnTo>
                  <a:lnTo>
                    <a:pt x="514" y="3516"/>
                  </a:lnTo>
                  <a:lnTo>
                    <a:pt x="520" y="3514"/>
                  </a:lnTo>
                  <a:lnTo>
                    <a:pt x="520" y="3512"/>
                  </a:lnTo>
                  <a:lnTo>
                    <a:pt x="520" y="3510"/>
                  </a:lnTo>
                  <a:lnTo>
                    <a:pt x="518" y="3508"/>
                  </a:lnTo>
                  <a:lnTo>
                    <a:pt x="512" y="3506"/>
                  </a:lnTo>
                  <a:lnTo>
                    <a:pt x="504" y="3506"/>
                  </a:lnTo>
                  <a:lnTo>
                    <a:pt x="498" y="3508"/>
                  </a:lnTo>
                  <a:lnTo>
                    <a:pt x="490" y="3508"/>
                  </a:lnTo>
                  <a:lnTo>
                    <a:pt x="486" y="3508"/>
                  </a:lnTo>
                  <a:lnTo>
                    <a:pt x="478" y="3510"/>
                  </a:lnTo>
                  <a:lnTo>
                    <a:pt x="462" y="3514"/>
                  </a:lnTo>
                  <a:lnTo>
                    <a:pt x="454" y="3516"/>
                  </a:lnTo>
                  <a:lnTo>
                    <a:pt x="454" y="3518"/>
                  </a:lnTo>
                  <a:lnTo>
                    <a:pt x="464" y="3524"/>
                  </a:lnTo>
                  <a:lnTo>
                    <a:pt x="466" y="3526"/>
                  </a:lnTo>
                  <a:lnTo>
                    <a:pt x="462" y="3528"/>
                  </a:lnTo>
                  <a:lnTo>
                    <a:pt x="470" y="3532"/>
                  </a:lnTo>
                  <a:lnTo>
                    <a:pt x="476" y="3534"/>
                  </a:lnTo>
                  <a:lnTo>
                    <a:pt x="480" y="3536"/>
                  </a:lnTo>
                  <a:lnTo>
                    <a:pt x="486" y="3540"/>
                  </a:lnTo>
                  <a:lnTo>
                    <a:pt x="490" y="3540"/>
                  </a:lnTo>
                  <a:lnTo>
                    <a:pt x="490" y="3538"/>
                  </a:lnTo>
                  <a:lnTo>
                    <a:pt x="482" y="3530"/>
                  </a:lnTo>
                  <a:lnTo>
                    <a:pt x="480" y="3526"/>
                  </a:lnTo>
                  <a:lnTo>
                    <a:pt x="482" y="3524"/>
                  </a:lnTo>
                  <a:lnTo>
                    <a:pt x="486" y="3524"/>
                  </a:lnTo>
                  <a:lnTo>
                    <a:pt x="490" y="3524"/>
                  </a:lnTo>
                  <a:lnTo>
                    <a:pt x="494" y="3524"/>
                  </a:lnTo>
                  <a:lnTo>
                    <a:pt x="498" y="3524"/>
                  </a:lnTo>
                  <a:lnTo>
                    <a:pt x="500" y="3524"/>
                  </a:lnTo>
                  <a:lnTo>
                    <a:pt x="496" y="3532"/>
                  </a:lnTo>
                  <a:lnTo>
                    <a:pt x="496" y="3536"/>
                  </a:lnTo>
                  <a:lnTo>
                    <a:pt x="500" y="3540"/>
                  </a:lnTo>
                  <a:lnTo>
                    <a:pt x="502" y="3540"/>
                  </a:lnTo>
                  <a:lnTo>
                    <a:pt x="506" y="3538"/>
                  </a:lnTo>
                  <a:lnTo>
                    <a:pt x="510" y="3536"/>
                  </a:lnTo>
                  <a:lnTo>
                    <a:pt x="512" y="3538"/>
                  </a:lnTo>
                  <a:lnTo>
                    <a:pt x="514" y="3540"/>
                  </a:lnTo>
                  <a:lnTo>
                    <a:pt x="518" y="3540"/>
                  </a:lnTo>
                  <a:lnTo>
                    <a:pt x="522" y="3542"/>
                  </a:lnTo>
                  <a:lnTo>
                    <a:pt x="522" y="3544"/>
                  </a:lnTo>
                  <a:lnTo>
                    <a:pt x="524" y="3548"/>
                  </a:lnTo>
                  <a:lnTo>
                    <a:pt x="526" y="3548"/>
                  </a:lnTo>
                  <a:lnTo>
                    <a:pt x="528" y="3550"/>
                  </a:lnTo>
                  <a:lnTo>
                    <a:pt x="532" y="3554"/>
                  </a:lnTo>
                  <a:lnTo>
                    <a:pt x="534" y="3552"/>
                  </a:lnTo>
                  <a:lnTo>
                    <a:pt x="534" y="3548"/>
                  </a:lnTo>
                  <a:lnTo>
                    <a:pt x="534" y="3544"/>
                  </a:lnTo>
                  <a:lnTo>
                    <a:pt x="532" y="3542"/>
                  </a:lnTo>
                  <a:lnTo>
                    <a:pt x="532" y="3538"/>
                  </a:lnTo>
                  <a:lnTo>
                    <a:pt x="530" y="3536"/>
                  </a:lnTo>
                  <a:lnTo>
                    <a:pt x="522" y="3532"/>
                  </a:lnTo>
                  <a:close/>
                  <a:moveTo>
                    <a:pt x="476" y="3508"/>
                  </a:moveTo>
                  <a:lnTo>
                    <a:pt x="476" y="3508"/>
                  </a:lnTo>
                  <a:lnTo>
                    <a:pt x="484" y="3506"/>
                  </a:lnTo>
                  <a:lnTo>
                    <a:pt x="484" y="3504"/>
                  </a:lnTo>
                  <a:lnTo>
                    <a:pt x="472" y="3502"/>
                  </a:lnTo>
                  <a:lnTo>
                    <a:pt x="464" y="3502"/>
                  </a:lnTo>
                  <a:lnTo>
                    <a:pt x="458" y="3502"/>
                  </a:lnTo>
                  <a:lnTo>
                    <a:pt x="450" y="3506"/>
                  </a:lnTo>
                  <a:lnTo>
                    <a:pt x="448" y="3508"/>
                  </a:lnTo>
                  <a:lnTo>
                    <a:pt x="456" y="3510"/>
                  </a:lnTo>
                  <a:lnTo>
                    <a:pt x="462" y="3510"/>
                  </a:lnTo>
                  <a:lnTo>
                    <a:pt x="476" y="3508"/>
                  </a:lnTo>
                  <a:close/>
                  <a:moveTo>
                    <a:pt x="572" y="3528"/>
                  </a:moveTo>
                  <a:lnTo>
                    <a:pt x="572" y="3528"/>
                  </a:lnTo>
                  <a:lnTo>
                    <a:pt x="574" y="3530"/>
                  </a:lnTo>
                  <a:lnTo>
                    <a:pt x="578" y="3530"/>
                  </a:lnTo>
                  <a:lnTo>
                    <a:pt x="580" y="3528"/>
                  </a:lnTo>
                  <a:lnTo>
                    <a:pt x="582" y="3524"/>
                  </a:lnTo>
                  <a:lnTo>
                    <a:pt x="580" y="3522"/>
                  </a:lnTo>
                  <a:lnTo>
                    <a:pt x="578" y="3522"/>
                  </a:lnTo>
                  <a:lnTo>
                    <a:pt x="574" y="3524"/>
                  </a:lnTo>
                  <a:lnTo>
                    <a:pt x="572" y="3528"/>
                  </a:lnTo>
                  <a:close/>
                  <a:moveTo>
                    <a:pt x="636" y="3486"/>
                  </a:moveTo>
                  <a:lnTo>
                    <a:pt x="636" y="3486"/>
                  </a:lnTo>
                  <a:lnTo>
                    <a:pt x="628" y="3488"/>
                  </a:lnTo>
                  <a:lnTo>
                    <a:pt x="622" y="3486"/>
                  </a:lnTo>
                  <a:lnTo>
                    <a:pt x="616" y="3484"/>
                  </a:lnTo>
                  <a:lnTo>
                    <a:pt x="610" y="3482"/>
                  </a:lnTo>
                  <a:lnTo>
                    <a:pt x="602" y="3478"/>
                  </a:lnTo>
                  <a:lnTo>
                    <a:pt x="594" y="3470"/>
                  </a:lnTo>
                  <a:lnTo>
                    <a:pt x="584" y="3462"/>
                  </a:lnTo>
                  <a:lnTo>
                    <a:pt x="574" y="3456"/>
                  </a:lnTo>
                  <a:lnTo>
                    <a:pt x="562" y="3448"/>
                  </a:lnTo>
                  <a:lnTo>
                    <a:pt x="548" y="3436"/>
                  </a:lnTo>
                  <a:lnTo>
                    <a:pt x="538" y="3424"/>
                  </a:lnTo>
                  <a:lnTo>
                    <a:pt x="532" y="3414"/>
                  </a:lnTo>
                  <a:lnTo>
                    <a:pt x="530" y="3404"/>
                  </a:lnTo>
                  <a:lnTo>
                    <a:pt x="528" y="3404"/>
                  </a:lnTo>
                  <a:lnTo>
                    <a:pt x="522" y="3402"/>
                  </a:lnTo>
                  <a:lnTo>
                    <a:pt x="516" y="3402"/>
                  </a:lnTo>
                  <a:lnTo>
                    <a:pt x="514" y="3400"/>
                  </a:lnTo>
                  <a:lnTo>
                    <a:pt x="512" y="3396"/>
                  </a:lnTo>
                  <a:lnTo>
                    <a:pt x="516" y="3390"/>
                  </a:lnTo>
                  <a:lnTo>
                    <a:pt x="520" y="3386"/>
                  </a:lnTo>
                  <a:lnTo>
                    <a:pt x="522" y="3386"/>
                  </a:lnTo>
                  <a:lnTo>
                    <a:pt x="524" y="3390"/>
                  </a:lnTo>
                  <a:lnTo>
                    <a:pt x="524" y="3392"/>
                  </a:lnTo>
                  <a:lnTo>
                    <a:pt x="526" y="3394"/>
                  </a:lnTo>
                  <a:lnTo>
                    <a:pt x="528" y="3392"/>
                  </a:lnTo>
                  <a:lnTo>
                    <a:pt x="528" y="3388"/>
                  </a:lnTo>
                  <a:lnTo>
                    <a:pt x="524" y="3380"/>
                  </a:lnTo>
                  <a:lnTo>
                    <a:pt x="510" y="3364"/>
                  </a:lnTo>
                  <a:lnTo>
                    <a:pt x="510" y="3502"/>
                  </a:lnTo>
                  <a:lnTo>
                    <a:pt x="518" y="3498"/>
                  </a:lnTo>
                  <a:lnTo>
                    <a:pt x="520" y="3496"/>
                  </a:lnTo>
                  <a:lnTo>
                    <a:pt x="522" y="3496"/>
                  </a:lnTo>
                  <a:lnTo>
                    <a:pt x="530" y="3498"/>
                  </a:lnTo>
                  <a:lnTo>
                    <a:pt x="544" y="3500"/>
                  </a:lnTo>
                  <a:lnTo>
                    <a:pt x="560" y="3502"/>
                  </a:lnTo>
                  <a:lnTo>
                    <a:pt x="576" y="3504"/>
                  </a:lnTo>
                  <a:lnTo>
                    <a:pt x="584" y="3506"/>
                  </a:lnTo>
                  <a:lnTo>
                    <a:pt x="588" y="3508"/>
                  </a:lnTo>
                  <a:lnTo>
                    <a:pt x="596" y="3512"/>
                  </a:lnTo>
                  <a:lnTo>
                    <a:pt x="598" y="3510"/>
                  </a:lnTo>
                  <a:lnTo>
                    <a:pt x="602" y="3508"/>
                  </a:lnTo>
                  <a:lnTo>
                    <a:pt x="606" y="3506"/>
                  </a:lnTo>
                  <a:lnTo>
                    <a:pt x="614" y="3506"/>
                  </a:lnTo>
                  <a:lnTo>
                    <a:pt x="620" y="3502"/>
                  </a:lnTo>
                  <a:lnTo>
                    <a:pt x="624" y="3500"/>
                  </a:lnTo>
                  <a:lnTo>
                    <a:pt x="626" y="3502"/>
                  </a:lnTo>
                  <a:lnTo>
                    <a:pt x="630" y="3506"/>
                  </a:lnTo>
                  <a:lnTo>
                    <a:pt x="632" y="3504"/>
                  </a:lnTo>
                  <a:lnTo>
                    <a:pt x="634" y="3502"/>
                  </a:lnTo>
                  <a:lnTo>
                    <a:pt x="638" y="3502"/>
                  </a:lnTo>
                  <a:lnTo>
                    <a:pt x="640" y="3502"/>
                  </a:lnTo>
                  <a:lnTo>
                    <a:pt x="642" y="3502"/>
                  </a:lnTo>
                  <a:lnTo>
                    <a:pt x="646" y="3494"/>
                  </a:lnTo>
                  <a:lnTo>
                    <a:pt x="648" y="3488"/>
                  </a:lnTo>
                  <a:lnTo>
                    <a:pt x="648" y="3486"/>
                  </a:lnTo>
                  <a:lnTo>
                    <a:pt x="642" y="3486"/>
                  </a:lnTo>
                  <a:lnTo>
                    <a:pt x="636" y="3486"/>
                  </a:lnTo>
                  <a:close/>
                  <a:moveTo>
                    <a:pt x="436" y="3502"/>
                  </a:moveTo>
                  <a:lnTo>
                    <a:pt x="436" y="3502"/>
                  </a:lnTo>
                  <a:lnTo>
                    <a:pt x="428" y="3504"/>
                  </a:lnTo>
                  <a:lnTo>
                    <a:pt x="426" y="3506"/>
                  </a:lnTo>
                  <a:lnTo>
                    <a:pt x="420" y="3506"/>
                  </a:lnTo>
                  <a:lnTo>
                    <a:pt x="414" y="3506"/>
                  </a:lnTo>
                  <a:lnTo>
                    <a:pt x="414" y="3508"/>
                  </a:lnTo>
                  <a:lnTo>
                    <a:pt x="414" y="3510"/>
                  </a:lnTo>
                  <a:lnTo>
                    <a:pt x="416" y="3514"/>
                  </a:lnTo>
                  <a:lnTo>
                    <a:pt x="418" y="3514"/>
                  </a:lnTo>
                  <a:lnTo>
                    <a:pt x="428" y="3516"/>
                  </a:lnTo>
                  <a:lnTo>
                    <a:pt x="430" y="3516"/>
                  </a:lnTo>
                  <a:lnTo>
                    <a:pt x="432" y="3518"/>
                  </a:lnTo>
                  <a:lnTo>
                    <a:pt x="432" y="3520"/>
                  </a:lnTo>
                  <a:lnTo>
                    <a:pt x="432" y="3522"/>
                  </a:lnTo>
                  <a:lnTo>
                    <a:pt x="436" y="3522"/>
                  </a:lnTo>
                  <a:lnTo>
                    <a:pt x="442" y="3518"/>
                  </a:lnTo>
                  <a:lnTo>
                    <a:pt x="442" y="3516"/>
                  </a:lnTo>
                  <a:lnTo>
                    <a:pt x="442" y="3512"/>
                  </a:lnTo>
                  <a:lnTo>
                    <a:pt x="438" y="3512"/>
                  </a:lnTo>
                  <a:lnTo>
                    <a:pt x="432" y="3510"/>
                  </a:lnTo>
                  <a:lnTo>
                    <a:pt x="434" y="3508"/>
                  </a:lnTo>
                  <a:lnTo>
                    <a:pt x="438" y="3508"/>
                  </a:lnTo>
                  <a:lnTo>
                    <a:pt x="442" y="3506"/>
                  </a:lnTo>
                  <a:lnTo>
                    <a:pt x="444" y="3504"/>
                  </a:lnTo>
                  <a:lnTo>
                    <a:pt x="440" y="3504"/>
                  </a:lnTo>
                  <a:lnTo>
                    <a:pt x="436" y="3502"/>
                  </a:lnTo>
                  <a:close/>
                  <a:moveTo>
                    <a:pt x="290" y="2874"/>
                  </a:moveTo>
                  <a:lnTo>
                    <a:pt x="290" y="2874"/>
                  </a:lnTo>
                  <a:lnTo>
                    <a:pt x="292" y="2876"/>
                  </a:lnTo>
                  <a:lnTo>
                    <a:pt x="294" y="2874"/>
                  </a:lnTo>
                  <a:lnTo>
                    <a:pt x="294" y="2872"/>
                  </a:lnTo>
                  <a:lnTo>
                    <a:pt x="294" y="2870"/>
                  </a:lnTo>
                  <a:lnTo>
                    <a:pt x="290" y="2868"/>
                  </a:lnTo>
                  <a:lnTo>
                    <a:pt x="290" y="2874"/>
                  </a:lnTo>
                  <a:close/>
                  <a:moveTo>
                    <a:pt x="592" y="3524"/>
                  </a:moveTo>
                  <a:lnTo>
                    <a:pt x="592" y="3524"/>
                  </a:lnTo>
                  <a:lnTo>
                    <a:pt x="596" y="3524"/>
                  </a:lnTo>
                  <a:lnTo>
                    <a:pt x="598" y="3524"/>
                  </a:lnTo>
                  <a:lnTo>
                    <a:pt x="598" y="3522"/>
                  </a:lnTo>
                  <a:lnTo>
                    <a:pt x="596" y="3518"/>
                  </a:lnTo>
                  <a:lnTo>
                    <a:pt x="594" y="3518"/>
                  </a:lnTo>
                  <a:lnTo>
                    <a:pt x="590" y="3520"/>
                  </a:lnTo>
                  <a:lnTo>
                    <a:pt x="590" y="3522"/>
                  </a:lnTo>
                  <a:lnTo>
                    <a:pt x="592" y="3524"/>
                  </a:lnTo>
                  <a:close/>
                  <a:moveTo>
                    <a:pt x="310" y="3406"/>
                  </a:moveTo>
                  <a:lnTo>
                    <a:pt x="310" y="3406"/>
                  </a:lnTo>
                  <a:lnTo>
                    <a:pt x="314" y="3406"/>
                  </a:lnTo>
                  <a:lnTo>
                    <a:pt x="318" y="3406"/>
                  </a:lnTo>
                  <a:lnTo>
                    <a:pt x="322" y="3406"/>
                  </a:lnTo>
                  <a:lnTo>
                    <a:pt x="326" y="3408"/>
                  </a:lnTo>
                  <a:lnTo>
                    <a:pt x="328" y="3408"/>
                  </a:lnTo>
                  <a:lnTo>
                    <a:pt x="324" y="3402"/>
                  </a:lnTo>
                  <a:lnTo>
                    <a:pt x="318" y="3396"/>
                  </a:lnTo>
                  <a:lnTo>
                    <a:pt x="316" y="3394"/>
                  </a:lnTo>
                  <a:lnTo>
                    <a:pt x="314" y="3394"/>
                  </a:lnTo>
                  <a:lnTo>
                    <a:pt x="312" y="3394"/>
                  </a:lnTo>
                  <a:lnTo>
                    <a:pt x="310" y="3392"/>
                  </a:lnTo>
                  <a:lnTo>
                    <a:pt x="308" y="3390"/>
                  </a:lnTo>
                  <a:lnTo>
                    <a:pt x="306" y="3392"/>
                  </a:lnTo>
                  <a:lnTo>
                    <a:pt x="304" y="3390"/>
                  </a:lnTo>
                  <a:lnTo>
                    <a:pt x="294" y="3384"/>
                  </a:lnTo>
                  <a:lnTo>
                    <a:pt x="284" y="3382"/>
                  </a:lnTo>
                  <a:lnTo>
                    <a:pt x="280" y="3378"/>
                  </a:lnTo>
                  <a:lnTo>
                    <a:pt x="274" y="3374"/>
                  </a:lnTo>
                  <a:lnTo>
                    <a:pt x="268" y="3370"/>
                  </a:lnTo>
                  <a:lnTo>
                    <a:pt x="264" y="3368"/>
                  </a:lnTo>
                  <a:lnTo>
                    <a:pt x="262" y="3370"/>
                  </a:lnTo>
                  <a:lnTo>
                    <a:pt x="266" y="3374"/>
                  </a:lnTo>
                  <a:lnTo>
                    <a:pt x="270" y="3376"/>
                  </a:lnTo>
                  <a:lnTo>
                    <a:pt x="270" y="3380"/>
                  </a:lnTo>
                  <a:lnTo>
                    <a:pt x="268" y="3380"/>
                  </a:lnTo>
                  <a:lnTo>
                    <a:pt x="272" y="3382"/>
                  </a:lnTo>
                  <a:lnTo>
                    <a:pt x="276" y="3384"/>
                  </a:lnTo>
                  <a:lnTo>
                    <a:pt x="278" y="3388"/>
                  </a:lnTo>
                  <a:lnTo>
                    <a:pt x="282" y="3390"/>
                  </a:lnTo>
                  <a:lnTo>
                    <a:pt x="288" y="3392"/>
                  </a:lnTo>
                  <a:lnTo>
                    <a:pt x="294" y="3392"/>
                  </a:lnTo>
                  <a:lnTo>
                    <a:pt x="296" y="3394"/>
                  </a:lnTo>
                  <a:lnTo>
                    <a:pt x="300" y="3396"/>
                  </a:lnTo>
                  <a:lnTo>
                    <a:pt x="302" y="3398"/>
                  </a:lnTo>
                  <a:lnTo>
                    <a:pt x="304" y="3398"/>
                  </a:lnTo>
                  <a:lnTo>
                    <a:pt x="308" y="3398"/>
                  </a:lnTo>
                  <a:lnTo>
                    <a:pt x="310" y="3400"/>
                  </a:lnTo>
                  <a:lnTo>
                    <a:pt x="310" y="3402"/>
                  </a:lnTo>
                  <a:lnTo>
                    <a:pt x="310" y="3404"/>
                  </a:lnTo>
                  <a:lnTo>
                    <a:pt x="310" y="3406"/>
                  </a:lnTo>
                  <a:close/>
                  <a:moveTo>
                    <a:pt x="262" y="3306"/>
                  </a:moveTo>
                  <a:lnTo>
                    <a:pt x="262" y="3306"/>
                  </a:lnTo>
                  <a:lnTo>
                    <a:pt x="260" y="3302"/>
                  </a:lnTo>
                  <a:lnTo>
                    <a:pt x="258" y="3302"/>
                  </a:lnTo>
                  <a:lnTo>
                    <a:pt x="258" y="3304"/>
                  </a:lnTo>
                  <a:lnTo>
                    <a:pt x="258" y="3310"/>
                  </a:lnTo>
                  <a:lnTo>
                    <a:pt x="258" y="3314"/>
                  </a:lnTo>
                  <a:lnTo>
                    <a:pt x="254" y="3308"/>
                  </a:lnTo>
                  <a:lnTo>
                    <a:pt x="252" y="3308"/>
                  </a:lnTo>
                  <a:lnTo>
                    <a:pt x="250" y="3310"/>
                  </a:lnTo>
                  <a:lnTo>
                    <a:pt x="248" y="3314"/>
                  </a:lnTo>
                  <a:lnTo>
                    <a:pt x="250" y="3318"/>
                  </a:lnTo>
                  <a:lnTo>
                    <a:pt x="252" y="3320"/>
                  </a:lnTo>
                  <a:lnTo>
                    <a:pt x="252" y="3322"/>
                  </a:lnTo>
                  <a:lnTo>
                    <a:pt x="250" y="3324"/>
                  </a:lnTo>
                  <a:lnTo>
                    <a:pt x="252" y="3328"/>
                  </a:lnTo>
                  <a:lnTo>
                    <a:pt x="252" y="3332"/>
                  </a:lnTo>
                  <a:lnTo>
                    <a:pt x="254" y="3332"/>
                  </a:lnTo>
                  <a:lnTo>
                    <a:pt x="258" y="3324"/>
                  </a:lnTo>
                  <a:lnTo>
                    <a:pt x="260" y="3314"/>
                  </a:lnTo>
                  <a:lnTo>
                    <a:pt x="262" y="3310"/>
                  </a:lnTo>
                  <a:lnTo>
                    <a:pt x="262" y="3306"/>
                  </a:lnTo>
                  <a:close/>
                  <a:moveTo>
                    <a:pt x="284" y="3406"/>
                  </a:moveTo>
                  <a:lnTo>
                    <a:pt x="284" y="3406"/>
                  </a:lnTo>
                  <a:lnTo>
                    <a:pt x="286" y="3406"/>
                  </a:lnTo>
                  <a:lnTo>
                    <a:pt x="288" y="3404"/>
                  </a:lnTo>
                  <a:lnTo>
                    <a:pt x="290" y="3402"/>
                  </a:lnTo>
                  <a:lnTo>
                    <a:pt x="290" y="3400"/>
                  </a:lnTo>
                  <a:lnTo>
                    <a:pt x="286" y="3398"/>
                  </a:lnTo>
                  <a:lnTo>
                    <a:pt x="284" y="3400"/>
                  </a:lnTo>
                  <a:lnTo>
                    <a:pt x="284" y="3404"/>
                  </a:lnTo>
                  <a:lnTo>
                    <a:pt x="284" y="3406"/>
                  </a:lnTo>
                  <a:close/>
                  <a:moveTo>
                    <a:pt x="268" y="3336"/>
                  </a:moveTo>
                  <a:lnTo>
                    <a:pt x="268" y="3336"/>
                  </a:lnTo>
                  <a:lnTo>
                    <a:pt x="260" y="3336"/>
                  </a:lnTo>
                  <a:lnTo>
                    <a:pt x="258" y="3336"/>
                  </a:lnTo>
                  <a:lnTo>
                    <a:pt x="256" y="3338"/>
                  </a:lnTo>
                  <a:lnTo>
                    <a:pt x="258" y="3340"/>
                  </a:lnTo>
                  <a:lnTo>
                    <a:pt x="262" y="3342"/>
                  </a:lnTo>
                  <a:lnTo>
                    <a:pt x="264" y="3342"/>
                  </a:lnTo>
                  <a:lnTo>
                    <a:pt x="268" y="3340"/>
                  </a:lnTo>
                  <a:lnTo>
                    <a:pt x="268" y="3338"/>
                  </a:lnTo>
                  <a:lnTo>
                    <a:pt x="268" y="3336"/>
                  </a:lnTo>
                  <a:close/>
                  <a:moveTo>
                    <a:pt x="412" y="3500"/>
                  </a:moveTo>
                  <a:lnTo>
                    <a:pt x="412" y="3500"/>
                  </a:lnTo>
                  <a:lnTo>
                    <a:pt x="406" y="3498"/>
                  </a:lnTo>
                  <a:lnTo>
                    <a:pt x="402" y="3496"/>
                  </a:lnTo>
                  <a:lnTo>
                    <a:pt x="398" y="3498"/>
                  </a:lnTo>
                  <a:lnTo>
                    <a:pt x="396" y="3500"/>
                  </a:lnTo>
                  <a:lnTo>
                    <a:pt x="396" y="3502"/>
                  </a:lnTo>
                  <a:lnTo>
                    <a:pt x="398" y="3504"/>
                  </a:lnTo>
                  <a:lnTo>
                    <a:pt x="402" y="3502"/>
                  </a:lnTo>
                  <a:lnTo>
                    <a:pt x="406" y="3500"/>
                  </a:lnTo>
                  <a:lnTo>
                    <a:pt x="408" y="3502"/>
                  </a:lnTo>
                  <a:lnTo>
                    <a:pt x="410" y="3502"/>
                  </a:lnTo>
                  <a:lnTo>
                    <a:pt x="414" y="3504"/>
                  </a:lnTo>
                  <a:lnTo>
                    <a:pt x="414" y="3502"/>
                  </a:lnTo>
                  <a:lnTo>
                    <a:pt x="416" y="3500"/>
                  </a:lnTo>
                  <a:lnTo>
                    <a:pt x="414" y="3500"/>
                  </a:lnTo>
                  <a:lnTo>
                    <a:pt x="412" y="3500"/>
                  </a:lnTo>
                  <a:close/>
                  <a:moveTo>
                    <a:pt x="248" y="3284"/>
                  </a:moveTo>
                  <a:lnTo>
                    <a:pt x="248" y="3284"/>
                  </a:lnTo>
                  <a:lnTo>
                    <a:pt x="244" y="3282"/>
                  </a:lnTo>
                  <a:lnTo>
                    <a:pt x="244" y="3284"/>
                  </a:lnTo>
                  <a:lnTo>
                    <a:pt x="244" y="3292"/>
                  </a:lnTo>
                  <a:lnTo>
                    <a:pt x="240" y="3300"/>
                  </a:lnTo>
                  <a:lnTo>
                    <a:pt x="240" y="3302"/>
                  </a:lnTo>
                  <a:lnTo>
                    <a:pt x="244" y="3302"/>
                  </a:lnTo>
                  <a:lnTo>
                    <a:pt x="246" y="3300"/>
                  </a:lnTo>
                  <a:lnTo>
                    <a:pt x="246" y="3298"/>
                  </a:lnTo>
                  <a:lnTo>
                    <a:pt x="248" y="3294"/>
                  </a:lnTo>
                  <a:lnTo>
                    <a:pt x="248" y="3292"/>
                  </a:lnTo>
                  <a:lnTo>
                    <a:pt x="252" y="3288"/>
                  </a:lnTo>
                  <a:lnTo>
                    <a:pt x="248" y="3284"/>
                  </a:lnTo>
                  <a:close/>
                  <a:moveTo>
                    <a:pt x="376" y="3462"/>
                  </a:moveTo>
                  <a:lnTo>
                    <a:pt x="376" y="3462"/>
                  </a:lnTo>
                  <a:lnTo>
                    <a:pt x="376" y="3466"/>
                  </a:lnTo>
                  <a:lnTo>
                    <a:pt x="378" y="3468"/>
                  </a:lnTo>
                  <a:lnTo>
                    <a:pt x="380" y="3468"/>
                  </a:lnTo>
                  <a:lnTo>
                    <a:pt x="380" y="3464"/>
                  </a:lnTo>
                  <a:lnTo>
                    <a:pt x="380" y="3462"/>
                  </a:lnTo>
                  <a:lnTo>
                    <a:pt x="382" y="3462"/>
                  </a:lnTo>
                  <a:lnTo>
                    <a:pt x="384" y="3460"/>
                  </a:lnTo>
                  <a:lnTo>
                    <a:pt x="384" y="3456"/>
                  </a:lnTo>
                  <a:lnTo>
                    <a:pt x="386" y="3454"/>
                  </a:lnTo>
                  <a:lnTo>
                    <a:pt x="386" y="3452"/>
                  </a:lnTo>
                  <a:lnTo>
                    <a:pt x="386" y="3448"/>
                  </a:lnTo>
                  <a:lnTo>
                    <a:pt x="386" y="3444"/>
                  </a:lnTo>
                  <a:lnTo>
                    <a:pt x="386" y="3442"/>
                  </a:lnTo>
                  <a:lnTo>
                    <a:pt x="384" y="3440"/>
                  </a:lnTo>
                  <a:lnTo>
                    <a:pt x="378" y="3438"/>
                  </a:lnTo>
                  <a:lnTo>
                    <a:pt x="376" y="3438"/>
                  </a:lnTo>
                  <a:lnTo>
                    <a:pt x="374" y="3442"/>
                  </a:lnTo>
                  <a:lnTo>
                    <a:pt x="372" y="3444"/>
                  </a:lnTo>
                  <a:lnTo>
                    <a:pt x="370" y="3442"/>
                  </a:lnTo>
                  <a:lnTo>
                    <a:pt x="368" y="3442"/>
                  </a:lnTo>
                  <a:lnTo>
                    <a:pt x="364" y="3442"/>
                  </a:lnTo>
                  <a:lnTo>
                    <a:pt x="362" y="3444"/>
                  </a:lnTo>
                  <a:lnTo>
                    <a:pt x="362" y="3446"/>
                  </a:lnTo>
                  <a:lnTo>
                    <a:pt x="368" y="3452"/>
                  </a:lnTo>
                  <a:lnTo>
                    <a:pt x="374" y="3458"/>
                  </a:lnTo>
                  <a:lnTo>
                    <a:pt x="376" y="3460"/>
                  </a:lnTo>
                  <a:lnTo>
                    <a:pt x="376" y="3462"/>
                  </a:lnTo>
                  <a:close/>
                  <a:moveTo>
                    <a:pt x="360" y="3454"/>
                  </a:moveTo>
                  <a:lnTo>
                    <a:pt x="360" y="3454"/>
                  </a:lnTo>
                  <a:lnTo>
                    <a:pt x="358" y="3458"/>
                  </a:lnTo>
                  <a:lnTo>
                    <a:pt x="354" y="3458"/>
                  </a:lnTo>
                  <a:lnTo>
                    <a:pt x="352" y="3460"/>
                  </a:lnTo>
                  <a:lnTo>
                    <a:pt x="354" y="3462"/>
                  </a:lnTo>
                  <a:lnTo>
                    <a:pt x="356" y="3464"/>
                  </a:lnTo>
                  <a:lnTo>
                    <a:pt x="358" y="3464"/>
                  </a:lnTo>
                  <a:lnTo>
                    <a:pt x="364" y="3458"/>
                  </a:lnTo>
                  <a:lnTo>
                    <a:pt x="364" y="3456"/>
                  </a:lnTo>
                  <a:lnTo>
                    <a:pt x="364" y="3454"/>
                  </a:lnTo>
                  <a:lnTo>
                    <a:pt x="362" y="3452"/>
                  </a:lnTo>
                  <a:lnTo>
                    <a:pt x="360" y="3454"/>
                  </a:lnTo>
                  <a:close/>
                  <a:moveTo>
                    <a:pt x="390" y="3462"/>
                  </a:moveTo>
                  <a:lnTo>
                    <a:pt x="390" y="3462"/>
                  </a:lnTo>
                  <a:lnTo>
                    <a:pt x="394" y="3462"/>
                  </a:lnTo>
                  <a:lnTo>
                    <a:pt x="394" y="3460"/>
                  </a:lnTo>
                  <a:lnTo>
                    <a:pt x="396" y="3458"/>
                  </a:lnTo>
                  <a:lnTo>
                    <a:pt x="398" y="3460"/>
                  </a:lnTo>
                  <a:lnTo>
                    <a:pt x="402" y="3462"/>
                  </a:lnTo>
                  <a:lnTo>
                    <a:pt x="402" y="3464"/>
                  </a:lnTo>
                  <a:lnTo>
                    <a:pt x="402" y="3466"/>
                  </a:lnTo>
                  <a:lnTo>
                    <a:pt x="406" y="3468"/>
                  </a:lnTo>
                  <a:lnTo>
                    <a:pt x="410" y="3468"/>
                  </a:lnTo>
                  <a:lnTo>
                    <a:pt x="412" y="3466"/>
                  </a:lnTo>
                  <a:lnTo>
                    <a:pt x="412" y="3454"/>
                  </a:lnTo>
                  <a:lnTo>
                    <a:pt x="410" y="3450"/>
                  </a:lnTo>
                  <a:lnTo>
                    <a:pt x="408" y="3450"/>
                  </a:lnTo>
                  <a:lnTo>
                    <a:pt x="406" y="3450"/>
                  </a:lnTo>
                  <a:lnTo>
                    <a:pt x="402" y="3448"/>
                  </a:lnTo>
                  <a:lnTo>
                    <a:pt x="400" y="3444"/>
                  </a:lnTo>
                  <a:lnTo>
                    <a:pt x="394" y="3442"/>
                  </a:lnTo>
                  <a:lnTo>
                    <a:pt x="390" y="3444"/>
                  </a:lnTo>
                  <a:lnTo>
                    <a:pt x="388" y="3446"/>
                  </a:lnTo>
                  <a:lnTo>
                    <a:pt x="388" y="3448"/>
                  </a:lnTo>
                  <a:lnTo>
                    <a:pt x="390" y="3454"/>
                  </a:lnTo>
                  <a:lnTo>
                    <a:pt x="388" y="3456"/>
                  </a:lnTo>
                  <a:lnTo>
                    <a:pt x="388" y="3460"/>
                  </a:lnTo>
                  <a:lnTo>
                    <a:pt x="390" y="3462"/>
                  </a:lnTo>
                  <a:close/>
                  <a:moveTo>
                    <a:pt x="356" y="3450"/>
                  </a:moveTo>
                  <a:lnTo>
                    <a:pt x="356" y="3450"/>
                  </a:lnTo>
                  <a:lnTo>
                    <a:pt x="358" y="3450"/>
                  </a:lnTo>
                  <a:lnTo>
                    <a:pt x="360" y="3450"/>
                  </a:lnTo>
                  <a:lnTo>
                    <a:pt x="358" y="3444"/>
                  </a:lnTo>
                  <a:lnTo>
                    <a:pt x="358" y="3442"/>
                  </a:lnTo>
                  <a:lnTo>
                    <a:pt x="358" y="3440"/>
                  </a:lnTo>
                  <a:lnTo>
                    <a:pt x="362" y="3438"/>
                  </a:lnTo>
                  <a:lnTo>
                    <a:pt x="366" y="3436"/>
                  </a:lnTo>
                  <a:lnTo>
                    <a:pt x="366" y="3434"/>
                  </a:lnTo>
                  <a:lnTo>
                    <a:pt x="366" y="3432"/>
                  </a:lnTo>
                  <a:lnTo>
                    <a:pt x="362" y="3430"/>
                  </a:lnTo>
                  <a:lnTo>
                    <a:pt x="360" y="3430"/>
                  </a:lnTo>
                  <a:lnTo>
                    <a:pt x="358" y="3428"/>
                  </a:lnTo>
                  <a:lnTo>
                    <a:pt x="356" y="3426"/>
                  </a:lnTo>
                  <a:lnTo>
                    <a:pt x="354" y="3422"/>
                  </a:lnTo>
                  <a:lnTo>
                    <a:pt x="352" y="3420"/>
                  </a:lnTo>
                  <a:lnTo>
                    <a:pt x="348" y="3418"/>
                  </a:lnTo>
                  <a:lnTo>
                    <a:pt x="346" y="3420"/>
                  </a:lnTo>
                  <a:lnTo>
                    <a:pt x="344" y="3420"/>
                  </a:lnTo>
                  <a:lnTo>
                    <a:pt x="344" y="3418"/>
                  </a:lnTo>
                  <a:lnTo>
                    <a:pt x="342" y="3418"/>
                  </a:lnTo>
                  <a:lnTo>
                    <a:pt x="340" y="3420"/>
                  </a:lnTo>
                  <a:lnTo>
                    <a:pt x="338" y="3422"/>
                  </a:lnTo>
                  <a:lnTo>
                    <a:pt x="338" y="3418"/>
                  </a:lnTo>
                  <a:lnTo>
                    <a:pt x="336" y="3414"/>
                  </a:lnTo>
                  <a:lnTo>
                    <a:pt x="332" y="3410"/>
                  </a:lnTo>
                  <a:lnTo>
                    <a:pt x="328" y="3410"/>
                  </a:lnTo>
                  <a:lnTo>
                    <a:pt x="328" y="3412"/>
                  </a:lnTo>
                  <a:lnTo>
                    <a:pt x="328" y="3414"/>
                  </a:lnTo>
                  <a:lnTo>
                    <a:pt x="322" y="3414"/>
                  </a:lnTo>
                  <a:lnTo>
                    <a:pt x="320" y="3414"/>
                  </a:lnTo>
                  <a:lnTo>
                    <a:pt x="318" y="3414"/>
                  </a:lnTo>
                  <a:lnTo>
                    <a:pt x="320" y="3418"/>
                  </a:lnTo>
                  <a:lnTo>
                    <a:pt x="322" y="3422"/>
                  </a:lnTo>
                  <a:lnTo>
                    <a:pt x="320" y="3422"/>
                  </a:lnTo>
                  <a:lnTo>
                    <a:pt x="314" y="3420"/>
                  </a:lnTo>
                  <a:lnTo>
                    <a:pt x="310" y="3422"/>
                  </a:lnTo>
                  <a:lnTo>
                    <a:pt x="308" y="3424"/>
                  </a:lnTo>
                  <a:lnTo>
                    <a:pt x="308" y="3426"/>
                  </a:lnTo>
                  <a:lnTo>
                    <a:pt x="310" y="3428"/>
                  </a:lnTo>
                  <a:lnTo>
                    <a:pt x="312" y="3430"/>
                  </a:lnTo>
                  <a:lnTo>
                    <a:pt x="312" y="3432"/>
                  </a:lnTo>
                  <a:lnTo>
                    <a:pt x="316" y="3432"/>
                  </a:lnTo>
                  <a:lnTo>
                    <a:pt x="320" y="3430"/>
                  </a:lnTo>
                  <a:lnTo>
                    <a:pt x="322" y="3432"/>
                  </a:lnTo>
                  <a:lnTo>
                    <a:pt x="322" y="3434"/>
                  </a:lnTo>
                  <a:lnTo>
                    <a:pt x="322" y="3442"/>
                  </a:lnTo>
                  <a:lnTo>
                    <a:pt x="324" y="3444"/>
                  </a:lnTo>
                  <a:lnTo>
                    <a:pt x="328" y="3448"/>
                  </a:lnTo>
                  <a:lnTo>
                    <a:pt x="330" y="3448"/>
                  </a:lnTo>
                  <a:lnTo>
                    <a:pt x="332" y="3448"/>
                  </a:lnTo>
                  <a:lnTo>
                    <a:pt x="332" y="3442"/>
                  </a:lnTo>
                  <a:lnTo>
                    <a:pt x="332" y="3438"/>
                  </a:lnTo>
                  <a:lnTo>
                    <a:pt x="334" y="3438"/>
                  </a:lnTo>
                  <a:lnTo>
                    <a:pt x="336" y="3440"/>
                  </a:lnTo>
                  <a:lnTo>
                    <a:pt x="340" y="3438"/>
                  </a:lnTo>
                  <a:lnTo>
                    <a:pt x="342" y="3438"/>
                  </a:lnTo>
                  <a:lnTo>
                    <a:pt x="342" y="3442"/>
                  </a:lnTo>
                  <a:lnTo>
                    <a:pt x="340" y="3448"/>
                  </a:lnTo>
                  <a:lnTo>
                    <a:pt x="336" y="3450"/>
                  </a:lnTo>
                  <a:lnTo>
                    <a:pt x="334" y="3452"/>
                  </a:lnTo>
                  <a:lnTo>
                    <a:pt x="338" y="3454"/>
                  </a:lnTo>
                  <a:lnTo>
                    <a:pt x="342" y="3454"/>
                  </a:lnTo>
                  <a:lnTo>
                    <a:pt x="346" y="3454"/>
                  </a:lnTo>
                  <a:lnTo>
                    <a:pt x="348" y="3452"/>
                  </a:lnTo>
                  <a:lnTo>
                    <a:pt x="350" y="3452"/>
                  </a:lnTo>
                  <a:lnTo>
                    <a:pt x="352" y="3452"/>
                  </a:lnTo>
                  <a:lnTo>
                    <a:pt x="352" y="3450"/>
                  </a:lnTo>
                  <a:lnTo>
                    <a:pt x="354" y="3448"/>
                  </a:lnTo>
                  <a:lnTo>
                    <a:pt x="356" y="3450"/>
                  </a:lnTo>
                  <a:close/>
                  <a:moveTo>
                    <a:pt x="490" y="3366"/>
                  </a:moveTo>
                  <a:lnTo>
                    <a:pt x="490" y="3366"/>
                  </a:lnTo>
                  <a:lnTo>
                    <a:pt x="488" y="3366"/>
                  </a:lnTo>
                  <a:lnTo>
                    <a:pt x="486" y="3364"/>
                  </a:lnTo>
                  <a:lnTo>
                    <a:pt x="482" y="3360"/>
                  </a:lnTo>
                  <a:lnTo>
                    <a:pt x="480" y="3354"/>
                  </a:lnTo>
                  <a:lnTo>
                    <a:pt x="478" y="3352"/>
                  </a:lnTo>
                  <a:lnTo>
                    <a:pt x="476" y="3352"/>
                  </a:lnTo>
                  <a:lnTo>
                    <a:pt x="472" y="3356"/>
                  </a:lnTo>
                  <a:lnTo>
                    <a:pt x="468" y="3364"/>
                  </a:lnTo>
                  <a:lnTo>
                    <a:pt x="464" y="3370"/>
                  </a:lnTo>
                  <a:lnTo>
                    <a:pt x="460" y="3374"/>
                  </a:lnTo>
                  <a:lnTo>
                    <a:pt x="454" y="3374"/>
                  </a:lnTo>
                  <a:lnTo>
                    <a:pt x="450" y="3372"/>
                  </a:lnTo>
                  <a:lnTo>
                    <a:pt x="446" y="3368"/>
                  </a:lnTo>
                  <a:lnTo>
                    <a:pt x="440" y="3370"/>
                  </a:lnTo>
                  <a:lnTo>
                    <a:pt x="438" y="3370"/>
                  </a:lnTo>
                  <a:lnTo>
                    <a:pt x="440" y="3372"/>
                  </a:lnTo>
                  <a:lnTo>
                    <a:pt x="442" y="3374"/>
                  </a:lnTo>
                  <a:lnTo>
                    <a:pt x="444" y="3376"/>
                  </a:lnTo>
                  <a:lnTo>
                    <a:pt x="444" y="3378"/>
                  </a:lnTo>
                  <a:lnTo>
                    <a:pt x="448" y="3380"/>
                  </a:lnTo>
                  <a:lnTo>
                    <a:pt x="450" y="3382"/>
                  </a:lnTo>
                  <a:lnTo>
                    <a:pt x="448" y="3384"/>
                  </a:lnTo>
                  <a:lnTo>
                    <a:pt x="446" y="3388"/>
                  </a:lnTo>
                  <a:lnTo>
                    <a:pt x="444" y="3388"/>
                  </a:lnTo>
                  <a:lnTo>
                    <a:pt x="440" y="3384"/>
                  </a:lnTo>
                  <a:lnTo>
                    <a:pt x="438" y="3382"/>
                  </a:lnTo>
                  <a:lnTo>
                    <a:pt x="438" y="3384"/>
                  </a:lnTo>
                  <a:lnTo>
                    <a:pt x="436" y="3388"/>
                  </a:lnTo>
                  <a:lnTo>
                    <a:pt x="436" y="3398"/>
                  </a:lnTo>
                  <a:lnTo>
                    <a:pt x="440" y="3410"/>
                  </a:lnTo>
                  <a:lnTo>
                    <a:pt x="442" y="3412"/>
                  </a:lnTo>
                  <a:lnTo>
                    <a:pt x="448" y="3414"/>
                  </a:lnTo>
                  <a:lnTo>
                    <a:pt x="460" y="3410"/>
                  </a:lnTo>
                  <a:lnTo>
                    <a:pt x="474" y="3406"/>
                  </a:lnTo>
                  <a:lnTo>
                    <a:pt x="478" y="3406"/>
                  </a:lnTo>
                  <a:lnTo>
                    <a:pt x="480" y="3408"/>
                  </a:lnTo>
                  <a:lnTo>
                    <a:pt x="482" y="3414"/>
                  </a:lnTo>
                  <a:lnTo>
                    <a:pt x="478" y="3418"/>
                  </a:lnTo>
                  <a:lnTo>
                    <a:pt x="472" y="3422"/>
                  </a:lnTo>
                  <a:lnTo>
                    <a:pt x="466" y="3424"/>
                  </a:lnTo>
                  <a:lnTo>
                    <a:pt x="452" y="3430"/>
                  </a:lnTo>
                  <a:lnTo>
                    <a:pt x="448" y="3434"/>
                  </a:lnTo>
                  <a:lnTo>
                    <a:pt x="448" y="3438"/>
                  </a:lnTo>
                  <a:lnTo>
                    <a:pt x="452" y="3446"/>
                  </a:lnTo>
                  <a:lnTo>
                    <a:pt x="458" y="3452"/>
                  </a:lnTo>
                  <a:lnTo>
                    <a:pt x="464" y="3458"/>
                  </a:lnTo>
                  <a:lnTo>
                    <a:pt x="474" y="3462"/>
                  </a:lnTo>
                  <a:lnTo>
                    <a:pt x="488" y="3470"/>
                  </a:lnTo>
                  <a:lnTo>
                    <a:pt x="494" y="3472"/>
                  </a:lnTo>
                  <a:lnTo>
                    <a:pt x="496" y="3474"/>
                  </a:lnTo>
                  <a:lnTo>
                    <a:pt x="482" y="3472"/>
                  </a:lnTo>
                  <a:lnTo>
                    <a:pt x="476" y="3468"/>
                  </a:lnTo>
                  <a:lnTo>
                    <a:pt x="474" y="3468"/>
                  </a:lnTo>
                  <a:lnTo>
                    <a:pt x="472" y="3468"/>
                  </a:lnTo>
                  <a:lnTo>
                    <a:pt x="470" y="3470"/>
                  </a:lnTo>
                  <a:lnTo>
                    <a:pt x="468" y="3470"/>
                  </a:lnTo>
                  <a:lnTo>
                    <a:pt x="462" y="3466"/>
                  </a:lnTo>
                  <a:lnTo>
                    <a:pt x="456" y="3464"/>
                  </a:lnTo>
                  <a:lnTo>
                    <a:pt x="452" y="3464"/>
                  </a:lnTo>
                  <a:lnTo>
                    <a:pt x="450" y="3464"/>
                  </a:lnTo>
                  <a:lnTo>
                    <a:pt x="448" y="3466"/>
                  </a:lnTo>
                  <a:lnTo>
                    <a:pt x="448" y="3468"/>
                  </a:lnTo>
                  <a:lnTo>
                    <a:pt x="448" y="3472"/>
                  </a:lnTo>
                  <a:lnTo>
                    <a:pt x="450" y="3472"/>
                  </a:lnTo>
                  <a:lnTo>
                    <a:pt x="448" y="3472"/>
                  </a:lnTo>
                  <a:lnTo>
                    <a:pt x="442" y="3468"/>
                  </a:lnTo>
                  <a:lnTo>
                    <a:pt x="422" y="3454"/>
                  </a:lnTo>
                  <a:lnTo>
                    <a:pt x="416" y="3452"/>
                  </a:lnTo>
                  <a:lnTo>
                    <a:pt x="416" y="3454"/>
                  </a:lnTo>
                  <a:lnTo>
                    <a:pt x="418" y="3456"/>
                  </a:lnTo>
                  <a:lnTo>
                    <a:pt x="422" y="3462"/>
                  </a:lnTo>
                  <a:lnTo>
                    <a:pt x="428" y="3464"/>
                  </a:lnTo>
                  <a:lnTo>
                    <a:pt x="430" y="3466"/>
                  </a:lnTo>
                  <a:lnTo>
                    <a:pt x="426" y="3466"/>
                  </a:lnTo>
                  <a:lnTo>
                    <a:pt x="420" y="3466"/>
                  </a:lnTo>
                  <a:lnTo>
                    <a:pt x="418" y="3468"/>
                  </a:lnTo>
                  <a:lnTo>
                    <a:pt x="416" y="3472"/>
                  </a:lnTo>
                  <a:lnTo>
                    <a:pt x="414" y="3476"/>
                  </a:lnTo>
                  <a:lnTo>
                    <a:pt x="408" y="3474"/>
                  </a:lnTo>
                  <a:lnTo>
                    <a:pt x="398" y="3470"/>
                  </a:lnTo>
                  <a:lnTo>
                    <a:pt x="398" y="3472"/>
                  </a:lnTo>
                  <a:lnTo>
                    <a:pt x="396" y="3474"/>
                  </a:lnTo>
                  <a:lnTo>
                    <a:pt x="392" y="3472"/>
                  </a:lnTo>
                  <a:lnTo>
                    <a:pt x="380" y="3470"/>
                  </a:lnTo>
                  <a:lnTo>
                    <a:pt x="380" y="3472"/>
                  </a:lnTo>
                  <a:lnTo>
                    <a:pt x="382" y="3476"/>
                  </a:lnTo>
                  <a:lnTo>
                    <a:pt x="386" y="3478"/>
                  </a:lnTo>
                  <a:lnTo>
                    <a:pt x="386" y="3480"/>
                  </a:lnTo>
                  <a:lnTo>
                    <a:pt x="382" y="3480"/>
                  </a:lnTo>
                  <a:lnTo>
                    <a:pt x="376" y="3476"/>
                  </a:lnTo>
                  <a:lnTo>
                    <a:pt x="374" y="3474"/>
                  </a:lnTo>
                  <a:lnTo>
                    <a:pt x="372" y="3474"/>
                  </a:lnTo>
                  <a:lnTo>
                    <a:pt x="374" y="3476"/>
                  </a:lnTo>
                  <a:lnTo>
                    <a:pt x="374" y="3482"/>
                  </a:lnTo>
                  <a:lnTo>
                    <a:pt x="374" y="3484"/>
                  </a:lnTo>
                  <a:lnTo>
                    <a:pt x="374" y="3486"/>
                  </a:lnTo>
                  <a:lnTo>
                    <a:pt x="376" y="3486"/>
                  </a:lnTo>
                  <a:lnTo>
                    <a:pt x="380" y="3488"/>
                  </a:lnTo>
                  <a:lnTo>
                    <a:pt x="384" y="3486"/>
                  </a:lnTo>
                  <a:lnTo>
                    <a:pt x="390" y="3486"/>
                  </a:lnTo>
                  <a:lnTo>
                    <a:pt x="394" y="3488"/>
                  </a:lnTo>
                  <a:lnTo>
                    <a:pt x="396" y="3488"/>
                  </a:lnTo>
                  <a:lnTo>
                    <a:pt x="398" y="3484"/>
                  </a:lnTo>
                  <a:lnTo>
                    <a:pt x="400" y="3480"/>
                  </a:lnTo>
                  <a:lnTo>
                    <a:pt x="402" y="3480"/>
                  </a:lnTo>
                  <a:lnTo>
                    <a:pt x="404" y="3480"/>
                  </a:lnTo>
                  <a:lnTo>
                    <a:pt x="402" y="3484"/>
                  </a:lnTo>
                  <a:lnTo>
                    <a:pt x="402" y="3486"/>
                  </a:lnTo>
                  <a:lnTo>
                    <a:pt x="404" y="3488"/>
                  </a:lnTo>
                  <a:lnTo>
                    <a:pt x="408" y="3488"/>
                  </a:lnTo>
                  <a:lnTo>
                    <a:pt x="412" y="3486"/>
                  </a:lnTo>
                  <a:lnTo>
                    <a:pt x="416" y="3486"/>
                  </a:lnTo>
                  <a:lnTo>
                    <a:pt x="414" y="3488"/>
                  </a:lnTo>
                  <a:lnTo>
                    <a:pt x="412" y="3492"/>
                  </a:lnTo>
                  <a:lnTo>
                    <a:pt x="414" y="3494"/>
                  </a:lnTo>
                  <a:lnTo>
                    <a:pt x="416" y="3492"/>
                  </a:lnTo>
                  <a:lnTo>
                    <a:pt x="418" y="3494"/>
                  </a:lnTo>
                  <a:lnTo>
                    <a:pt x="422" y="3498"/>
                  </a:lnTo>
                  <a:lnTo>
                    <a:pt x="424" y="3498"/>
                  </a:lnTo>
                  <a:lnTo>
                    <a:pt x="428" y="3496"/>
                  </a:lnTo>
                  <a:lnTo>
                    <a:pt x="432" y="3496"/>
                  </a:lnTo>
                  <a:lnTo>
                    <a:pt x="438" y="3498"/>
                  </a:lnTo>
                  <a:lnTo>
                    <a:pt x="442" y="3498"/>
                  </a:lnTo>
                  <a:lnTo>
                    <a:pt x="446" y="3496"/>
                  </a:lnTo>
                  <a:lnTo>
                    <a:pt x="450" y="3496"/>
                  </a:lnTo>
                  <a:lnTo>
                    <a:pt x="452" y="3498"/>
                  </a:lnTo>
                  <a:lnTo>
                    <a:pt x="452" y="3500"/>
                  </a:lnTo>
                  <a:lnTo>
                    <a:pt x="456" y="3498"/>
                  </a:lnTo>
                  <a:lnTo>
                    <a:pt x="458" y="3496"/>
                  </a:lnTo>
                  <a:lnTo>
                    <a:pt x="462" y="3496"/>
                  </a:lnTo>
                  <a:lnTo>
                    <a:pt x="464" y="3496"/>
                  </a:lnTo>
                  <a:lnTo>
                    <a:pt x="466" y="3492"/>
                  </a:lnTo>
                  <a:lnTo>
                    <a:pt x="468" y="3494"/>
                  </a:lnTo>
                  <a:lnTo>
                    <a:pt x="470" y="3498"/>
                  </a:lnTo>
                  <a:lnTo>
                    <a:pt x="478" y="3500"/>
                  </a:lnTo>
                  <a:lnTo>
                    <a:pt x="496" y="3504"/>
                  </a:lnTo>
                  <a:lnTo>
                    <a:pt x="502" y="3504"/>
                  </a:lnTo>
                  <a:lnTo>
                    <a:pt x="504" y="3504"/>
                  </a:lnTo>
                  <a:lnTo>
                    <a:pt x="504" y="3502"/>
                  </a:lnTo>
                  <a:lnTo>
                    <a:pt x="504" y="3500"/>
                  </a:lnTo>
                  <a:lnTo>
                    <a:pt x="506" y="3500"/>
                  </a:lnTo>
                  <a:lnTo>
                    <a:pt x="510" y="3502"/>
                  </a:lnTo>
                  <a:lnTo>
                    <a:pt x="510" y="3364"/>
                  </a:lnTo>
                  <a:lnTo>
                    <a:pt x="508" y="3362"/>
                  </a:lnTo>
                  <a:lnTo>
                    <a:pt x="504" y="3360"/>
                  </a:lnTo>
                  <a:lnTo>
                    <a:pt x="500" y="3360"/>
                  </a:lnTo>
                  <a:lnTo>
                    <a:pt x="496" y="3364"/>
                  </a:lnTo>
                  <a:lnTo>
                    <a:pt x="490" y="3366"/>
                  </a:lnTo>
                  <a:close/>
                  <a:moveTo>
                    <a:pt x="298" y="2826"/>
                  </a:moveTo>
                  <a:lnTo>
                    <a:pt x="298" y="2826"/>
                  </a:lnTo>
                  <a:lnTo>
                    <a:pt x="304" y="2826"/>
                  </a:lnTo>
                  <a:lnTo>
                    <a:pt x="306" y="2824"/>
                  </a:lnTo>
                  <a:lnTo>
                    <a:pt x="306" y="2822"/>
                  </a:lnTo>
                  <a:lnTo>
                    <a:pt x="304" y="2820"/>
                  </a:lnTo>
                  <a:lnTo>
                    <a:pt x="302" y="2814"/>
                  </a:lnTo>
                  <a:lnTo>
                    <a:pt x="304" y="2812"/>
                  </a:lnTo>
                  <a:lnTo>
                    <a:pt x="308" y="2812"/>
                  </a:lnTo>
                  <a:lnTo>
                    <a:pt x="310" y="2812"/>
                  </a:lnTo>
                  <a:lnTo>
                    <a:pt x="312" y="2810"/>
                  </a:lnTo>
                  <a:lnTo>
                    <a:pt x="310" y="2806"/>
                  </a:lnTo>
                  <a:lnTo>
                    <a:pt x="308" y="2800"/>
                  </a:lnTo>
                  <a:lnTo>
                    <a:pt x="308" y="2798"/>
                  </a:lnTo>
                  <a:lnTo>
                    <a:pt x="310" y="2798"/>
                  </a:lnTo>
                  <a:lnTo>
                    <a:pt x="314" y="2798"/>
                  </a:lnTo>
                  <a:lnTo>
                    <a:pt x="314" y="2794"/>
                  </a:lnTo>
                  <a:lnTo>
                    <a:pt x="304" y="2784"/>
                  </a:lnTo>
                  <a:lnTo>
                    <a:pt x="302" y="2780"/>
                  </a:lnTo>
                  <a:lnTo>
                    <a:pt x="302" y="2778"/>
                  </a:lnTo>
                  <a:lnTo>
                    <a:pt x="306" y="2776"/>
                  </a:lnTo>
                  <a:lnTo>
                    <a:pt x="306" y="2774"/>
                  </a:lnTo>
                  <a:lnTo>
                    <a:pt x="306" y="2770"/>
                  </a:lnTo>
                  <a:lnTo>
                    <a:pt x="306" y="2768"/>
                  </a:lnTo>
                  <a:lnTo>
                    <a:pt x="316" y="2764"/>
                  </a:lnTo>
                  <a:lnTo>
                    <a:pt x="318" y="2764"/>
                  </a:lnTo>
                  <a:lnTo>
                    <a:pt x="320" y="2762"/>
                  </a:lnTo>
                  <a:lnTo>
                    <a:pt x="318" y="2758"/>
                  </a:lnTo>
                  <a:lnTo>
                    <a:pt x="312" y="2748"/>
                  </a:lnTo>
                  <a:lnTo>
                    <a:pt x="310" y="2740"/>
                  </a:lnTo>
                  <a:lnTo>
                    <a:pt x="308" y="2738"/>
                  </a:lnTo>
                  <a:lnTo>
                    <a:pt x="302" y="2738"/>
                  </a:lnTo>
                  <a:lnTo>
                    <a:pt x="298" y="2740"/>
                  </a:lnTo>
                  <a:lnTo>
                    <a:pt x="298" y="2738"/>
                  </a:lnTo>
                  <a:lnTo>
                    <a:pt x="298" y="2736"/>
                  </a:lnTo>
                  <a:lnTo>
                    <a:pt x="296" y="2736"/>
                  </a:lnTo>
                  <a:lnTo>
                    <a:pt x="292" y="2736"/>
                  </a:lnTo>
                  <a:lnTo>
                    <a:pt x="290" y="2736"/>
                  </a:lnTo>
                  <a:lnTo>
                    <a:pt x="290" y="2738"/>
                  </a:lnTo>
                  <a:lnTo>
                    <a:pt x="290" y="2744"/>
                  </a:lnTo>
                  <a:lnTo>
                    <a:pt x="290" y="2752"/>
                  </a:lnTo>
                  <a:lnTo>
                    <a:pt x="288" y="2756"/>
                  </a:lnTo>
                  <a:lnTo>
                    <a:pt x="286" y="2762"/>
                  </a:lnTo>
                  <a:lnTo>
                    <a:pt x="284" y="2770"/>
                  </a:lnTo>
                  <a:lnTo>
                    <a:pt x="284" y="2778"/>
                  </a:lnTo>
                  <a:lnTo>
                    <a:pt x="286" y="2782"/>
                  </a:lnTo>
                  <a:lnTo>
                    <a:pt x="286" y="2790"/>
                  </a:lnTo>
                  <a:lnTo>
                    <a:pt x="282" y="2802"/>
                  </a:lnTo>
                  <a:lnTo>
                    <a:pt x="278" y="2814"/>
                  </a:lnTo>
                  <a:lnTo>
                    <a:pt x="278" y="2818"/>
                  </a:lnTo>
                  <a:lnTo>
                    <a:pt x="280" y="2822"/>
                  </a:lnTo>
                  <a:lnTo>
                    <a:pt x="286" y="2824"/>
                  </a:lnTo>
                  <a:lnTo>
                    <a:pt x="298" y="2826"/>
                  </a:lnTo>
                  <a:close/>
                  <a:moveTo>
                    <a:pt x="316" y="2894"/>
                  </a:moveTo>
                  <a:lnTo>
                    <a:pt x="316" y="2894"/>
                  </a:lnTo>
                  <a:lnTo>
                    <a:pt x="316" y="2898"/>
                  </a:lnTo>
                  <a:lnTo>
                    <a:pt x="318" y="2902"/>
                  </a:lnTo>
                  <a:lnTo>
                    <a:pt x="318" y="2904"/>
                  </a:lnTo>
                  <a:lnTo>
                    <a:pt x="318" y="2906"/>
                  </a:lnTo>
                  <a:lnTo>
                    <a:pt x="320" y="2908"/>
                  </a:lnTo>
                  <a:lnTo>
                    <a:pt x="324" y="2910"/>
                  </a:lnTo>
                  <a:lnTo>
                    <a:pt x="330" y="2910"/>
                  </a:lnTo>
                  <a:lnTo>
                    <a:pt x="336" y="2902"/>
                  </a:lnTo>
                  <a:lnTo>
                    <a:pt x="338" y="2900"/>
                  </a:lnTo>
                  <a:lnTo>
                    <a:pt x="338" y="2898"/>
                  </a:lnTo>
                  <a:lnTo>
                    <a:pt x="338" y="2896"/>
                  </a:lnTo>
                  <a:lnTo>
                    <a:pt x="342" y="2894"/>
                  </a:lnTo>
                  <a:lnTo>
                    <a:pt x="344" y="2890"/>
                  </a:lnTo>
                  <a:lnTo>
                    <a:pt x="342" y="2886"/>
                  </a:lnTo>
                  <a:lnTo>
                    <a:pt x="338" y="2882"/>
                  </a:lnTo>
                  <a:lnTo>
                    <a:pt x="332" y="2880"/>
                  </a:lnTo>
                  <a:lnTo>
                    <a:pt x="330" y="2880"/>
                  </a:lnTo>
                  <a:lnTo>
                    <a:pt x="330" y="2882"/>
                  </a:lnTo>
                  <a:lnTo>
                    <a:pt x="328" y="2882"/>
                  </a:lnTo>
                  <a:lnTo>
                    <a:pt x="326" y="2882"/>
                  </a:lnTo>
                  <a:lnTo>
                    <a:pt x="324" y="2882"/>
                  </a:lnTo>
                  <a:lnTo>
                    <a:pt x="324" y="2884"/>
                  </a:lnTo>
                  <a:lnTo>
                    <a:pt x="322" y="2888"/>
                  </a:lnTo>
                  <a:lnTo>
                    <a:pt x="322" y="2892"/>
                  </a:lnTo>
                  <a:lnTo>
                    <a:pt x="320" y="2894"/>
                  </a:lnTo>
                  <a:lnTo>
                    <a:pt x="318" y="2894"/>
                  </a:lnTo>
                  <a:lnTo>
                    <a:pt x="316" y="2894"/>
                  </a:lnTo>
                  <a:close/>
                  <a:moveTo>
                    <a:pt x="258" y="2836"/>
                  </a:moveTo>
                  <a:lnTo>
                    <a:pt x="258" y="2836"/>
                  </a:lnTo>
                  <a:lnTo>
                    <a:pt x="262" y="2838"/>
                  </a:lnTo>
                  <a:lnTo>
                    <a:pt x="264" y="2838"/>
                  </a:lnTo>
                  <a:lnTo>
                    <a:pt x="266" y="2836"/>
                  </a:lnTo>
                  <a:lnTo>
                    <a:pt x="266" y="2834"/>
                  </a:lnTo>
                  <a:lnTo>
                    <a:pt x="262" y="2832"/>
                  </a:lnTo>
                  <a:lnTo>
                    <a:pt x="260" y="2832"/>
                  </a:lnTo>
                  <a:lnTo>
                    <a:pt x="258" y="2834"/>
                  </a:lnTo>
                  <a:lnTo>
                    <a:pt x="258" y="2836"/>
                  </a:lnTo>
                  <a:close/>
                  <a:moveTo>
                    <a:pt x="324" y="2852"/>
                  </a:moveTo>
                  <a:lnTo>
                    <a:pt x="324" y="2852"/>
                  </a:lnTo>
                  <a:lnTo>
                    <a:pt x="320" y="2856"/>
                  </a:lnTo>
                  <a:lnTo>
                    <a:pt x="322" y="2858"/>
                  </a:lnTo>
                  <a:lnTo>
                    <a:pt x="324" y="2860"/>
                  </a:lnTo>
                  <a:lnTo>
                    <a:pt x="326" y="2858"/>
                  </a:lnTo>
                  <a:lnTo>
                    <a:pt x="326" y="2854"/>
                  </a:lnTo>
                  <a:lnTo>
                    <a:pt x="326" y="2852"/>
                  </a:lnTo>
                  <a:lnTo>
                    <a:pt x="324" y="2850"/>
                  </a:lnTo>
                  <a:lnTo>
                    <a:pt x="324" y="2852"/>
                  </a:lnTo>
                  <a:close/>
                  <a:moveTo>
                    <a:pt x="266" y="2958"/>
                  </a:moveTo>
                  <a:lnTo>
                    <a:pt x="266" y="2958"/>
                  </a:lnTo>
                  <a:lnTo>
                    <a:pt x="270" y="2958"/>
                  </a:lnTo>
                  <a:lnTo>
                    <a:pt x="270" y="2954"/>
                  </a:lnTo>
                  <a:lnTo>
                    <a:pt x="270" y="2950"/>
                  </a:lnTo>
                  <a:lnTo>
                    <a:pt x="268" y="2950"/>
                  </a:lnTo>
                  <a:lnTo>
                    <a:pt x="266" y="2952"/>
                  </a:lnTo>
                  <a:lnTo>
                    <a:pt x="264" y="2954"/>
                  </a:lnTo>
                  <a:lnTo>
                    <a:pt x="264" y="2956"/>
                  </a:lnTo>
                  <a:lnTo>
                    <a:pt x="266" y="2958"/>
                  </a:lnTo>
                  <a:close/>
                  <a:moveTo>
                    <a:pt x="244" y="3242"/>
                  </a:moveTo>
                  <a:lnTo>
                    <a:pt x="244" y="3242"/>
                  </a:lnTo>
                  <a:lnTo>
                    <a:pt x="248" y="3238"/>
                  </a:lnTo>
                  <a:lnTo>
                    <a:pt x="248" y="3236"/>
                  </a:lnTo>
                  <a:lnTo>
                    <a:pt x="246" y="3236"/>
                  </a:lnTo>
                  <a:lnTo>
                    <a:pt x="240" y="3234"/>
                  </a:lnTo>
                  <a:lnTo>
                    <a:pt x="234" y="3234"/>
                  </a:lnTo>
                  <a:lnTo>
                    <a:pt x="234" y="3236"/>
                  </a:lnTo>
                  <a:lnTo>
                    <a:pt x="236" y="3240"/>
                  </a:lnTo>
                  <a:lnTo>
                    <a:pt x="236" y="3242"/>
                  </a:lnTo>
                  <a:lnTo>
                    <a:pt x="232" y="3248"/>
                  </a:lnTo>
                  <a:lnTo>
                    <a:pt x="234" y="3250"/>
                  </a:lnTo>
                  <a:lnTo>
                    <a:pt x="238" y="3252"/>
                  </a:lnTo>
                  <a:lnTo>
                    <a:pt x="242" y="3254"/>
                  </a:lnTo>
                  <a:lnTo>
                    <a:pt x="242" y="3250"/>
                  </a:lnTo>
                  <a:lnTo>
                    <a:pt x="242" y="3246"/>
                  </a:lnTo>
                  <a:lnTo>
                    <a:pt x="244" y="3242"/>
                  </a:lnTo>
                  <a:close/>
                  <a:moveTo>
                    <a:pt x="302" y="2848"/>
                  </a:moveTo>
                  <a:lnTo>
                    <a:pt x="302" y="2848"/>
                  </a:lnTo>
                  <a:lnTo>
                    <a:pt x="300" y="2846"/>
                  </a:lnTo>
                  <a:lnTo>
                    <a:pt x="298" y="2846"/>
                  </a:lnTo>
                  <a:lnTo>
                    <a:pt x="296" y="2846"/>
                  </a:lnTo>
                  <a:lnTo>
                    <a:pt x="292" y="2846"/>
                  </a:lnTo>
                  <a:lnTo>
                    <a:pt x="288" y="2846"/>
                  </a:lnTo>
                  <a:lnTo>
                    <a:pt x="286" y="2848"/>
                  </a:lnTo>
                  <a:lnTo>
                    <a:pt x="288" y="2850"/>
                  </a:lnTo>
                  <a:lnTo>
                    <a:pt x="292" y="2854"/>
                  </a:lnTo>
                  <a:lnTo>
                    <a:pt x="294" y="2854"/>
                  </a:lnTo>
                  <a:lnTo>
                    <a:pt x="296" y="2854"/>
                  </a:lnTo>
                  <a:lnTo>
                    <a:pt x="300" y="2852"/>
                  </a:lnTo>
                  <a:lnTo>
                    <a:pt x="302" y="2850"/>
                  </a:lnTo>
                  <a:lnTo>
                    <a:pt x="302" y="2848"/>
                  </a:lnTo>
                  <a:close/>
                  <a:moveTo>
                    <a:pt x="302" y="2912"/>
                  </a:moveTo>
                  <a:lnTo>
                    <a:pt x="302" y="2912"/>
                  </a:lnTo>
                  <a:lnTo>
                    <a:pt x="304" y="2910"/>
                  </a:lnTo>
                  <a:lnTo>
                    <a:pt x="302" y="2906"/>
                  </a:lnTo>
                  <a:lnTo>
                    <a:pt x="300" y="2904"/>
                  </a:lnTo>
                  <a:lnTo>
                    <a:pt x="298" y="2904"/>
                  </a:lnTo>
                  <a:lnTo>
                    <a:pt x="296" y="2906"/>
                  </a:lnTo>
                  <a:lnTo>
                    <a:pt x="298" y="2910"/>
                  </a:lnTo>
                  <a:lnTo>
                    <a:pt x="300" y="2912"/>
                  </a:lnTo>
                  <a:lnTo>
                    <a:pt x="302" y="2912"/>
                  </a:lnTo>
                  <a:close/>
                  <a:moveTo>
                    <a:pt x="306" y="2942"/>
                  </a:moveTo>
                  <a:lnTo>
                    <a:pt x="306" y="2942"/>
                  </a:lnTo>
                  <a:lnTo>
                    <a:pt x="304" y="2942"/>
                  </a:lnTo>
                  <a:lnTo>
                    <a:pt x="302" y="2948"/>
                  </a:lnTo>
                  <a:lnTo>
                    <a:pt x="302" y="2952"/>
                  </a:lnTo>
                  <a:lnTo>
                    <a:pt x="304" y="2958"/>
                  </a:lnTo>
                  <a:lnTo>
                    <a:pt x="306" y="2958"/>
                  </a:lnTo>
                  <a:lnTo>
                    <a:pt x="308" y="2958"/>
                  </a:lnTo>
                  <a:lnTo>
                    <a:pt x="308" y="2952"/>
                  </a:lnTo>
                  <a:lnTo>
                    <a:pt x="310" y="2944"/>
                  </a:lnTo>
                  <a:lnTo>
                    <a:pt x="308" y="2942"/>
                  </a:lnTo>
                  <a:lnTo>
                    <a:pt x="306" y="2942"/>
                  </a:lnTo>
                  <a:close/>
                  <a:moveTo>
                    <a:pt x="278" y="2958"/>
                  </a:moveTo>
                  <a:lnTo>
                    <a:pt x="278" y="2958"/>
                  </a:lnTo>
                  <a:lnTo>
                    <a:pt x="280" y="2956"/>
                  </a:lnTo>
                  <a:lnTo>
                    <a:pt x="284" y="2952"/>
                  </a:lnTo>
                  <a:lnTo>
                    <a:pt x="286" y="2950"/>
                  </a:lnTo>
                  <a:lnTo>
                    <a:pt x="284" y="2946"/>
                  </a:lnTo>
                  <a:lnTo>
                    <a:pt x="280" y="2942"/>
                  </a:lnTo>
                  <a:lnTo>
                    <a:pt x="276" y="2942"/>
                  </a:lnTo>
                  <a:lnTo>
                    <a:pt x="274" y="2944"/>
                  </a:lnTo>
                  <a:lnTo>
                    <a:pt x="272" y="2946"/>
                  </a:lnTo>
                  <a:lnTo>
                    <a:pt x="274" y="2950"/>
                  </a:lnTo>
                  <a:lnTo>
                    <a:pt x="274" y="2952"/>
                  </a:lnTo>
                  <a:lnTo>
                    <a:pt x="274" y="2956"/>
                  </a:lnTo>
                  <a:lnTo>
                    <a:pt x="274" y="2958"/>
                  </a:lnTo>
                  <a:lnTo>
                    <a:pt x="278" y="2958"/>
                  </a:lnTo>
                  <a:close/>
                  <a:moveTo>
                    <a:pt x="1872" y="956"/>
                  </a:moveTo>
                  <a:lnTo>
                    <a:pt x="1872" y="956"/>
                  </a:lnTo>
                  <a:lnTo>
                    <a:pt x="1868" y="926"/>
                  </a:lnTo>
                  <a:lnTo>
                    <a:pt x="1864" y="900"/>
                  </a:lnTo>
                  <a:lnTo>
                    <a:pt x="1862" y="888"/>
                  </a:lnTo>
                  <a:lnTo>
                    <a:pt x="1858" y="876"/>
                  </a:lnTo>
                  <a:lnTo>
                    <a:pt x="1852" y="868"/>
                  </a:lnTo>
                  <a:lnTo>
                    <a:pt x="1844" y="858"/>
                  </a:lnTo>
                  <a:lnTo>
                    <a:pt x="1836" y="852"/>
                  </a:lnTo>
                  <a:lnTo>
                    <a:pt x="1830" y="850"/>
                  </a:lnTo>
                  <a:lnTo>
                    <a:pt x="1824" y="850"/>
                  </a:lnTo>
                  <a:lnTo>
                    <a:pt x="1816" y="850"/>
                  </a:lnTo>
                  <a:lnTo>
                    <a:pt x="1810" y="852"/>
                  </a:lnTo>
                  <a:lnTo>
                    <a:pt x="1800" y="850"/>
                  </a:lnTo>
                  <a:lnTo>
                    <a:pt x="1788" y="846"/>
                  </a:lnTo>
                  <a:lnTo>
                    <a:pt x="1774" y="838"/>
                  </a:lnTo>
                  <a:lnTo>
                    <a:pt x="1760" y="828"/>
                  </a:lnTo>
                  <a:lnTo>
                    <a:pt x="1750" y="820"/>
                  </a:lnTo>
                  <a:lnTo>
                    <a:pt x="1744" y="814"/>
                  </a:lnTo>
                  <a:lnTo>
                    <a:pt x="1740" y="808"/>
                  </a:lnTo>
                  <a:lnTo>
                    <a:pt x="1734" y="796"/>
                  </a:lnTo>
                  <a:lnTo>
                    <a:pt x="1728" y="788"/>
                  </a:lnTo>
                  <a:lnTo>
                    <a:pt x="1718" y="780"/>
                  </a:lnTo>
                  <a:lnTo>
                    <a:pt x="1698" y="762"/>
                  </a:lnTo>
                  <a:lnTo>
                    <a:pt x="1688" y="754"/>
                  </a:lnTo>
                  <a:lnTo>
                    <a:pt x="1680" y="748"/>
                  </a:lnTo>
                  <a:lnTo>
                    <a:pt x="1670" y="742"/>
                  </a:lnTo>
                  <a:lnTo>
                    <a:pt x="1660" y="740"/>
                  </a:lnTo>
                  <a:lnTo>
                    <a:pt x="1646" y="740"/>
                  </a:lnTo>
                  <a:lnTo>
                    <a:pt x="1632" y="740"/>
                  </a:lnTo>
                  <a:lnTo>
                    <a:pt x="1618" y="742"/>
                  </a:lnTo>
                  <a:lnTo>
                    <a:pt x="1602" y="742"/>
                  </a:lnTo>
                  <a:lnTo>
                    <a:pt x="1590" y="742"/>
                  </a:lnTo>
                  <a:lnTo>
                    <a:pt x="1578" y="738"/>
                  </a:lnTo>
                  <a:lnTo>
                    <a:pt x="1556" y="732"/>
                  </a:lnTo>
                  <a:lnTo>
                    <a:pt x="1536" y="722"/>
                  </a:lnTo>
                  <a:lnTo>
                    <a:pt x="1530" y="722"/>
                  </a:lnTo>
                  <a:lnTo>
                    <a:pt x="1526" y="722"/>
                  </a:lnTo>
                  <a:lnTo>
                    <a:pt x="1516" y="724"/>
                  </a:lnTo>
                  <a:lnTo>
                    <a:pt x="1508" y="730"/>
                  </a:lnTo>
                  <a:lnTo>
                    <a:pt x="1500" y="738"/>
                  </a:lnTo>
                  <a:lnTo>
                    <a:pt x="1488" y="750"/>
                  </a:lnTo>
                  <a:lnTo>
                    <a:pt x="1482" y="754"/>
                  </a:lnTo>
                  <a:lnTo>
                    <a:pt x="1480" y="752"/>
                  </a:lnTo>
                  <a:lnTo>
                    <a:pt x="1478" y="748"/>
                  </a:lnTo>
                  <a:lnTo>
                    <a:pt x="1478" y="742"/>
                  </a:lnTo>
                  <a:lnTo>
                    <a:pt x="1482" y="728"/>
                  </a:lnTo>
                  <a:lnTo>
                    <a:pt x="1486" y="716"/>
                  </a:lnTo>
                  <a:lnTo>
                    <a:pt x="1488" y="712"/>
                  </a:lnTo>
                  <a:lnTo>
                    <a:pt x="1486" y="708"/>
                  </a:lnTo>
                  <a:lnTo>
                    <a:pt x="1482" y="702"/>
                  </a:lnTo>
                  <a:lnTo>
                    <a:pt x="1480" y="698"/>
                  </a:lnTo>
                  <a:lnTo>
                    <a:pt x="1478" y="688"/>
                  </a:lnTo>
                  <a:lnTo>
                    <a:pt x="1476" y="684"/>
                  </a:lnTo>
                  <a:lnTo>
                    <a:pt x="1470" y="680"/>
                  </a:lnTo>
                  <a:lnTo>
                    <a:pt x="1464" y="678"/>
                  </a:lnTo>
                  <a:lnTo>
                    <a:pt x="1454" y="674"/>
                  </a:lnTo>
                  <a:lnTo>
                    <a:pt x="1444" y="670"/>
                  </a:lnTo>
                  <a:lnTo>
                    <a:pt x="1438" y="668"/>
                  </a:lnTo>
                  <a:lnTo>
                    <a:pt x="1428" y="658"/>
                  </a:lnTo>
                  <a:lnTo>
                    <a:pt x="1420" y="652"/>
                  </a:lnTo>
                  <a:lnTo>
                    <a:pt x="1416" y="650"/>
                  </a:lnTo>
                  <a:lnTo>
                    <a:pt x="1410" y="650"/>
                  </a:lnTo>
                  <a:lnTo>
                    <a:pt x="1400" y="648"/>
                  </a:lnTo>
                  <a:lnTo>
                    <a:pt x="1392" y="644"/>
                  </a:lnTo>
                  <a:lnTo>
                    <a:pt x="1382" y="640"/>
                  </a:lnTo>
                  <a:lnTo>
                    <a:pt x="1362" y="638"/>
                  </a:lnTo>
                  <a:lnTo>
                    <a:pt x="1354" y="638"/>
                  </a:lnTo>
                  <a:lnTo>
                    <a:pt x="1348" y="640"/>
                  </a:lnTo>
                  <a:lnTo>
                    <a:pt x="1340" y="644"/>
                  </a:lnTo>
                  <a:lnTo>
                    <a:pt x="1332" y="654"/>
                  </a:lnTo>
                  <a:lnTo>
                    <a:pt x="1326" y="662"/>
                  </a:lnTo>
                  <a:lnTo>
                    <a:pt x="1318" y="676"/>
                  </a:lnTo>
                  <a:lnTo>
                    <a:pt x="1314" y="678"/>
                  </a:lnTo>
                  <a:lnTo>
                    <a:pt x="1312" y="674"/>
                  </a:lnTo>
                  <a:lnTo>
                    <a:pt x="1310" y="666"/>
                  </a:lnTo>
                  <a:lnTo>
                    <a:pt x="1314" y="658"/>
                  </a:lnTo>
                  <a:lnTo>
                    <a:pt x="1322" y="642"/>
                  </a:lnTo>
                  <a:lnTo>
                    <a:pt x="1326" y="634"/>
                  </a:lnTo>
                  <a:lnTo>
                    <a:pt x="1326" y="628"/>
                  </a:lnTo>
                  <a:lnTo>
                    <a:pt x="1326" y="626"/>
                  </a:lnTo>
                  <a:lnTo>
                    <a:pt x="1322" y="622"/>
                  </a:lnTo>
                  <a:lnTo>
                    <a:pt x="1314" y="618"/>
                  </a:lnTo>
                  <a:lnTo>
                    <a:pt x="1296" y="614"/>
                  </a:lnTo>
                  <a:lnTo>
                    <a:pt x="1288" y="614"/>
                  </a:lnTo>
                  <a:lnTo>
                    <a:pt x="1278" y="616"/>
                  </a:lnTo>
                  <a:lnTo>
                    <a:pt x="1256" y="612"/>
                  </a:lnTo>
                  <a:lnTo>
                    <a:pt x="1246" y="612"/>
                  </a:lnTo>
                  <a:lnTo>
                    <a:pt x="1240" y="614"/>
                  </a:lnTo>
                  <a:lnTo>
                    <a:pt x="1234" y="620"/>
                  </a:lnTo>
                  <a:lnTo>
                    <a:pt x="1230" y="626"/>
                  </a:lnTo>
                  <a:lnTo>
                    <a:pt x="1230" y="634"/>
                  </a:lnTo>
                  <a:lnTo>
                    <a:pt x="1228" y="642"/>
                  </a:lnTo>
                  <a:lnTo>
                    <a:pt x="1228" y="656"/>
                  </a:lnTo>
                  <a:lnTo>
                    <a:pt x="1226" y="652"/>
                  </a:lnTo>
                  <a:lnTo>
                    <a:pt x="1222" y="652"/>
                  </a:lnTo>
                  <a:lnTo>
                    <a:pt x="1216" y="658"/>
                  </a:lnTo>
                  <a:lnTo>
                    <a:pt x="1214" y="660"/>
                  </a:lnTo>
                  <a:lnTo>
                    <a:pt x="1212" y="660"/>
                  </a:lnTo>
                  <a:lnTo>
                    <a:pt x="1212" y="658"/>
                  </a:lnTo>
                  <a:lnTo>
                    <a:pt x="1214" y="650"/>
                  </a:lnTo>
                  <a:lnTo>
                    <a:pt x="1216" y="642"/>
                  </a:lnTo>
                  <a:lnTo>
                    <a:pt x="1214" y="638"/>
                  </a:lnTo>
                  <a:lnTo>
                    <a:pt x="1210" y="636"/>
                  </a:lnTo>
                  <a:lnTo>
                    <a:pt x="1206" y="638"/>
                  </a:lnTo>
                  <a:lnTo>
                    <a:pt x="1198" y="640"/>
                  </a:lnTo>
                  <a:lnTo>
                    <a:pt x="1198" y="636"/>
                  </a:lnTo>
                  <a:lnTo>
                    <a:pt x="1202" y="632"/>
                  </a:lnTo>
                  <a:lnTo>
                    <a:pt x="1202" y="628"/>
                  </a:lnTo>
                  <a:lnTo>
                    <a:pt x="1204" y="620"/>
                  </a:lnTo>
                  <a:lnTo>
                    <a:pt x="1204" y="616"/>
                  </a:lnTo>
                  <a:lnTo>
                    <a:pt x="1206" y="614"/>
                  </a:lnTo>
                  <a:lnTo>
                    <a:pt x="1210" y="610"/>
                  </a:lnTo>
                  <a:lnTo>
                    <a:pt x="1216" y="608"/>
                  </a:lnTo>
                  <a:lnTo>
                    <a:pt x="1224" y="604"/>
                  </a:lnTo>
                  <a:lnTo>
                    <a:pt x="1230" y="596"/>
                  </a:lnTo>
                  <a:lnTo>
                    <a:pt x="1240" y="582"/>
                  </a:lnTo>
                  <a:lnTo>
                    <a:pt x="1248" y="566"/>
                  </a:lnTo>
                  <a:lnTo>
                    <a:pt x="1254" y="560"/>
                  </a:lnTo>
                  <a:lnTo>
                    <a:pt x="1260" y="556"/>
                  </a:lnTo>
                  <a:lnTo>
                    <a:pt x="1264" y="554"/>
                  </a:lnTo>
                  <a:lnTo>
                    <a:pt x="1266" y="548"/>
                  </a:lnTo>
                  <a:lnTo>
                    <a:pt x="1266" y="542"/>
                  </a:lnTo>
                  <a:lnTo>
                    <a:pt x="1266" y="536"/>
                  </a:lnTo>
                  <a:lnTo>
                    <a:pt x="1264" y="528"/>
                  </a:lnTo>
                  <a:lnTo>
                    <a:pt x="1260" y="524"/>
                  </a:lnTo>
                  <a:lnTo>
                    <a:pt x="1256" y="520"/>
                  </a:lnTo>
                  <a:lnTo>
                    <a:pt x="1252" y="518"/>
                  </a:lnTo>
                  <a:lnTo>
                    <a:pt x="1244" y="518"/>
                  </a:lnTo>
                  <a:lnTo>
                    <a:pt x="1240" y="516"/>
                  </a:lnTo>
                  <a:lnTo>
                    <a:pt x="1238" y="514"/>
                  </a:lnTo>
                  <a:lnTo>
                    <a:pt x="1238" y="508"/>
                  </a:lnTo>
                  <a:lnTo>
                    <a:pt x="1236" y="504"/>
                  </a:lnTo>
                  <a:lnTo>
                    <a:pt x="1234" y="502"/>
                  </a:lnTo>
                  <a:lnTo>
                    <a:pt x="1234" y="500"/>
                  </a:lnTo>
                  <a:lnTo>
                    <a:pt x="1232" y="494"/>
                  </a:lnTo>
                  <a:lnTo>
                    <a:pt x="1232" y="490"/>
                  </a:lnTo>
                  <a:lnTo>
                    <a:pt x="1230" y="488"/>
                  </a:lnTo>
                  <a:lnTo>
                    <a:pt x="1228" y="484"/>
                  </a:lnTo>
                  <a:lnTo>
                    <a:pt x="1226" y="480"/>
                  </a:lnTo>
                  <a:lnTo>
                    <a:pt x="1226" y="476"/>
                  </a:lnTo>
                  <a:lnTo>
                    <a:pt x="1226" y="472"/>
                  </a:lnTo>
                  <a:lnTo>
                    <a:pt x="1222" y="466"/>
                  </a:lnTo>
                  <a:lnTo>
                    <a:pt x="1220" y="444"/>
                  </a:lnTo>
                  <a:lnTo>
                    <a:pt x="1218" y="422"/>
                  </a:lnTo>
                  <a:lnTo>
                    <a:pt x="1218" y="418"/>
                  </a:lnTo>
                  <a:lnTo>
                    <a:pt x="1216" y="416"/>
                  </a:lnTo>
                  <a:lnTo>
                    <a:pt x="1214" y="414"/>
                  </a:lnTo>
                  <a:lnTo>
                    <a:pt x="1212" y="410"/>
                  </a:lnTo>
                  <a:lnTo>
                    <a:pt x="1206" y="398"/>
                  </a:lnTo>
                  <a:lnTo>
                    <a:pt x="1202" y="392"/>
                  </a:lnTo>
                  <a:lnTo>
                    <a:pt x="1200" y="392"/>
                  </a:lnTo>
                  <a:lnTo>
                    <a:pt x="1198" y="394"/>
                  </a:lnTo>
                  <a:lnTo>
                    <a:pt x="1198" y="396"/>
                  </a:lnTo>
                  <a:lnTo>
                    <a:pt x="1196" y="402"/>
                  </a:lnTo>
                  <a:lnTo>
                    <a:pt x="1192" y="410"/>
                  </a:lnTo>
                  <a:lnTo>
                    <a:pt x="1192" y="406"/>
                  </a:lnTo>
                  <a:lnTo>
                    <a:pt x="1192" y="404"/>
                  </a:lnTo>
                  <a:lnTo>
                    <a:pt x="1192" y="400"/>
                  </a:lnTo>
                  <a:lnTo>
                    <a:pt x="1192" y="394"/>
                  </a:lnTo>
                  <a:lnTo>
                    <a:pt x="1188" y="380"/>
                  </a:lnTo>
                  <a:lnTo>
                    <a:pt x="1186" y="380"/>
                  </a:lnTo>
                  <a:lnTo>
                    <a:pt x="1184" y="382"/>
                  </a:lnTo>
                  <a:lnTo>
                    <a:pt x="1182" y="382"/>
                  </a:lnTo>
                  <a:lnTo>
                    <a:pt x="1180" y="380"/>
                  </a:lnTo>
                  <a:lnTo>
                    <a:pt x="1178" y="374"/>
                  </a:lnTo>
                  <a:lnTo>
                    <a:pt x="1174" y="372"/>
                  </a:lnTo>
                  <a:lnTo>
                    <a:pt x="1172" y="368"/>
                  </a:lnTo>
                  <a:lnTo>
                    <a:pt x="1166" y="364"/>
                  </a:lnTo>
                  <a:lnTo>
                    <a:pt x="1158" y="360"/>
                  </a:lnTo>
                  <a:lnTo>
                    <a:pt x="1154" y="356"/>
                  </a:lnTo>
                  <a:lnTo>
                    <a:pt x="1150" y="350"/>
                  </a:lnTo>
                  <a:lnTo>
                    <a:pt x="1148" y="346"/>
                  </a:lnTo>
                  <a:lnTo>
                    <a:pt x="1144" y="342"/>
                  </a:lnTo>
                  <a:lnTo>
                    <a:pt x="1136" y="338"/>
                  </a:lnTo>
                  <a:lnTo>
                    <a:pt x="1126" y="334"/>
                  </a:lnTo>
                  <a:lnTo>
                    <a:pt x="1114" y="330"/>
                  </a:lnTo>
                  <a:lnTo>
                    <a:pt x="1102" y="324"/>
                  </a:lnTo>
                  <a:lnTo>
                    <a:pt x="1072" y="316"/>
                  </a:lnTo>
                  <a:lnTo>
                    <a:pt x="1060" y="314"/>
                  </a:lnTo>
                  <a:lnTo>
                    <a:pt x="1056" y="314"/>
                  </a:lnTo>
                  <a:lnTo>
                    <a:pt x="1054" y="316"/>
                  </a:lnTo>
                  <a:lnTo>
                    <a:pt x="1048" y="316"/>
                  </a:lnTo>
                  <a:lnTo>
                    <a:pt x="1038" y="314"/>
                  </a:lnTo>
                  <a:lnTo>
                    <a:pt x="1026" y="314"/>
                  </a:lnTo>
                  <a:lnTo>
                    <a:pt x="1024" y="316"/>
                  </a:lnTo>
                  <a:lnTo>
                    <a:pt x="1022" y="318"/>
                  </a:lnTo>
                  <a:lnTo>
                    <a:pt x="1022" y="322"/>
                  </a:lnTo>
                  <a:lnTo>
                    <a:pt x="1018" y="322"/>
                  </a:lnTo>
                  <a:lnTo>
                    <a:pt x="1006" y="318"/>
                  </a:lnTo>
                  <a:lnTo>
                    <a:pt x="998" y="316"/>
                  </a:lnTo>
                  <a:lnTo>
                    <a:pt x="990" y="314"/>
                  </a:lnTo>
                  <a:lnTo>
                    <a:pt x="982" y="316"/>
                  </a:lnTo>
                  <a:lnTo>
                    <a:pt x="974" y="318"/>
                  </a:lnTo>
                  <a:lnTo>
                    <a:pt x="972" y="316"/>
                  </a:lnTo>
                  <a:lnTo>
                    <a:pt x="972" y="314"/>
                  </a:lnTo>
                  <a:lnTo>
                    <a:pt x="968" y="308"/>
                  </a:lnTo>
                  <a:lnTo>
                    <a:pt x="966" y="302"/>
                  </a:lnTo>
                  <a:lnTo>
                    <a:pt x="964" y="300"/>
                  </a:lnTo>
                  <a:lnTo>
                    <a:pt x="962" y="298"/>
                  </a:lnTo>
                  <a:lnTo>
                    <a:pt x="958" y="296"/>
                  </a:lnTo>
                  <a:lnTo>
                    <a:pt x="956" y="294"/>
                  </a:lnTo>
                  <a:lnTo>
                    <a:pt x="954" y="288"/>
                  </a:lnTo>
                  <a:lnTo>
                    <a:pt x="952" y="284"/>
                  </a:lnTo>
                  <a:lnTo>
                    <a:pt x="948" y="280"/>
                  </a:lnTo>
                  <a:lnTo>
                    <a:pt x="942" y="276"/>
                  </a:lnTo>
                  <a:lnTo>
                    <a:pt x="934" y="274"/>
                  </a:lnTo>
                  <a:lnTo>
                    <a:pt x="920" y="270"/>
                  </a:lnTo>
                  <a:lnTo>
                    <a:pt x="916" y="268"/>
                  </a:lnTo>
                  <a:lnTo>
                    <a:pt x="916" y="264"/>
                  </a:lnTo>
                  <a:lnTo>
                    <a:pt x="918" y="254"/>
                  </a:lnTo>
                  <a:lnTo>
                    <a:pt x="918" y="248"/>
                  </a:lnTo>
                  <a:lnTo>
                    <a:pt x="918" y="242"/>
                  </a:lnTo>
                  <a:lnTo>
                    <a:pt x="914" y="234"/>
                  </a:lnTo>
                  <a:lnTo>
                    <a:pt x="908" y="228"/>
                  </a:lnTo>
                  <a:lnTo>
                    <a:pt x="892" y="214"/>
                  </a:lnTo>
                  <a:lnTo>
                    <a:pt x="868" y="198"/>
                  </a:lnTo>
                  <a:lnTo>
                    <a:pt x="862" y="192"/>
                  </a:lnTo>
                  <a:lnTo>
                    <a:pt x="852" y="188"/>
                  </a:lnTo>
                  <a:lnTo>
                    <a:pt x="840" y="188"/>
                  </a:lnTo>
                  <a:lnTo>
                    <a:pt x="830" y="188"/>
                  </a:lnTo>
                  <a:lnTo>
                    <a:pt x="818" y="190"/>
                  </a:lnTo>
                  <a:lnTo>
                    <a:pt x="804" y="194"/>
                  </a:lnTo>
                  <a:lnTo>
                    <a:pt x="802" y="192"/>
                  </a:lnTo>
                  <a:lnTo>
                    <a:pt x="804" y="190"/>
                  </a:lnTo>
                  <a:lnTo>
                    <a:pt x="808" y="184"/>
                  </a:lnTo>
                  <a:lnTo>
                    <a:pt x="810" y="180"/>
                  </a:lnTo>
                  <a:lnTo>
                    <a:pt x="812" y="172"/>
                  </a:lnTo>
                  <a:lnTo>
                    <a:pt x="814" y="164"/>
                  </a:lnTo>
                  <a:lnTo>
                    <a:pt x="816" y="160"/>
                  </a:lnTo>
                  <a:lnTo>
                    <a:pt x="822" y="156"/>
                  </a:lnTo>
                  <a:lnTo>
                    <a:pt x="826" y="152"/>
                  </a:lnTo>
                  <a:lnTo>
                    <a:pt x="826" y="150"/>
                  </a:lnTo>
                  <a:lnTo>
                    <a:pt x="826" y="148"/>
                  </a:lnTo>
                  <a:lnTo>
                    <a:pt x="822" y="146"/>
                  </a:lnTo>
                  <a:lnTo>
                    <a:pt x="814" y="142"/>
                  </a:lnTo>
                  <a:lnTo>
                    <a:pt x="810" y="138"/>
                  </a:lnTo>
                  <a:lnTo>
                    <a:pt x="808" y="134"/>
                  </a:lnTo>
                  <a:lnTo>
                    <a:pt x="804" y="130"/>
                  </a:lnTo>
                  <a:lnTo>
                    <a:pt x="800" y="128"/>
                  </a:lnTo>
                  <a:lnTo>
                    <a:pt x="792" y="128"/>
                  </a:lnTo>
                  <a:lnTo>
                    <a:pt x="784" y="126"/>
                  </a:lnTo>
                  <a:lnTo>
                    <a:pt x="780" y="124"/>
                  </a:lnTo>
                  <a:lnTo>
                    <a:pt x="778" y="122"/>
                  </a:lnTo>
                  <a:lnTo>
                    <a:pt x="772" y="116"/>
                  </a:lnTo>
                  <a:lnTo>
                    <a:pt x="766" y="112"/>
                  </a:lnTo>
                  <a:lnTo>
                    <a:pt x="752" y="104"/>
                  </a:lnTo>
                  <a:lnTo>
                    <a:pt x="746" y="100"/>
                  </a:lnTo>
                  <a:lnTo>
                    <a:pt x="744" y="98"/>
                  </a:lnTo>
                  <a:lnTo>
                    <a:pt x="748" y="94"/>
                  </a:lnTo>
                  <a:lnTo>
                    <a:pt x="756" y="92"/>
                  </a:lnTo>
                  <a:lnTo>
                    <a:pt x="772" y="88"/>
                  </a:lnTo>
                  <a:lnTo>
                    <a:pt x="782" y="84"/>
                  </a:lnTo>
                  <a:lnTo>
                    <a:pt x="782" y="82"/>
                  </a:lnTo>
                  <a:lnTo>
                    <a:pt x="778" y="80"/>
                  </a:lnTo>
                  <a:lnTo>
                    <a:pt x="762" y="78"/>
                  </a:lnTo>
                  <a:lnTo>
                    <a:pt x="744" y="78"/>
                  </a:lnTo>
                  <a:lnTo>
                    <a:pt x="736" y="80"/>
                  </a:lnTo>
                  <a:lnTo>
                    <a:pt x="726" y="82"/>
                  </a:lnTo>
                  <a:lnTo>
                    <a:pt x="706" y="84"/>
                  </a:lnTo>
                  <a:lnTo>
                    <a:pt x="696" y="84"/>
                  </a:lnTo>
                  <a:lnTo>
                    <a:pt x="688" y="86"/>
                  </a:lnTo>
                  <a:lnTo>
                    <a:pt x="684" y="88"/>
                  </a:lnTo>
                  <a:lnTo>
                    <a:pt x="682" y="92"/>
                  </a:lnTo>
                  <a:lnTo>
                    <a:pt x="680" y="98"/>
                  </a:lnTo>
                  <a:lnTo>
                    <a:pt x="678" y="100"/>
                  </a:lnTo>
                  <a:lnTo>
                    <a:pt x="674" y="104"/>
                  </a:lnTo>
                  <a:lnTo>
                    <a:pt x="662" y="110"/>
                  </a:lnTo>
                  <a:lnTo>
                    <a:pt x="654" y="112"/>
                  </a:lnTo>
                  <a:lnTo>
                    <a:pt x="646" y="112"/>
                  </a:lnTo>
                  <a:lnTo>
                    <a:pt x="638" y="112"/>
                  </a:lnTo>
                  <a:lnTo>
                    <a:pt x="630" y="108"/>
                  </a:lnTo>
                  <a:lnTo>
                    <a:pt x="622" y="102"/>
                  </a:lnTo>
                  <a:lnTo>
                    <a:pt x="616" y="94"/>
                  </a:lnTo>
                  <a:lnTo>
                    <a:pt x="612" y="88"/>
                  </a:lnTo>
                  <a:lnTo>
                    <a:pt x="608" y="86"/>
                  </a:lnTo>
                  <a:lnTo>
                    <a:pt x="602" y="84"/>
                  </a:lnTo>
                  <a:lnTo>
                    <a:pt x="594" y="84"/>
                  </a:lnTo>
                  <a:lnTo>
                    <a:pt x="580" y="86"/>
                  </a:lnTo>
                  <a:lnTo>
                    <a:pt x="564" y="90"/>
                  </a:lnTo>
                  <a:lnTo>
                    <a:pt x="548" y="94"/>
                  </a:lnTo>
                  <a:lnTo>
                    <a:pt x="536" y="94"/>
                  </a:lnTo>
                  <a:lnTo>
                    <a:pt x="530" y="92"/>
                  </a:lnTo>
                  <a:lnTo>
                    <a:pt x="526" y="90"/>
                  </a:lnTo>
                  <a:lnTo>
                    <a:pt x="524" y="84"/>
                  </a:lnTo>
                  <a:lnTo>
                    <a:pt x="522" y="78"/>
                  </a:lnTo>
                  <a:lnTo>
                    <a:pt x="520" y="64"/>
                  </a:lnTo>
                  <a:lnTo>
                    <a:pt x="516" y="56"/>
                  </a:lnTo>
                  <a:lnTo>
                    <a:pt x="508" y="50"/>
                  </a:lnTo>
                  <a:lnTo>
                    <a:pt x="500" y="46"/>
                  </a:lnTo>
                  <a:lnTo>
                    <a:pt x="490" y="44"/>
                  </a:lnTo>
                  <a:lnTo>
                    <a:pt x="482" y="40"/>
                  </a:lnTo>
                  <a:lnTo>
                    <a:pt x="474" y="32"/>
                  </a:lnTo>
                  <a:lnTo>
                    <a:pt x="468" y="22"/>
                  </a:lnTo>
                  <a:lnTo>
                    <a:pt x="464" y="12"/>
                  </a:lnTo>
                  <a:lnTo>
                    <a:pt x="458" y="8"/>
                  </a:lnTo>
                  <a:lnTo>
                    <a:pt x="454" y="8"/>
                  </a:lnTo>
                  <a:lnTo>
                    <a:pt x="450" y="10"/>
                  </a:lnTo>
                  <a:lnTo>
                    <a:pt x="446" y="16"/>
                  </a:lnTo>
                  <a:lnTo>
                    <a:pt x="444" y="22"/>
                  </a:lnTo>
                  <a:lnTo>
                    <a:pt x="444" y="28"/>
                  </a:lnTo>
                  <a:lnTo>
                    <a:pt x="444" y="34"/>
                  </a:lnTo>
                  <a:lnTo>
                    <a:pt x="448" y="40"/>
                  </a:lnTo>
                  <a:lnTo>
                    <a:pt x="452" y="48"/>
                  </a:lnTo>
                  <a:lnTo>
                    <a:pt x="452" y="50"/>
                  </a:lnTo>
                  <a:lnTo>
                    <a:pt x="448" y="52"/>
                  </a:lnTo>
                  <a:lnTo>
                    <a:pt x="430" y="56"/>
                  </a:lnTo>
                  <a:lnTo>
                    <a:pt x="420" y="60"/>
                  </a:lnTo>
                  <a:lnTo>
                    <a:pt x="410" y="64"/>
                  </a:lnTo>
                  <a:lnTo>
                    <a:pt x="402" y="70"/>
                  </a:lnTo>
                  <a:lnTo>
                    <a:pt x="398" y="74"/>
                  </a:lnTo>
                  <a:lnTo>
                    <a:pt x="392" y="80"/>
                  </a:lnTo>
                  <a:lnTo>
                    <a:pt x="390" y="78"/>
                  </a:lnTo>
                  <a:lnTo>
                    <a:pt x="388" y="72"/>
                  </a:lnTo>
                  <a:lnTo>
                    <a:pt x="386" y="64"/>
                  </a:lnTo>
                  <a:lnTo>
                    <a:pt x="380" y="56"/>
                  </a:lnTo>
                  <a:lnTo>
                    <a:pt x="376" y="52"/>
                  </a:lnTo>
                  <a:lnTo>
                    <a:pt x="376" y="48"/>
                  </a:lnTo>
                  <a:lnTo>
                    <a:pt x="378" y="44"/>
                  </a:lnTo>
                  <a:lnTo>
                    <a:pt x="382" y="40"/>
                  </a:lnTo>
                  <a:lnTo>
                    <a:pt x="392" y="32"/>
                  </a:lnTo>
                  <a:lnTo>
                    <a:pt x="402" y="26"/>
                  </a:lnTo>
                  <a:lnTo>
                    <a:pt x="406" y="24"/>
                  </a:lnTo>
                  <a:lnTo>
                    <a:pt x="410" y="20"/>
                  </a:lnTo>
                  <a:lnTo>
                    <a:pt x="410" y="14"/>
                  </a:lnTo>
                  <a:lnTo>
                    <a:pt x="410" y="10"/>
                  </a:lnTo>
                  <a:lnTo>
                    <a:pt x="408" y="6"/>
                  </a:lnTo>
                  <a:lnTo>
                    <a:pt x="404" y="2"/>
                  </a:lnTo>
                  <a:lnTo>
                    <a:pt x="398" y="0"/>
                  </a:lnTo>
                  <a:lnTo>
                    <a:pt x="390" y="0"/>
                  </a:lnTo>
                  <a:lnTo>
                    <a:pt x="378" y="4"/>
                  </a:lnTo>
                  <a:lnTo>
                    <a:pt x="374" y="6"/>
                  </a:lnTo>
                  <a:lnTo>
                    <a:pt x="370" y="10"/>
                  </a:lnTo>
                  <a:lnTo>
                    <a:pt x="362" y="20"/>
                  </a:lnTo>
                  <a:lnTo>
                    <a:pt x="354" y="26"/>
                  </a:lnTo>
                  <a:lnTo>
                    <a:pt x="344" y="36"/>
                  </a:lnTo>
                  <a:lnTo>
                    <a:pt x="328" y="46"/>
                  </a:lnTo>
                  <a:lnTo>
                    <a:pt x="316" y="50"/>
                  </a:lnTo>
                  <a:lnTo>
                    <a:pt x="306" y="52"/>
                  </a:lnTo>
                  <a:lnTo>
                    <a:pt x="298" y="52"/>
                  </a:lnTo>
                  <a:lnTo>
                    <a:pt x="294" y="50"/>
                  </a:lnTo>
                  <a:lnTo>
                    <a:pt x="290" y="50"/>
                  </a:lnTo>
                  <a:lnTo>
                    <a:pt x="286" y="52"/>
                  </a:lnTo>
                  <a:lnTo>
                    <a:pt x="284" y="58"/>
                  </a:lnTo>
                  <a:lnTo>
                    <a:pt x="280" y="66"/>
                  </a:lnTo>
                  <a:lnTo>
                    <a:pt x="276" y="68"/>
                  </a:lnTo>
                  <a:lnTo>
                    <a:pt x="270" y="68"/>
                  </a:lnTo>
                  <a:lnTo>
                    <a:pt x="266" y="66"/>
                  </a:lnTo>
                  <a:lnTo>
                    <a:pt x="256" y="62"/>
                  </a:lnTo>
                  <a:lnTo>
                    <a:pt x="252" y="64"/>
                  </a:lnTo>
                  <a:lnTo>
                    <a:pt x="250" y="68"/>
                  </a:lnTo>
                  <a:lnTo>
                    <a:pt x="248" y="72"/>
                  </a:lnTo>
                  <a:lnTo>
                    <a:pt x="244" y="78"/>
                  </a:lnTo>
                  <a:lnTo>
                    <a:pt x="238" y="86"/>
                  </a:lnTo>
                  <a:lnTo>
                    <a:pt x="234" y="92"/>
                  </a:lnTo>
                  <a:lnTo>
                    <a:pt x="232" y="100"/>
                  </a:lnTo>
                  <a:lnTo>
                    <a:pt x="230" y="110"/>
                  </a:lnTo>
                  <a:lnTo>
                    <a:pt x="230" y="122"/>
                  </a:lnTo>
                  <a:lnTo>
                    <a:pt x="230" y="134"/>
                  </a:lnTo>
                  <a:lnTo>
                    <a:pt x="226" y="142"/>
                  </a:lnTo>
                  <a:lnTo>
                    <a:pt x="224" y="144"/>
                  </a:lnTo>
                  <a:lnTo>
                    <a:pt x="220" y="146"/>
                  </a:lnTo>
                  <a:lnTo>
                    <a:pt x="214" y="146"/>
                  </a:lnTo>
                  <a:lnTo>
                    <a:pt x="210" y="148"/>
                  </a:lnTo>
                  <a:lnTo>
                    <a:pt x="208" y="150"/>
                  </a:lnTo>
                  <a:lnTo>
                    <a:pt x="206" y="158"/>
                  </a:lnTo>
                  <a:lnTo>
                    <a:pt x="202" y="166"/>
                  </a:lnTo>
                  <a:lnTo>
                    <a:pt x="198" y="170"/>
                  </a:lnTo>
                  <a:lnTo>
                    <a:pt x="180" y="202"/>
                  </a:lnTo>
                  <a:lnTo>
                    <a:pt x="182" y="212"/>
                  </a:lnTo>
                  <a:lnTo>
                    <a:pt x="182" y="214"/>
                  </a:lnTo>
                  <a:lnTo>
                    <a:pt x="180" y="214"/>
                  </a:lnTo>
                  <a:lnTo>
                    <a:pt x="176" y="210"/>
                  </a:lnTo>
                  <a:lnTo>
                    <a:pt x="144" y="264"/>
                  </a:lnTo>
                  <a:lnTo>
                    <a:pt x="146" y="274"/>
                  </a:lnTo>
                  <a:lnTo>
                    <a:pt x="148" y="278"/>
                  </a:lnTo>
                  <a:lnTo>
                    <a:pt x="152" y="280"/>
                  </a:lnTo>
                  <a:lnTo>
                    <a:pt x="156" y="284"/>
                  </a:lnTo>
                  <a:lnTo>
                    <a:pt x="158" y="286"/>
                  </a:lnTo>
                  <a:lnTo>
                    <a:pt x="158" y="290"/>
                  </a:lnTo>
                  <a:lnTo>
                    <a:pt x="156" y="296"/>
                  </a:lnTo>
                  <a:lnTo>
                    <a:pt x="154" y="304"/>
                  </a:lnTo>
                  <a:lnTo>
                    <a:pt x="154" y="310"/>
                  </a:lnTo>
                  <a:lnTo>
                    <a:pt x="156" y="314"/>
                  </a:lnTo>
                  <a:lnTo>
                    <a:pt x="162" y="320"/>
                  </a:lnTo>
                  <a:lnTo>
                    <a:pt x="162" y="324"/>
                  </a:lnTo>
                  <a:lnTo>
                    <a:pt x="160" y="328"/>
                  </a:lnTo>
                  <a:lnTo>
                    <a:pt x="158" y="330"/>
                  </a:lnTo>
                  <a:lnTo>
                    <a:pt x="154" y="334"/>
                  </a:lnTo>
                  <a:lnTo>
                    <a:pt x="152" y="338"/>
                  </a:lnTo>
                  <a:lnTo>
                    <a:pt x="150" y="348"/>
                  </a:lnTo>
                  <a:lnTo>
                    <a:pt x="152" y="360"/>
                  </a:lnTo>
                  <a:lnTo>
                    <a:pt x="154" y="374"/>
                  </a:lnTo>
                  <a:lnTo>
                    <a:pt x="154" y="386"/>
                  </a:lnTo>
                  <a:lnTo>
                    <a:pt x="152" y="406"/>
                  </a:lnTo>
                  <a:lnTo>
                    <a:pt x="152" y="418"/>
                  </a:lnTo>
                  <a:lnTo>
                    <a:pt x="152" y="422"/>
                  </a:lnTo>
                  <a:lnTo>
                    <a:pt x="156" y="424"/>
                  </a:lnTo>
                  <a:lnTo>
                    <a:pt x="158" y="428"/>
                  </a:lnTo>
                  <a:lnTo>
                    <a:pt x="158" y="434"/>
                  </a:lnTo>
                  <a:lnTo>
                    <a:pt x="158" y="444"/>
                  </a:lnTo>
                  <a:lnTo>
                    <a:pt x="154" y="454"/>
                  </a:lnTo>
                  <a:lnTo>
                    <a:pt x="150" y="464"/>
                  </a:lnTo>
                  <a:lnTo>
                    <a:pt x="144" y="472"/>
                  </a:lnTo>
                  <a:lnTo>
                    <a:pt x="138" y="478"/>
                  </a:lnTo>
                  <a:lnTo>
                    <a:pt x="132" y="480"/>
                  </a:lnTo>
                  <a:lnTo>
                    <a:pt x="118" y="482"/>
                  </a:lnTo>
                  <a:lnTo>
                    <a:pt x="110" y="486"/>
                  </a:lnTo>
                  <a:lnTo>
                    <a:pt x="106" y="490"/>
                  </a:lnTo>
                  <a:lnTo>
                    <a:pt x="104" y="494"/>
                  </a:lnTo>
                  <a:lnTo>
                    <a:pt x="104" y="498"/>
                  </a:lnTo>
                  <a:lnTo>
                    <a:pt x="104" y="504"/>
                  </a:lnTo>
                  <a:lnTo>
                    <a:pt x="104" y="510"/>
                  </a:lnTo>
                  <a:lnTo>
                    <a:pt x="102" y="512"/>
                  </a:lnTo>
                  <a:lnTo>
                    <a:pt x="96" y="516"/>
                  </a:lnTo>
                  <a:lnTo>
                    <a:pt x="92" y="518"/>
                  </a:lnTo>
                  <a:lnTo>
                    <a:pt x="92" y="520"/>
                  </a:lnTo>
                  <a:lnTo>
                    <a:pt x="94" y="526"/>
                  </a:lnTo>
                  <a:lnTo>
                    <a:pt x="98" y="536"/>
                  </a:lnTo>
                  <a:lnTo>
                    <a:pt x="98" y="540"/>
                  </a:lnTo>
                  <a:lnTo>
                    <a:pt x="98" y="542"/>
                  </a:lnTo>
                  <a:lnTo>
                    <a:pt x="92" y="548"/>
                  </a:lnTo>
                  <a:lnTo>
                    <a:pt x="84" y="552"/>
                  </a:lnTo>
                  <a:lnTo>
                    <a:pt x="74" y="554"/>
                  </a:lnTo>
                  <a:lnTo>
                    <a:pt x="64" y="558"/>
                  </a:lnTo>
                  <a:lnTo>
                    <a:pt x="56" y="562"/>
                  </a:lnTo>
                  <a:lnTo>
                    <a:pt x="50" y="570"/>
                  </a:lnTo>
                  <a:lnTo>
                    <a:pt x="50" y="574"/>
                  </a:lnTo>
                  <a:lnTo>
                    <a:pt x="50" y="578"/>
                  </a:lnTo>
                  <a:lnTo>
                    <a:pt x="50" y="592"/>
                  </a:lnTo>
                  <a:lnTo>
                    <a:pt x="48" y="600"/>
                  </a:lnTo>
                  <a:lnTo>
                    <a:pt x="46" y="606"/>
                  </a:lnTo>
                  <a:lnTo>
                    <a:pt x="42" y="610"/>
                  </a:lnTo>
                  <a:lnTo>
                    <a:pt x="36" y="618"/>
                  </a:lnTo>
                  <a:lnTo>
                    <a:pt x="34" y="624"/>
                  </a:lnTo>
                  <a:lnTo>
                    <a:pt x="34" y="632"/>
                  </a:lnTo>
                  <a:lnTo>
                    <a:pt x="34" y="642"/>
                  </a:lnTo>
                  <a:lnTo>
                    <a:pt x="30" y="646"/>
                  </a:lnTo>
                  <a:lnTo>
                    <a:pt x="28" y="648"/>
                  </a:lnTo>
                  <a:lnTo>
                    <a:pt x="22" y="650"/>
                  </a:lnTo>
                  <a:lnTo>
                    <a:pt x="18" y="652"/>
                  </a:lnTo>
                  <a:lnTo>
                    <a:pt x="16" y="654"/>
                  </a:lnTo>
                  <a:lnTo>
                    <a:pt x="14" y="660"/>
                  </a:lnTo>
                  <a:lnTo>
                    <a:pt x="16" y="670"/>
                  </a:lnTo>
                  <a:lnTo>
                    <a:pt x="18" y="688"/>
                  </a:lnTo>
                  <a:lnTo>
                    <a:pt x="20" y="698"/>
                  </a:lnTo>
                  <a:lnTo>
                    <a:pt x="18" y="706"/>
                  </a:lnTo>
                  <a:lnTo>
                    <a:pt x="18" y="710"/>
                  </a:lnTo>
                  <a:lnTo>
                    <a:pt x="16" y="714"/>
                  </a:lnTo>
                  <a:lnTo>
                    <a:pt x="18" y="716"/>
                  </a:lnTo>
                  <a:lnTo>
                    <a:pt x="28" y="728"/>
                  </a:lnTo>
                  <a:lnTo>
                    <a:pt x="34" y="734"/>
                  </a:lnTo>
                  <a:lnTo>
                    <a:pt x="42" y="736"/>
                  </a:lnTo>
                  <a:lnTo>
                    <a:pt x="46" y="736"/>
                  </a:lnTo>
                  <a:lnTo>
                    <a:pt x="50" y="732"/>
                  </a:lnTo>
                  <a:lnTo>
                    <a:pt x="54" y="726"/>
                  </a:lnTo>
                  <a:lnTo>
                    <a:pt x="56" y="726"/>
                  </a:lnTo>
                  <a:lnTo>
                    <a:pt x="56" y="730"/>
                  </a:lnTo>
                  <a:lnTo>
                    <a:pt x="56" y="744"/>
                  </a:lnTo>
                  <a:lnTo>
                    <a:pt x="54" y="756"/>
                  </a:lnTo>
                  <a:lnTo>
                    <a:pt x="52" y="760"/>
                  </a:lnTo>
                  <a:lnTo>
                    <a:pt x="48" y="766"/>
                  </a:lnTo>
                  <a:lnTo>
                    <a:pt x="44" y="768"/>
                  </a:lnTo>
                  <a:lnTo>
                    <a:pt x="38" y="770"/>
                  </a:lnTo>
                  <a:lnTo>
                    <a:pt x="22" y="786"/>
                  </a:lnTo>
                  <a:lnTo>
                    <a:pt x="12" y="800"/>
                  </a:lnTo>
                  <a:lnTo>
                    <a:pt x="6" y="812"/>
                  </a:lnTo>
                  <a:lnTo>
                    <a:pt x="2" y="824"/>
                  </a:lnTo>
                  <a:lnTo>
                    <a:pt x="0" y="836"/>
                  </a:lnTo>
                  <a:lnTo>
                    <a:pt x="0" y="844"/>
                  </a:lnTo>
                  <a:lnTo>
                    <a:pt x="2" y="860"/>
                  </a:lnTo>
                  <a:lnTo>
                    <a:pt x="4" y="866"/>
                  </a:lnTo>
                  <a:lnTo>
                    <a:pt x="8" y="870"/>
                  </a:lnTo>
                  <a:lnTo>
                    <a:pt x="16" y="876"/>
                  </a:lnTo>
                  <a:lnTo>
                    <a:pt x="18" y="878"/>
                  </a:lnTo>
                  <a:lnTo>
                    <a:pt x="18" y="882"/>
                  </a:lnTo>
                  <a:lnTo>
                    <a:pt x="18" y="884"/>
                  </a:lnTo>
                  <a:lnTo>
                    <a:pt x="12" y="888"/>
                  </a:lnTo>
                  <a:lnTo>
                    <a:pt x="8" y="892"/>
                  </a:lnTo>
                  <a:lnTo>
                    <a:pt x="6" y="896"/>
                  </a:lnTo>
                  <a:lnTo>
                    <a:pt x="6" y="900"/>
                  </a:lnTo>
                  <a:lnTo>
                    <a:pt x="6" y="902"/>
                  </a:lnTo>
                  <a:lnTo>
                    <a:pt x="12" y="908"/>
                  </a:lnTo>
                  <a:lnTo>
                    <a:pt x="22" y="914"/>
                  </a:lnTo>
                  <a:lnTo>
                    <a:pt x="44" y="926"/>
                  </a:lnTo>
                  <a:lnTo>
                    <a:pt x="54" y="934"/>
                  </a:lnTo>
                  <a:lnTo>
                    <a:pt x="56" y="938"/>
                  </a:lnTo>
                  <a:lnTo>
                    <a:pt x="58" y="944"/>
                  </a:lnTo>
                  <a:lnTo>
                    <a:pt x="62" y="960"/>
                  </a:lnTo>
                  <a:lnTo>
                    <a:pt x="68" y="972"/>
                  </a:lnTo>
                  <a:lnTo>
                    <a:pt x="74" y="980"/>
                  </a:lnTo>
                  <a:lnTo>
                    <a:pt x="80" y="988"/>
                  </a:lnTo>
                  <a:lnTo>
                    <a:pt x="92" y="1004"/>
                  </a:lnTo>
                  <a:lnTo>
                    <a:pt x="96" y="1014"/>
                  </a:lnTo>
                  <a:lnTo>
                    <a:pt x="100" y="1026"/>
                  </a:lnTo>
                  <a:lnTo>
                    <a:pt x="104" y="1040"/>
                  </a:lnTo>
                  <a:lnTo>
                    <a:pt x="108" y="1056"/>
                  </a:lnTo>
                  <a:lnTo>
                    <a:pt x="122" y="1086"/>
                  </a:lnTo>
                  <a:lnTo>
                    <a:pt x="136" y="1114"/>
                  </a:lnTo>
                  <a:lnTo>
                    <a:pt x="142" y="1128"/>
                  </a:lnTo>
                  <a:lnTo>
                    <a:pt x="146" y="1142"/>
                  </a:lnTo>
                  <a:lnTo>
                    <a:pt x="148" y="1152"/>
                  </a:lnTo>
                  <a:lnTo>
                    <a:pt x="152" y="1160"/>
                  </a:lnTo>
                  <a:lnTo>
                    <a:pt x="158" y="1172"/>
                  </a:lnTo>
                  <a:lnTo>
                    <a:pt x="162" y="1180"/>
                  </a:lnTo>
                  <a:lnTo>
                    <a:pt x="164" y="1186"/>
                  </a:lnTo>
                  <a:lnTo>
                    <a:pt x="164" y="1194"/>
                  </a:lnTo>
                  <a:lnTo>
                    <a:pt x="166" y="1202"/>
                  </a:lnTo>
                  <a:lnTo>
                    <a:pt x="172" y="1210"/>
                  </a:lnTo>
                  <a:lnTo>
                    <a:pt x="184" y="1228"/>
                  </a:lnTo>
                  <a:lnTo>
                    <a:pt x="192" y="1238"/>
                  </a:lnTo>
                  <a:lnTo>
                    <a:pt x="198" y="1248"/>
                  </a:lnTo>
                  <a:lnTo>
                    <a:pt x="200" y="1260"/>
                  </a:lnTo>
                  <a:lnTo>
                    <a:pt x="200" y="1274"/>
                  </a:lnTo>
                  <a:lnTo>
                    <a:pt x="200" y="1286"/>
                  </a:lnTo>
                  <a:lnTo>
                    <a:pt x="204" y="1298"/>
                  </a:lnTo>
                  <a:lnTo>
                    <a:pt x="208" y="1308"/>
                  </a:lnTo>
                  <a:lnTo>
                    <a:pt x="214" y="1316"/>
                  </a:lnTo>
                  <a:lnTo>
                    <a:pt x="228" y="1330"/>
                  </a:lnTo>
                  <a:lnTo>
                    <a:pt x="234" y="1338"/>
                  </a:lnTo>
                  <a:lnTo>
                    <a:pt x="238" y="1344"/>
                  </a:lnTo>
                  <a:lnTo>
                    <a:pt x="246" y="1356"/>
                  </a:lnTo>
                  <a:lnTo>
                    <a:pt x="256" y="1368"/>
                  </a:lnTo>
                  <a:lnTo>
                    <a:pt x="278" y="1384"/>
                  </a:lnTo>
                  <a:lnTo>
                    <a:pt x="318" y="1406"/>
                  </a:lnTo>
                  <a:lnTo>
                    <a:pt x="358" y="1428"/>
                  </a:lnTo>
                  <a:lnTo>
                    <a:pt x="380" y="1442"/>
                  </a:lnTo>
                  <a:lnTo>
                    <a:pt x="388" y="1448"/>
                  </a:lnTo>
                  <a:lnTo>
                    <a:pt x="392" y="1454"/>
                  </a:lnTo>
                  <a:lnTo>
                    <a:pt x="396" y="1460"/>
                  </a:lnTo>
                  <a:lnTo>
                    <a:pt x="398" y="1468"/>
                  </a:lnTo>
                  <a:lnTo>
                    <a:pt x="400" y="1474"/>
                  </a:lnTo>
                  <a:lnTo>
                    <a:pt x="404" y="1480"/>
                  </a:lnTo>
                  <a:lnTo>
                    <a:pt x="408" y="1486"/>
                  </a:lnTo>
                  <a:lnTo>
                    <a:pt x="414" y="1490"/>
                  </a:lnTo>
                  <a:lnTo>
                    <a:pt x="426" y="1496"/>
                  </a:lnTo>
                  <a:lnTo>
                    <a:pt x="434" y="1500"/>
                  </a:lnTo>
                  <a:lnTo>
                    <a:pt x="440" y="1506"/>
                  </a:lnTo>
                  <a:lnTo>
                    <a:pt x="438" y="1532"/>
                  </a:lnTo>
                  <a:lnTo>
                    <a:pt x="440" y="1542"/>
                  </a:lnTo>
                  <a:lnTo>
                    <a:pt x="442" y="1546"/>
                  </a:lnTo>
                  <a:lnTo>
                    <a:pt x="442" y="1552"/>
                  </a:lnTo>
                  <a:lnTo>
                    <a:pt x="444" y="1564"/>
                  </a:lnTo>
                  <a:lnTo>
                    <a:pt x="446" y="1574"/>
                  </a:lnTo>
                  <a:lnTo>
                    <a:pt x="448" y="1586"/>
                  </a:lnTo>
                  <a:lnTo>
                    <a:pt x="448" y="1594"/>
                  </a:lnTo>
                  <a:lnTo>
                    <a:pt x="448" y="1604"/>
                  </a:lnTo>
                  <a:lnTo>
                    <a:pt x="446" y="1614"/>
                  </a:lnTo>
                  <a:lnTo>
                    <a:pt x="446" y="1624"/>
                  </a:lnTo>
                  <a:lnTo>
                    <a:pt x="450" y="1640"/>
                  </a:lnTo>
                  <a:lnTo>
                    <a:pt x="452" y="1658"/>
                  </a:lnTo>
                  <a:lnTo>
                    <a:pt x="452" y="1670"/>
                  </a:lnTo>
                  <a:lnTo>
                    <a:pt x="448" y="1686"/>
                  </a:lnTo>
                  <a:lnTo>
                    <a:pt x="444" y="1716"/>
                  </a:lnTo>
                  <a:lnTo>
                    <a:pt x="442" y="1732"/>
                  </a:lnTo>
                  <a:lnTo>
                    <a:pt x="440" y="1742"/>
                  </a:lnTo>
                  <a:lnTo>
                    <a:pt x="440" y="1744"/>
                  </a:lnTo>
                  <a:lnTo>
                    <a:pt x="438" y="1744"/>
                  </a:lnTo>
                  <a:lnTo>
                    <a:pt x="436" y="1744"/>
                  </a:lnTo>
                  <a:lnTo>
                    <a:pt x="434" y="1746"/>
                  </a:lnTo>
                  <a:lnTo>
                    <a:pt x="430" y="1752"/>
                  </a:lnTo>
                  <a:lnTo>
                    <a:pt x="430" y="1760"/>
                  </a:lnTo>
                  <a:lnTo>
                    <a:pt x="430" y="1762"/>
                  </a:lnTo>
                  <a:lnTo>
                    <a:pt x="434" y="1764"/>
                  </a:lnTo>
                  <a:lnTo>
                    <a:pt x="436" y="1768"/>
                  </a:lnTo>
                  <a:lnTo>
                    <a:pt x="436" y="1772"/>
                  </a:lnTo>
                  <a:lnTo>
                    <a:pt x="434" y="1788"/>
                  </a:lnTo>
                  <a:lnTo>
                    <a:pt x="430" y="1808"/>
                  </a:lnTo>
                  <a:lnTo>
                    <a:pt x="432" y="1820"/>
                  </a:lnTo>
                  <a:lnTo>
                    <a:pt x="434" y="1834"/>
                  </a:lnTo>
                  <a:lnTo>
                    <a:pt x="436" y="1846"/>
                  </a:lnTo>
                  <a:lnTo>
                    <a:pt x="436" y="1856"/>
                  </a:lnTo>
                  <a:lnTo>
                    <a:pt x="434" y="1864"/>
                  </a:lnTo>
                  <a:lnTo>
                    <a:pt x="432" y="1870"/>
                  </a:lnTo>
                  <a:lnTo>
                    <a:pt x="428" y="1882"/>
                  </a:lnTo>
                  <a:lnTo>
                    <a:pt x="428" y="1888"/>
                  </a:lnTo>
                  <a:lnTo>
                    <a:pt x="430" y="1894"/>
                  </a:lnTo>
                  <a:lnTo>
                    <a:pt x="432" y="1900"/>
                  </a:lnTo>
                  <a:lnTo>
                    <a:pt x="430" y="1908"/>
                  </a:lnTo>
                  <a:lnTo>
                    <a:pt x="424" y="1928"/>
                  </a:lnTo>
                  <a:lnTo>
                    <a:pt x="418" y="1946"/>
                  </a:lnTo>
                  <a:lnTo>
                    <a:pt x="416" y="1956"/>
                  </a:lnTo>
                  <a:lnTo>
                    <a:pt x="416" y="1964"/>
                  </a:lnTo>
                  <a:lnTo>
                    <a:pt x="416" y="1974"/>
                  </a:lnTo>
                  <a:lnTo>
                    <a:pt x="414" y="1978"/>
                  </a:lnTo>
                  <a:lnTo>
                    <a:pt x="410" y="1986"/>
                  </a:lnTo>
                  <a:lnTo>
                    <a:pt x="408" y="2004"/>
                  </a:lnTo>
                  <a:lnTo>
                    <a:pt x="408" y="2016"/>
                  </a:lnTo>
                  <a:lnTo>
                    <a:pt x="404" y="2024"/>
                  </a:lnTo>
                  <a:lnTo>
                    <a:pt x="400" y="2030"/>
                  </a:lnTo>
                  <a:lnTo>
                    <a:pt x="398" y="2036"/>
                  </a:lnTo>
                  <a:lnTo>
                    <a:pt x="394" y="2040"/>
                  </a:lnTo>
                  <a:lnTo>
                    <a:pt x="392" y="2044"/>
                  </a:lnTo>
                  <a:lnTo>
                    <a:pt x="392" y="2048"/>
                  </a:lnTo>
                  <a:lnTo>
                    <a:pt x="394" y="2056"/>
                  </a:lnTo>
                  <a:lnTo>
                    <a:pt x="400" y="2072"/>
                  </a:lnTo>
                  <a:lnTo>
                    <a:pt x="402" y="2086"/>
                  </a:lnTo>
                  <a:lnTo>
                    <a:pt x="402" y="2098"/>
                  </a:lnTo>
                  <a:lnTo>
                    <a:pt x="400" y="2104"/>
                  </a:lnTo>
                  <a:lnTo>
                    <a:pt x="398" y="2108"/>
                  </a:lnTo>
                  <a:lnTo>
                    <a:pt x="390" y="2116"/>
                  </a:lnTo>
                  <a:lnTo>
                    <a:pt x="386" y="2124"/>
                  </a:lnTo>
                  <a:lnTo>
                    <a:pt x="384" y="2130"/>
                  </a:lnTo>
                  <a:lnTo>
                    <a:pt x="384" y="2138"/>
                  </a:lnTo>
                  <a:lnTo>
                    <a:pt x="388" y="2162"/>
                  </a:lnTo>
                  <a:lnTo>
                    <a:pt x="392" y="2186"/>
                  </a:lnTo>
                  <a:lnTo>
                    <a:pt x="392" y="2200"/>
                  </a:lnTo>
                  <a:lnTo>
                    <a:pt x="392" y="2212"/>
                  </a:lnTo>
                  <a:lnTo>
                    <a:pt x="396" y="2224"/>
                  </a:lnTo>
                  <a:lnTo>
                    <a:pt x="398" y="2230"/>
                  </a:lnTo>
                  <a:lnTo>
                    <a:pt x="398" y="2236"/>
                  </a:lnTo>
                  <a:lnTo>
                    <a:pt x="392" y="2248"/>
                  </a:lnTo>
                  <a:lnTo>
                    <a:pt x="386" y="2262"/>
                  </a:lnTo>
                  <a:lnTo>
                    <a:pt x="386" y="2270"/>
                  </a:lnTo>
                  <a:lnTo>
                    <a:pt x="386" y="2280"/>
                  </a:lnTo>
                  <a:lnTo>
                    <a:pt x="388" y="2288"/>
                  </a:lnTo>
                  <a:lnTo>
                    <a:pt x="388" y="2292"/>
                  </a:lnTo>
                  <a:lnTo>
                    <a:pt x="386" y="2294"/>
                  </a:lnTo>
                  <a:lnTo>
                    <a:pt x="384" y="2298"/>
                  </a:lnTo>
                  <a:lnTo>
                    <a:pt x="380" y="2300"/>
                  </a:lnTo>
                  <a:lnTo>
                    <a:pt x="378" y="2306"/>
                  </a:lnTo>
                  <a:lnTo>
                    <a:pt x="376" y="2314"/>
                  </a:lnTo>
                  <a:lnTo>
                    <a:pt x="374" y="2328"/>
                  </a:lnTo>
                  <a:lnTo>
                    <a:pt x="372" y="2342"/>
                  </a:lnTo>
                  <a:lnTo>
                    <a:pt x="370" y="2354"/>
                  </a:lnTo>
                  <a:lnTo>
                    <a:pt x="362" y="2376"/>
                  </a:lnTo>
                  <a:lnTo>
                    <a:pt x="354" y="2390"/>
                  </a:lnTo>
                  <a:lnTo>
                    <a:pt x="350" y="2402"/>
                  </a:lnTo>
                  <a:lnTo>
                    <a:pt x="348" y="2412"/>
                  </a:lnTo>
                  <a:lnTo>
                    <a:pt x="344" y="2414"/>
                  </a:lnTo>
                  <a:lnTo>
                    <a:pt x="342" y="2420"/>
                  </a:lnTo>
                  <a:lnTo>
                    <a:pt x="338" y="2434"/>
                  </a:lnTo>
                  <a:lnTo>
                    <a:pt x="336" y="2446"/>
                  </a:lnTo>
                  <a:lnTo>
                    <a:pt x="334" y="2452"/>
                  </a:lnTo>
                  <a:lnTo>
                    <a:pt x="334" y="2454"/>
                  </a:lnTo>
                  <a:lnTo>
                    <a:pt x="332" y="2454"/>
                  </a:lnTo>
                  <a:lnTo>
                    <a:pt x="330" y="2452"/>
                  </a:lnTo>
                  <a:lnTo>
                    <a:pt x="328" y="2462"/>
                  </a:lnTo>
                  <a:lnTo>
                    <a:pt x="326" y="2474"/>
                  </a:lnTo>
                  <a:lnTo>
                    <a:pt x="324" y="2480"/>
                  </a:lnTo>
                  <a:lnTo>
                    <a:pt x="320" y="2482"/>
                  </a:lnTo>
                  <a:lnTo>
                    <a:pt x="318" y="2482"/>
                  </a:lnTo>
                  <a:lnTo>
                    <a:pt x="310" y="2480"/>
                  </a:lnTo>
                  <a:lnTo>
                    <a:pt x="308" y="2482"/>
                  </a:lnTo>
                  <a:lnTo>
                    <a:pt x="306" y="2486"/>
                  </a:lnTo>
                  <a:lnTo>
                    <a:pt x="306" y="2498"/>
                  </a:lnTo>
                  <a:lnTo>
                    <a:pt x="306" y="2506"/>
                  </a:lnTo>
                  <a:lnTo>
                    <a:pt x="310" y="2514"/>
                  </a:lnTo>
                  <a:lnTo>
                    <a:pt x="314" y="2522"/>
                  </a:lnTo>
                  <a:lnTo>
                    <a:pt x="314" y="2530"/>
                  </a:lnTo>
                  <a:lnTo>
                    <a:pt x="314" y="2540"/>
                  </a:lnTo>
                  <a:lnTo>
                    <a:pt x="312" y="2552"/>
                  </a:lnTo>
                  <a:lnTo>
                    <a:pt x="314" y="2560"/>
                  </a:lnTo>
                  <a:lnTo>
                    <a:pt x="318" y="2572"/>
                  </a:lnTo>
                  <a:lnTo>
                    <a:pt x="320" y="2576"/>
                  </a:lnTo>
                  <a:lnTo>
                    <a:pt x="322" y="2584"/>
                  </a:lnTo>
                  <a:lnTo>
                    <a:pt x="324" y="2594"/>
                  </a:lnTo>
                  <a:lnTo>
                    <a:pt x="322" y="2606"/>
                  </a:lnTo>
                  <a:lnTo>
                    <a:pt x="320" y="2618"/>
                  </a:lnTo>
                  <a:lnTo>
                    <a:pt x="316" y="2624"/>
                  </a:lnTo>
                  <a:lnTo>
                    <a:pt x="314" y="2626"/>
                  </a:lnTo>
                  <a:lnTo>
                    <a:pt x="310" y="2626"/>
                  </a:lnTo>
                  <a:lnTo>
                    <a:pt x="308" y="2626"/>
                  </a:lnTo>
                  <a:lnTo>
                    <a:pt x="306" y="2628"/>
                  </a:lnTo>
                  <a:lnTo>
                    <a:pt x="304" y="2632"/>
                  </a:lnTo>
                  <a:lnTo>
                    <a:pt x="304" y="2642"/>
                  </a:lnTo>
                  <a:lnTo>
                    <a:pt x="302" y="2658"/>
                  </a:lnTo>
                  <a:lnTo>
                    <a:pt x="298" y="2670"/>
                  </a:lnTo>
                  <a:lnTo>
                    <a:pt x="294" y="2686"/>
                  </a:lnTo>
                  <a:lnTo>
                    <a:pt x="292" y="2692"/>
                  </a:lnTo>
                  <a:lnTo>
                    <a:pt x="292" y="2696"/>
                  </a:lnTo>
                  <a:lnTo>
                    <a:pt x="294" y="2704"/>
                  </a:lnTo>
                  <a:lnTo>
                    <a:pt x="298" y="2712"/>
                  </a:lnTo>
                  <a:lnTo>
                    <a:pt x="302" y="2722"/>
                  </a:lnTo>
                  <a:lnTo>
                    <a:pt x="308" y="2728"/>
                  </a:lnTo>
                  <a:lnTo>
                    <a:pt x="312" y="2732"/>
                  </a:lnTo>
                  <a:lnTo>
                    <a:pt x="316" y="2734"/>
                  </a:lnTo>
                  <a:lnTo>
                    <a:pt x="320" y="2734"/>
                  </a:lnTo>
                  <a:lnTo>
                    <a:pt x="324" y="2732"/>
                  </a:lnTo>
                  <a:lnTo>
                    <a:pt x="328" y="2728"/>
                  </a:lnTo>
                  <a:lnTo>
                    <a:pt x="330" y="2724"/>
                  </a:lnTo>
                  <a:lnTo>
                    <a:pt x="334" y="2716"/>
                  </a:lnTo>
                  <a:lnTo>
                    <a:pt x="336" y="2716"/>
                  </a:lnTo>
                  <a:lnTo>
                    <a:pt x="338" y="2718"/>
                  </a:lnTo>
                  <a:lnTo>
                    <a:pt x="342" y="2722"/>
                  </a:lnTo>
                  <a:lnTo>
                    <a:pt x="346" y="2726"/>
                  </a:lnTo>
                  <a:lnTo>
                    <a:pt x="348" y="2728"/>
                  </a:lnTo>
                  <a:lnTo>
                    <a:pt x="350" y="2730"/>
                  </a:lnTo>
                  <a:lnTo>
                    <a:pt x="350" y="2732"/>
                  </a:lnTo>
                  <a:lnTo>
                    <a:pt x="344" y="2738"/>
                  </a:lnTo>
                  <a:lnTo>
                    <a:pt x="340" y="2744"/>
                  </a:lnTo>
                  <a:lnTo>
                    <a:pt x="340" y="2746"/>
                  </a:lnTo>
                  <a:lnTo>
                    <a:pt x="344" y="2746"/>
                  </a:lnTo>
                  <a:lnTo>
                    <a:pt x="350" y="2748"/>
                  </a:lnTo>
                  <a:lnTo>
                    <a:pt x="354" y="2752"/>
                  </a:lnTo>
                  <a:lnTo>
                    <a:pt x="356" y="2754"/>
                  </a:lnTo>
                  <a:lnTo>
                    <a:pt x="356" y="2760"/>
                  </a:lnTo>
                  <a:lnTo>
                    <a:pt x="356" y="2766"/>
                  </a:lnTo>
                  <a:lnTo>
                    <a:pt x="354" y="2766"/>
                  </a:lnTo>
                  <a:lnTo>
                    <a:pt x="352" y="2764"/>
                  </a:lnTo>
                  <a:lnTo>
                    <a:pt x="348" y="2758"/>
                  </a:lnTo>
                  <a:lnTo>
                    <a:pt x="344" y="2758"/>
                  </a:lnTo>
                  <a:lnTo>
                    <a:pt x="342" y="2760"/>
                  </a:lnTo>
                  <a:lnTo>
                    <a:pt x="342" y="2766"/>
                  </a:lnTo>
                  <a:lnTo>
                    <a:pt x="342" y="2774"/>
                  </a:lnTo>
                  <a:lnTo>
                    <a:pt x="342" y="2778"/>
                  </a:lnTo>
                  <a:lnTo>
                    <a:pt x="340" y="2782"/>
                  </a:lnTo>
                  <a:lnTo>
                    <a:pt x="342" y="2792"/>
                  </a:lnTo>
                  <a:lnTo>
                    <a:pt x="342" y="2798"/>
                  </a:lnTo>
                  <a:lnTo>
                    <a:pt x="342" y="2804"/>
                  </a:lnTo>
                  <a:lnTo>
                    <a:pt x="336" y="2812"/>
                  </a:lnTo>
                  <a:lnTo>
                    <a:pt x="330" y="2820"/>
                  </a:lnTo>
                  <a:lnTo>
                    <a:pt x="330" y="2824"/>
                  </a:lnTo>
                  <a:lnTo>
                    <a:pt x="330" y="2830"/>
                  </a:lnTo>
                  <a:lnTo>
                    <a:pt x="334" y="2840"/>
                  </a:lnTo>
                  <a:lnTo>
                    <a:pt x="332" y="2852"/>
                  </a:lnTo>
                  <a:lnTo>
                    <a:pt x="330" y="2860"/>
                  </a:lnTo>
                  <a:lnTo>
                    <a:pt x="326" y="2864"/>
                  </a:lnTo>
                  <a:lnTo>
                    <a:pt x="324" y="2866"/>
                  </a:lnTo>
                  <a:lnTo>
                    <a:pt x="324" y="2870"/>
                  </a:lnTo>
                  <a:lnTo>
                    <a:pt x="330" y="2872"/>
                  </a:lnTo>
                  <a:lnTo>
                    <a:pt x="336" y="2874"/>
                  </a:lnTo>
                  <a:lnTo>
                    <a:pt x="344" y="2878"/>
                  </a:lnTo>
                  <a:lnTo>
                    <a:pt x="346" y="2882"/>
                  </a:lnTo>
                  <a:lnTo>
                    <a:pt x="348" y="2890"/>
                  </a:lnTo>
                  <a:lnTo>
                    <a:pt x="346" y="2896"/>
                  </a:lnTo>
                  <a:lnTo>
                    <a:pt x="342" y="2904"/>
                  </a:lnTo>
                  <a:lnTo>
                    <a:pt x="338" y="2908"/>
                  </a:lnTo>
                  <a:lnTo>
                    <a:pt x="332" y="2912"/>
                  </a:lnTo>
                  <a:lnTo>
                    <a:pt x="326" y="2916"/>
                  </a:lnTo>
                  <a:lnTo>
                    <a:pt x="320" y="2918"/>
                  </a:lnTo>
                  <a:lnTo>
                    <a:pt x="318" y="2922"/>
                  </a:lnTo>
                  <a:lnTo>
                    <a:pt x="320" y="2926"/>
                  </a:lnTo>
                  <a:lnTo>
                    <a:pt x="322" y="2930"/>
                  </a:lnTo>
                  <a:lnTo>
                    <a:pt x="322" y="2932"/>
                  </a:lnTo>
                  <a:lnTo>
                    <a:pt x="320" y="2936"/>
                  </a:lnTo>
                  <a:lnTo>
                    <a:pt x="316" y="2940"/>
                  </a:lnTo>
                  <a:lnTo>
                    <a:pt x="312" y="2946"/>
                  </a:lnTo>
                  <a:lnTo>
                    <a:pt x="312" y="2954"/>
                  </a:lnTo>
                  <a:lnTo>
                    <a:pt x="312" y="2956"/>
                  </a:lnTo>
                  <a:lnTo>
                    <a:pt x="312" y="2962"/>
                  </a:lnTo>
                  <a:lnTo>
                    <a:pt x="310" y="2974"/>
                  </a:lnTo>
                  <a:lnTo>
                    <a:pt x="308" y="2986"/>
                  </a:lnTo>
                  <a:lnTo>
                    <a:pt x="308" y="2994"/>
                  </a:lnTo>
                  <a:lnTo>
                    <a:pt x="306" y="3000"/>
                  </a:lnTo>
                  <a:lnTo>
                    <a:pt x="300" y="3006"/>
                  </a:lnTo>
                  <a:lnTo>
                    <a:pt x="298" y="3006"/>
                  </a:lnTo>
                  <a:lnTo>
                    <a:pt x="296" y="3006"/>
                  </a:lnTo>
                  <a:lnTo>
                    <a:pt x="298" y="2998"/>
                  </a:lnTo>
                  <a:lnTo>
                    <a:pt x="300" y="2988"/>
                  </a:lnTo>
                  <a:lnTo>
                    <a:pt x="300" y="2984"/>
                  </a:lnTo>
                  <a:lnTo>
                    <a:pt x="296" y="2980"/>
                  </a:lnTo>
                  <a:lnTo>
                    <a:pt x="292" y="2978"/>
                  </a:lnTo>
                  <a:lnTo>
                    <a:pt x="290" y="2974"/>
                  </a:lnTo>
                  <a:lnTo>
                    <a:pt x="290" y="2968"/>
                  </a:lnTo>
                  <a:lnTo>
                    <a:pt x="290" y="2964"/>
                  </a:lnTo>
                  <a:lnTo>
                    <a:pt x="288" y="2962"/>
                  </a:lnTo>
                  <a:lnTo>
                    <a:pt x="282" y="2962"/>
                  </a:lnTo>
                  <a:lnTo>
                    <a:pt x="276" y="2962"/>
                  </a:lnTo>
                  <a:lnTo>
                    <a:pt x="274" y="2964"/>
                  </a:lnTo>
                  <a:lnTo>
                    <a:pt x="274" y="2966"/>
                  </a:lnTo>
                  <a:lnTo>
                    <a:pt x="270" y="2964"/>
                  </a:lnTo>
                  <a:lnTo>
                    <a:pt x="268" y="2964"/>
                  </a:lnTo>
                  <a:lnTo>
                    <a:pt x="266" y="2964"/>
                  </a:lnTo>
                  <a:lnTo>
                    <a:pt x="266" y="2968"/>
                  </a:lnTo>
                  <a:lnTo>
                    <a:pt x="266" y="2972"/>
                  </a:lnTo>
                  <a:lnTo>
                    <a:pt x="264" y="2976"/>
                  </a:lnTo>
                  <a:lnTo>
                    <a:pt x="260" y="2980"/>
                  </a:lnTo>
                  <a:lnTo>
                    <a:pt x="254" y="2986"/>
                  </a:lnTo>
                  <a:lnTo>
                    <a:pt x="238" y="2994"/>
                  </a:lnTo>
                  <a:lnTo>
                    <a:pt x="228" y="3004"/>
                  </a:lnTo>
                  <a:lnTo>
                    <a:pt x="226" y="3008"/>
                  </a:lnTo>
                  <a:lnTo>
                    <a:pt x="224" y="3012"/>
                  </a:lnTo>
                  <a:lnTo>
                    <a:pt x="224" y="3016"/>
                  </a:lnTo>
                  <a:lnTo>
                    <a:pt x="226" y="3020"/>
                  </a:lnTo>
                  <a:lnTo>
                    <a:pt x="232" y="3026"/>
                  </a:lnTo>
                  <a:lnTo>
                    <a:pt x="236" y="3026"/>
                  </a:lnTo>
                  <a:lnTo>
                    <a:pt x="236" y="3024"/>
                  </a:lnTo>
                  <a:lnTo>
                    <a:pt x="238" y="3016"/>
                  </a:lnTo>
                  <a:lnTo>
                    <a:pt x="238" y="3010"/>
                  </a:lnTo>
                  <a:lnTo>
                    <a:pt x="242" y="3006"/>
                  </a:lnTo>
                  <a:lnTo>
                    <a:pt x="244" y="3006"/>
                  </a:lnTo>
                  <a:lnTo>
                    <a:pt x="248" y="3006"/>
                  </a:lnTo>
                  <a:lnTo>
                    <a:pt x="252" y="3012"/>
                  </a:lnTo>
                  <a:lnTo>
                    <a:pt x="256" y="3018"/>
                  </a:lnTo>
                  <a:lnTo>
                    <a:pt x="264" y="3022"/>
                  </a:lnTo>
                  <a:lnTo>
                    <a:pt x="272" y="3024"/>
                  </a:lnTo>
                  <a:lnTo>
                    <a:pt x="274" y="3022"/>
                  </a:lnTo>
                  <a:lnTo>
                    <a:pt x="274" y="3020"/>
                  </a:lnTo>
                  <a:lnTo>
                    <a:pt x="276" y="3016"/>
                  </a:lnTo>
                  <a:lnTo>
                    <a:pt x="278" y="3016"/>
                  </a:lnTo>
                  <a:lnTo>
                    <a:pt x="282" y="3018"/>
                  </a:lnTo>
                  <a:lnTo>
                    <a:pt x="286" y="3024"/>
                  </a:lnTo>
                  <a:lnTo>
                    <a:pt x="290" y="3026"/>
                  </a:lnTo>
                  <a:lnTo>
                    <a:pt x="292" y="3028"/>
                  </a:lnTo>
                  <a:lnTo>
                    <a:pt x="296" y="3030"/>
                  </a:lnTo>
                  <a:lnTo>
                    <a:pt x="296" y="3036"/>
                  </a:lnTo>
                  <a:lnTo>
                    <a:pt x="294" y="3040"/>
                  </a:lnTo>
                  <a:lnTo>
                    <a:pt x="292" y="3040"/>
                  </a:lnTo>
                  <a:lnTo>
                    <a:pt x="286" y="3042"/>
                  </a:lnTo>
                  <a:lnTo>
                    <a:pt x="280" y="3042"/>
                  </a:lnTo>
                  <a:lnTo>
                    <a:pt x="278" y="3044"/>
                  </a:lnTo>
                  <a:lnTo>
                    <a:pt x="276" y="3048"/>
                  </a:lnTo>
                  <a:lnTo>
                    <a:pt x="274" y="3054"/>
                  </a:lnTo>
                  <a:lnTo>
                    <a:pt x="274" y="3056"/>
                  </a:lnTo>
                  <a:lnTo>
                    <a:pt x="280" y="3062"/>
                  </a:lnTo>
                  <a:lnTo>
                    <a:pt x="284" y="3064"/>
                  </a:lnTo>
                  <a:lnTo>
                    <a:pt x="282" y="3064"/>
                  </a:lnTo>
                  <a:lnTo>
                    <a:pt x="272" y="3062"/>
                  </a:lnTo>
                  <a:lnTo>
                    <a:pt x="270" y="3062"/>
                  </a:lnTo>
                  <a:lnTo>
                    <a:pt x="268" y="3066"/>
                  </a:lnTo>
                  <a:lnTo>
                    <a:pt x="266" y="3072"/>
                  </a:lnTo>
                  <a:lnTo>
                    <a:pt x="268" y="3074"/>
                  </a:lnTo>
                  <a:lnTo>
                    <a:pt x="272" y="3074"/>
                  </a:lnTo>
                  <a:lnTo>
                    <a:pt x="282" y="3074"/>
                  </a:lnTo>
                  <a:lnTo>
                    <a:pt x="290" y="3074"/>
                  </a:lnTo>
                  <a:lnTo>
                    <a:pt x="296" y="3076"/>
                  </a:lnTo>
                  <a:lnTo>
                    <a:pt x="300" y="3078"/>
                  </a:lnTo>
                  <a:lnTo>
                    <a:pt x="302" y="3078"/>
                  </a:lnTo>
                  <a:lnTo>
                    <a:pt x="302" y="3074"/>
                  </a:lnTo>
                  <a:lnTo>
                    <a:pt x="304" y="3072"/>
                  </a:lnTo>
                  <a:lnTo>
                    <a:pt x="306" y="3072"/>
                  </a:lnTo>
                  <a:lnTo>
                    <a:pt x="310" y="3076"/>
                  </a:lnTo>
                  <a:lnTo>
                    <a:pt x="312" y="3080"/>
                  </a:lnTo>
                  <a:lnTo>
                    <a:pt x="312" y="3082"/>
                  </a:lnTo>
                  <a:lnTo>
                    <a:pt x="310" y="3084"/>
                  </a:lnTo>
                  <a:lnTo>
                    <a:pt x="308" y="3086"/>
                  </a:lnTo>
                  <a:lnTo>
                    <a:pt x="310" y="3088"/>
                  </a:lnTo>
                  <a:lnTo>
                    <a:pt x="314" y="3096"/>
                  </a:lnTo>
                  <a:lnTo>
                    <a:pt x="318" y="3100"/>
                  </a:lnTo>
                  <a:lnTo>
                    <a:pt x="318" y="3102"/>
                  </a:lnTo>
                  <a:lnTo>
                    <a:pt x="314" y="3100"/>
                  </a:lnTo>
                  <a:lnTo>
                    <a:pt x="300" y="3090"/>
                  </a:lnTo>
                  <a:lnTo>
                    <a:pt x="294" y="3088"/>
                  </a:lnTo>
                  <a:lnTo>
                    <a:pt x="286" y="3088"/>
                  </a:lnTo>
                  <a:lnTo>
                    <a:pt x="272" y="3086"/>
                  </a:lnTo>
                  <a:lnTo>
                    <a:pt x="268" y="3088"/>
                  </a:lnTo>
                  <a:lnTo>
                    <a:pt x="266" y="3088"/>
                  </a:lnTo>
                  <a:lnTo>
                    <a:pt x="268" y="3090"/>
                  </a:lnTo>
                  <a:lnTo>
                    <a:pt x="270" y="3092"/>
                  </a:lnTo>
                  <a:lnTo>
                    <a:pt x="272" y="3092"/>
                  </a:lnTo>
                  <a:lnTo>
                    <a:pt x="274" y="3092"/>
                  </a:lnTo>
                  <a:lnTo>
                    <a:pt x="276" y="3096"/>
                  </a:lnTo>
                  <a:lnTo>
                    <a:pt x="278" y="3100"/>
                  </a:lnTo>
                  <a:lnTo>
                    <a:pt x="282" y="3104"/>
                  </a:lnTo>
                  <a:lnTo>
                    <a:pt x="292" y="3110"/>
                  </a:lnTo>
                  <a:lnTo>
                    <a:pt x="294" y="3112"/>
                  </a:lnTo>
                  <a:lnTo>
                    <a:pt x="294" y="3114"/>
                  </a:lnTo>
                  <a:lnTo>
                    <a:pt x="294" y="3116"/>
                  </a:lnTo>
                  <a:lnTo>
                    <a:pt x="294" y="3120"/>
                  </a:lnTo>
                  <a:lnTo>
                    <a:pt x="292" y="3120"/>
                  </a:lnTo>
                  <a:lnTo>
                    <a:pt x="288" y="3118"/>
                  </a:lnTo>
                  <a:lnTo>
                    <a:pt x="284" y="3116"/>
                  </a:lnTo>
                  <a:lnTo>
                    <a:pt x="280" y="3116"/>
                  </a:lnTo>
                  <a:lnTo>
                    <a:pt x="280" y="3120"/>
                  </a:lnTo>
                  <a:lnTo>
                    <a:pt x="276" y="3132"/>
                  </a:lnTo>
                  <a:lnTo>
                    <a:pt x="276" y="3138"/>
                  </a:lnTo>
                  <a:lnTo>
                    <a:pt x="276" y="3148"/>
                  </a:lnTo>
                  <a:lnTo>
                    <a:pt x="278" y="3168"/>
                  </a:lnTo>
                  <a:lnTo>
                    <a:pt x="280" y="3174"/>
                  </a:lnTo>
                  <a:lnTo>
                    <a:pt x="282" y="3178"/>
                  </a:lnTo>
                  <a:lnTo>
                    <a:pt x="284" y="3178"/>
                  </a:lnTo>
                  <a:lnTo>
                    <a:pt x="284" y="3176"/>
                  </a:lnTo>
                  <a:lnTo>
                    <a:pt x="286" y="3168"/>
                  </a:lnTo>
                  <a:lnTo>
                    <a:pt x="288" y="3160"/>
                  </a:lnTo>
                  <a:lnTo>
                    <a:pt x="290" y="3156"/>
                  </a:lnTo>
                  <a:lnTo>
                    <a:pt x="292" y="3154"/>
                  </a:lnTo>
                  <a:lnTo>
                    <a:pt x="292" y="3158"/>
                  </a:lnTo>
                  <a:lnTo>
                    <a:pt x="292" y="3164"/>
                  </a:lnTo>
                  <a:lnTo>
                    <a:pt x="292" y="3170"/>
                  </a:lnTo>
                  <a:lnTo>
                    <a:pt x="294" y="3176"/>
                  </a:lnTo>
                  <a:lnTo>
                    <a:pt x="298" y="3182"/>
                  </a:lnTo>
                  <a:lnTo>
                    <a:pt x="300" y="3184"/>
                  </a:lnTo>
                  <a:lnTo>
                    <a:pt x="296" y="3182"/>
                  </a:lnTo>
                  <a:lnTo>
                    <a:pt x="290" y="3180"/>
                  </a:lnTo>
                  <a:lnTo>
                    <a:pt x="284" y="3182"/>
                  </a:lnTo>
                  <a:lnTo>
                    <a:pt x="280" y="3184"/>
                  </a:lnTo>
                  <a:lnTo>
                    <a:pt x="280" y="3186"/>
                  </a:lnTo>
                  <a:lnTo>
                    <a:pt x="282" y="3188"/>
                  </a:lnTo>
                  <a:lnTo>
                    <a:pt x="282" y="3190"/>
                  </a:lnTo>
                  <a:lnTo>
                    <a:pt x="280" y="3192"/>
                  </a:lnTo>
                  <a:lnTo>
                    <a:pt x="280" y="3194"/>
                  </a:lnTo>
                  <a:lnTo>
                    <a:pt x="284" y="3198"/>
                  </a:lnTo>
                  <a:lnTo>
                    <a:pt x="296" y="3206"/>
                  </a:lnTo>
                  <a:lnTo>
                    <a:pt x="294" y="3206"/>
                  </a:lnTo>
                  <a:lnTo>
                    <a:pt x="288" y="3206"/>
                  </a:lnTo>
                  <a:lnTo>
                    <a:pt x="280" y="3204"/>
                  </a:lnTo>
                  <a:lnTo>
                    <a:pt x="278" y="3204"/>
                  </a:lnTo>
                  <a:lnTo>
                    <a:pt x="280" y="3206"/>
                  </a:lnTo>
                  <a:lnTo>
                    <a:pt x="288" y="3216"/>
                  </a:lnTo>
                  <a:lnTo>
                    <a:pt x="290" y="3220"/>
                  </a:lnTo>
                  <a:lnTo>
                    <a:pt x="280" y="3214"/>
                  </a:lnTo>
                  <a:lnTo>
                    <a:pt x="274" y="3212"/>
                  </a:lnTo>
                  <a:lnTo>
                    <a:pt x="268" y="3212"/>
                  </a:lnTo>
                  <a:lnTo>
                    <a:pt x="264" y="3214"/>
                  </a:lnTo>
                  <a:lnTo>
                    <a:pt x="264" y="3216"/>
                  </a:lnTo>
                  <a:lnTo>
                    <a:pt x="268" y="3218"/>
                  </a:lnTo>
                  <a:lnTo>
                    <a:pt x="272" y="3220"/>
                  </a:lnTo>
                  <a:lnTo>
                    <a:pt x="274" y="3224"/>
                  </a:lnTo>
                  <a:lnTo>
                    <a:pt x="274" y="3226"/>
                  </a:lnTo>
                  <a:lnTo>
                    <a:pt x="278" y="3228"/>
                  </a:lnTo>
                  <a:lnTo>
                    <a:pt x="282" y="3230"/>
                  </a:lnTo>
                  <a:lnTo>
                    <a:pt x="284" y="3230"/>
                  </a:lnTo>
                  <a:lnTo>
                    <a:pt x="288" y="3230"/>
                  </a:lnTo>
                  <a:lnTo>
                    <a:pt x="292" y="3234"/>
                  </a:lnTo>
                  <a:lnTo>
                    <a:pt x="296" y="3236"/>
                  </a:lnTo>
                  <a:lnTo>
                    <a:pt x="296" y="3238"/>
                  </a:lnTo>
                  <a:lnTo>
                    <a:pt x="288" y="3236"/>
                  </a:lnTo>
                  <a:lnTo>
                    <a:pt x="284" y="3236"/>
                  </a:lnTo>
                  <a:lnTo>
                    <a:pt x="284" y="3238"/>
                  </a:lnTo>
                  <a:lnTo>
                    <a:pt x="288" y="3248"/>
                  </a:lnTo>
                  <a:lnTo>
                    <a:pt x="290" y="3252"/>
                  </a:lnTo>
                  <a:lnTo>
                    <a:pt x="294" y="3252"/>
                  </a:lnTo>
                  <a:lnTo>
                    <a:pt x="298" y="3250"/>
                  </a:lnTo>
                  <a:lnTo>
                    <a:pt x="302" y="3240"/>
                  </a:lnTo>
                  <a:lnTo>
                    <a:pt x="306" y="3234"/>
                  </a:lnTo>
                  <a:lnTo>
                    <a:pt x="308" y="3232"/>
                  </a:lnTo>
                  <a:lnTo>
                    <a:pt x="308" y="3234"/>
                  </a:lnTo>
                  <a:lnTo>
                    <a:pt x="306" y="3242"/>
                  </a:lnTo>
                  <a:lnTo>
                    <a:pt x="300" y="3256"/>
                  </a:lnTo>
                  <a:lnTo>
                    <a:pt x="296" y="3258"/>
                  </a:lnTo>
                  <a:lnTo>
                    <a:pt x="292" y="3258"/>
                  </a:lnTo>
                  <a:lnTo>
                    <a:pt x="288" y="3258"/>
                  </a:lnTo>
                  <a:lnTo>
                    <a:pt x="286" y="3258"/>
                  </a:lnTo>
                  <a:lnTo>
                    <a:pt x="284" y="3260"/>
                  </a:lnTo>
                  <a:lnTo>
                    <a:pt x="284" y="3264"/>
                  </a:lnTo>
                  <a:lnTo>
                    <a:pt x="286" y="3266"/>
                  </a:lnTo>
                  <a:lnTo>
                    <a:pt x="288" y="3268"/>
                  </a:lnTo>
                  <a:lnTo>
                    <a:pt x="288" y="3272"/>
                  </a:lnTo>
                  <a:lnTo>
                    <a:pt x="288" y="3276"/>
                  </a:lnTo>
                  <a:lnTo>
                    <a:pt x="290" y="3276"/>
                  </a:lnTo>
                  <a:lnTo>
                    <a:pt x="292" y="3276"/>
                  </a:lnTo>
                  <a:lnTo>
                    <a:pt x="296" y="3276"/>
                  </a:lnTo>
                  <a:lnTo>
                    <a:pt x="302" y="3278"/>
                  </a:lnTo>
                  <a:lnTo>
                    <a:pt x="306" y="3286"/>
                  </a:lnTo>
                  <a:lnTo>
                    <a:pt x="308" y="3294"/>
                  </a:lnTo>
                  <a:lnTo>
                    <a:pt x="308" y="3298"/>
                  </a:lnTo>
                  <a:lnTo>
                    <a:pt x="306" y="3298"/>
                  </a:lnTo>
                  <a:lnTo>
                    <a:pt x="302" y="3294"/>
                  </a:lnTo>
                  <a:lnTo>
                    <a:pt x="298" y="3288"/>
                  </a:lnTo>
                  <a:lnTo>
                    <a:pt x="296" y="3288"/>
                  </a:lnTo>
                  <a:lnTo>
                    <a:pt x="296" y="3290"/>
                  </a:lnTo>
                  <a:lnTo>
                    <a:pt x="296" y="3294"/>
                  </a:lnTo>
                  <a:lnTo>
                    <a:pt x="298" y="3298"/>
                  </a:lnTo>
                  <a:lnTo>
                    <a:pt x="298" y="3302"/>
                  </a:lnTo>
                  <a:lnTo>
                    <a:pt x="298" y="3304"/>
                  </a:lnTo>
                  <a:lnTo>
                    <a:pt x="300" y="3308"/>
                  </a:lnTo>
                  <a:lnTo>
                    <a:pt x="302" y="3310"/>
                  </a:lnTo>
                  <a:lnTo>
                    <a:pt x="306" y="3308"/>
                  </a:lnTo>
                  <a:lnTo>
                    <a:pt x="308" y="3306"/>
                  </a:lnTo>
                  <a:lnTo>
                    <a:pt x="310" y="3308"/>
                  </a:lnTo>
                  <a:lnTo>
                    <a:pt x="312" y="3310"/>
                  </a:lnTo>
                  <a:lnTo>
                    <a:pt x="314" y="3318"/>
                  </a:lnTo>
                  <a:lnTo>
                    <a:pt x="310" y="3316"/>
                  </a:lnTo>
                  <a:lnTo>
                    <a:pt x="308" y="3316"/>
                  </a:lnTo>
                  <a:lnTo>
                    <a:pt x="308" y="3318"/>
                  </a:lnTo>
                  <a:lnTo>
                    <a:pt x="312" y="3326"/>
                  </a:lnTo>
                  <a:lnTo>
                    <a:pt x="318" y="3332"/>
                  </a:lnTo>
                  <a:lnTo>
                    <a:pt x="322" y="3332"/>
                  </a:lnTo>
                  <a:lnTo>
                    <a:pt x="324" y="3332"/>
                  </a:lnTo>
                  <a:lnTo>
                    <a:pt x="326" y="3322"/>
                  </a:lnTo>
                  <a:lnTo>
                    <a:pt x="330" y="3318"/>
                  </a:lnTo>
                  <a:lnTo>
                    <a:pt x="332" y="3316"/>
                  </a:lnTo>
                  <a:lnTo>
                    <a:pt x="334" y="3314"/>
                  </a:lnTo>
                  <a:lnTo>
                    <a:pt x="334" y="3312"/>
                  </a:lnTo>
                  <a:lnTo>
                    <a:pt x="334" y="3310"/>
                  </a:lnTo>
                  <a:lnTo>
                    <a:pt x="342" y="3312"/>
                  </a:lnTo>
                  <a:lnTo>
                    <a:pt x="348" y="3312"/>
                  </a:lnTo>
                  <a:lnTo>
                    <a:pt x="350" y="3312"/>
                  </a:lnTo>
                  <a:lnTo>
                    <a:pt x="350" y="3310"/>
                  </a:lnTo>
                  <a:lnTo>
                    <a:pt x="344" y="3304"/>
                  </a:lnTo>
                  <a:lnTo>
                    <a:pt x="334" y="3300"/>
                  </a:lnTo>
                  <a:lnTo>
                    <a:pt x="326" y="3294"/>
                  </a:lnTo>
                  <a:lnTo>
                    <a:pt x="324" y="3292"/>
                  </a:lnTo>
                  <a:lnTo>
                    <a:pt x="328" y="3290"/>
                  </a:lnTo>
                  <a:lnTo>
                    <a:pt x="336" y="3294"/>
                  </a:lnTo>
                  <a:lnTo>
                    <a:pt x="350" y="3302"/>
                  </a:lnTo>
                  <a:lnTo>
                    <a:pt x="354" y="3308"/>
                  </a:lnTo>
                  <a:lnTo>
                    <a:pt x="354" y="3314"/>
                  </a:lnTo>
                  <a:lnTo>
                    <a:pt x="352" y="3320"/>
                  </a:lnTo>
                  <a:lnTo>
                    <a:pt x="350" y="3322"/>
                  </a:lnTo>
                  <a:lnTo>
                    <a:pt x="348" y="3324"/>
                  </a:lnTo>
                  <a:lnTo>
                    <a:pt x="350" y="3330"/>
                  </a:lnTo>
                  <a:lnTo>
                    <a:pt x="352" y="3332"/>
                  </a:lnTo>
                  <a:lnTo>
                    <a:pt x="348" y="3328"/>
                  </a:lnTo>
                  <a:lnTo>
                    <a:pt x="342" y="3322"/>
                  </a:lnTo>
                  <a:lnTo>
                    <a:pt x="340" y="3322"/>
                  </a:lnTo>
                  <a:lnTo>
                    <a:pt x="338" y="3326"/>
                  </a:lnTo>
                  <a:lnTo>
                    <a:pt x="334" y="3336"/>
                  </a:lnTo>
                  <a:lnTo>
                    <a:pt x="332" y="3334"/>
                  </a:lnTo>
                  <a:lnTo>
                    <a:pt x="332" y="3330"/>
                  </a:lnTo>
                  <a:lnTo>
                    <a:pt x="330" y="3332"/>
                  </a:lnTo>
                  <a:lnTo>
                    <a:pt x="324" y="3338"/>
                  </a:lnTo>
                  <a:lnTo>
                    <a:pt x="322" y="3340"/>
                  </a:lnTo>
                  <a:lnTo>
                    <a:pt x="320" y="3340"/>
                  </a:lnTo>
                  <a:lnTo>
                    <a:pt x="316" y="3336"/>
                  </a:lnTo>
                  <a:lnTo>
                    <a:pt x="310" y="3330"/>
                  </a:lnTo>
                  <a:lnTo>
                    <a:pt x="306" y="3328"/>
                  </a:lnTo>
                  <a:lnTo>
                    <a:pt x="304" y="3328"/>
                  </a:lnTo>
                  <a:lnTo>
                    <a:pt x="306" y="3332"/>
                  </a:lnTo>
                  <a:lnTo>
                    <a:pt x="310" y="3336"/>
                  </a:lnTo>
                  <a:lnTo>
                    <a:pt x="310" y="3340"/>
                  </a:lnTo>
                  <a:lnTo>
                    <a:pt x="308" y="3344"/>
                  </a:lnTo>
                  <a:lnTo>
                    <a:pt x="306" y="3350"/>
                  </a:lnTo>
                  <a:lnTo>
                    <a:pt x="308" y="3350"/>
                  </a:lnTo>
                  <a:lnTo>
                    <a:pt x="312" y="3352"/>
                  </a:lnTo>
                  <a:lnTo>
                    <a:pt x="310" y="3356"/>
                  </a:lnTo>
                  <a:lnTo>
                    <a:pt x="306" y="3364"/>
                  </a:lnTo>
                  <a:lnTo>
                    <a:pt x="306" y="3368"/>
                  </a:lnTo>
                  <a:lnTo>
                    <a:pt x="306" y="3370"/>
                  </a:lnTo>
                  <a:lnTo>
                    <a:pt x="308" y="3370"/>
                  </a:lnTo>
                  <a:lnTo>
                    <a:pt x="314" y="3366"/>
                  </a:lnTo>
                  <a:lnTo>
                    <a:pt x="316" y="3364"/>
                  </a:lnTo>
                  <a:lnTo>
                    <a:pt x="320" y="3364"/>
                  </a:lnTo>
                  <a:lnTo>
                    <a:pt x="322" y="3366"/>
                  </a:lnTo>
                  <a:lnTo>
                    <a:pt x="324" y="3372"/>
                  </a:lnTo>
                  <a:lnTo>
                    <a:pt x="322" y="3374"/>
                  </a:lnTo>
                  <a:lnTo>
                    <a:pt x="320" y="3374"/>
                  </a:lnTo>
                  <a:lnTo>
                    <a:pt x="316" y="3374"/>
                  </a:lnTo>
                  <a:lnTo>
                    <a:pt x="322" y="3380"/>
                  </a:lnTo>
                  <a:lnTo>
                    <a:pt x="322" y="3382"/>
                  </a:lnTo>
                  <a:lnTo>
                    <a:pt x="318" y="3384"/>
                  </a:lnTo>
                  <a:lnTo>
                    <a:pt x="316" y="3386"/>
                  </a:lnTo>
                  <a:lnTo>
                    <a:pt x="320" y="3388"/>
                  </a:lnTo>
                  <a:lnTo>
                    <a:pt x="328" y="3390"/>
                  </a:lnTo>
                  <a:lnTo>
                    <a:pt x="332" y="3388"/>
                  </a:lnTo>
                  <a:lnTo>
                    <a:pt x="334" y="3384"/>
                  </a:lnTo>
                  <a:lnTo>
                    <a:pt x="334" y="3378"/>
                  </a:lnTo>
                  <a:lnTo>
                    <a:pt x="334" y="3376"/>
                  </a:lnTo>
                  <a:lnTo>
                    <a:pt x="336" y="3374"/>
                  </a:lnTo>
                  <a:lnTo>
                    <a:pt x="340" y="3370"/>
                  </a:lnTo>
                  <a:lnTo>
                    <a:pt x="344" y="3368"/>
                  </a:lnTo>
                  <a:lnTo>
                    <a:pt x="346" y="3366"/>
                  </a:lnTo>
                  <a:lnTo>
                    <a:pt x="346" y="3364"/>
                  </a:lnTo>
                  <a:lnTo>
                    <a:pt x="344" y="3362"/>
                  </a:lnTo>
                  <a:lnTo>
                    <a:pt x="340" y="3360"/>
                  </a:lnTo>
                  <a:lnTo>
                    <a:pt x="340" y="3358"/>
                  </a:lnTo>
                  <a:lnTo>
                    <a:pt x="344" y="3358"/>
                  </a:lnTo>
                  <a:lnTo>
                    <a:pt x="352" y="3358"/>
                  </a:lnTo>
                  <a:lnTo>
                    <a:pt x="354" y="3362"/>
                  </a:lnTo>
                  <a:lnTo>
                    <a:pt x="356" y="3362"/>
                  </a:lnTo>
                  <a:lnTo>
                    <a:pt x="360" y="3360"/>
                  </a:lnTo>
                  <a:lnTo>
                    <a:pt x="364" y="3358"/>
                  </a:lnTo>
                  <a:lnTo>
                    <a:pt x="368" y="3356"/>
                  </a:lnTo>
                  <a:lnTo>
                    <a:pt x="382" y="3356"/>
                  </a:lnTo>
                  <a:lnTo>
                    <a:pt x="392" y="3358"/>
                  </a:lnTo>
                  <a:lnTo>
                    <a:pt x="394" y="3360"/>
                  </a:lnTo>
                  <a:lnTo>
                    <a:pt x="396" y="3362"/>
                  </a:lnTo>
                  <a:lnTo>
                    <a:pt x="392" y="3366"/>
                  </a:lnTo>
                  <a:lnTo>
                    <a:pt x="386" y="3368"/>
                  </a:lnTo>
                  <a:lnTo>
                    <a:pt x="380" y="3366"/>
                  </a:lnTo>
                  <a:lnTo>
                    <a:pt x="372" y="3364"/>
                  </a:lnTo>
                  <a:lnTo>
                    <a:pt x="368" y="3364"/>
                  </a:lnTo>
                  <a:lnTo>
                    <a:pt x="366" y="3366"/>
                  </a:lnTo>
                  <a:lnTo>
                    <a:pt x="362" y="3370"/>
                  </a:lnTo>
                  <a:lnTo>
                    <a:pt x="358" y="3376"/>
                  </a:lnTo>
                  <a:lnTo>
                    <a:pt x="356" y="3376"/>
                  </a:lnTo>
                  <a:lnTo>
                    <a:pt x="354" y="3376"/>
                  </a:lnTo>
                  <a:lnTo>
                    <a:pt x="348" y="3372"/>
                  </a:lnTo>
                  <a:lnTo>
                    <a:pt x="342" y="3374"/>
                  </a:lnTo>
                  <a:lnTo>
                    <a:pt x="338" y="3378"/>
                  </a:lnTo>
                  <a:lnTo>
                    <a:pt x="338" y="3384"/>
                  </a:lnTo>
                  <a:lnTo>
                    <a:pt x="340" y="3388"/>
                  </a:lnTo>
                  <a:lnTo>
                    <a:pt x="338" y="3390"/>
                  </a:lnTo>
                  <a:lnTo>
                    <a:pt x="338" y="3392"/>
                  </a:lnTo>
                  <a:lnTo>
                    <a:pt x="340" y="3396"/>
                  </a:lnTo>
                  <a:lnTo>
                    <a:pt x="342" y="3398"/>
                  </a:lnTo>
                  <a:lnTo>
                    <a:pt x="340" y="3398"/>
                  </a:lnTo>
                  <a:lnTo>
                    <a:pt x="334" y="3396"/>
                  </a:lnTo>
                  <a:lnTo>
                    <a:pt x="326" y="3396"/>
                  </a:lnTo>
                  <a:lnTo>
                    <a:pt x="324" y="3396"/>
                  </a:lnTo>
                  <a:lnTo>
                    <a:pt x="324" y="3398"/>
                  </a:lnTo>
                  <a:lnTo>
                    <a:pt x="326" y="3402"/>
                  </a:lnTo>
                  <a:lnTo>
                    <a:pt x="342" y="3412"/>
                  </a:lnTo>
                  <a:lnTo>
                    <a:pt x="354" y="3418"/>
                  </a:lnTo>
                  <a:lnTo>
                    <a:pt x="356" y="3418"/>
                  </a:lnTo>
                  <a:lnTo>
                    <a:pt x="354" y="3412"/>
                  </a:lnTo>
                  <a:lnTo>
                    <a:pt x="352" y="3406"/>
                  </a:lnTo>
                  <a:lnTo>
                    <a:pt x="352" y="3402"/>
                  </a:lnTo>
                  <a:lnTo>
                    <a:pt x="358" y="3400"/>
                  </a:lnTo>
                  <a:lnTo>
                    <a:pt x="362" y="3398"/>
                  </a:lnTo>
                  <a:lnTo>
                    <a:pt x="364" y="3396"/>
                  </a:lnTo>
                  <a:lnTo>
                    <a:pt x="364" y="3394"/>
                  </a:lnTo>
                  <a:lnTo>
                    <a:pt x="360" y="3390"/>
                  </a:lnTo>
                  <a:lnTo>
                    <a:pt x="356" y="3388"/>
                  </a:lnTo>
                  <a:lnTo>
                    <a:pt x="362" y="3390"/>
                  </a:lnTo>
                  <a:lnTo>
                    <a:pt x="370" y="3392"/>
                  </a:lnTo>
                  <a:lnTo>
                    <a:pt x="374" y="3390"/>
                  </a:lnTo>
                  <a:lnTo>
                    <a:pt x="378" y="3386"/>
                  </a:lnTo>
                  <a:lnTo>
                    <a:pt x="384" y="3382"/>
                  </a:lnTo>
                  <a:lnTo>
                    <a:pt x="392" y="3378"/>
                  </a:lnTo>
                  <a:lnTo>
                    <a:pt x="396" y="3374"/>
                  </a:lnTo>
                  <a:lnTo>
                    <a:pt x="402" y="3372"/>
                  </a:lnTo>
                  <a:lnTo>
                    <a:pt x="406" y="3374"/>
                  </a:lnTo>
                  <a:lnTo>
                    <a:pt x="408" y="3376"/>
                  </a:lnTo>
                  <a:lnTo>
                    <a:pt x="408" y="3378"/>
                  </a:lnTo>
                  <a:lnTo>
                    <a:pt x="406" y="3384"/>
                  </a:lnTo>
                  <a:lnTo>
                    <a:pt x="398" y="3392"/>
                  </a:lnTo>
                  <a:lnTo>
                    <a:pt x="390" y="3396"/>
                  </a:lnTo>
                  <a:lnTo>
                    <a:pt x="384" y="3400"/>
                  </a:lnTo>
                  <a:lnTo>
                    <a:pt x="384" y="3402"/>
                  </a:lnTo>
                  <a:lnTo>
                    <a:pt x="382" y="3404"/>
                  </a:lnTo>
                  <a:lnTo>
                    <a:pt x="380" y="3402"/>
                  </a:lnTo>
                  <a:lnTo>
                    <a:pt x="376" y="3400"/>
                  </a:lnTo>
                  <a:lnTo>
                    <a:pt x="374" y="3402"/>
                  </a:lnTo>
                  <a:lnTo>
                    <a:pt x="374" y="3404"/>
                  </a:lnTo>
                  <a:lnTo>
                    <a:pt x="370" y="3402"/>
                  </a:lnTo>
                  <a:lnTo>
                    <a:pt x="362" y="3404"/>
                  </a:lnTo>
                  <a:lnTo>
                    <a:pt x="358" y="3406"/>
                  </a:lnTo>
                  <a:lnTo>
                    <a:pt x="356" y="3408"/>
                  </a:lnTo>
                  <a:lnTo>
                    <a:pt x="360" y="3414"/>
                  </a:lnTo>
                  <a:lnTo>
                    <a:pt x="366" y="3420"/>
                  </a:lnTo>
                  <a:lnTo>
                    <a:pt x="372" y="3426"/>
                  </a:lnTo>
                  <a:lnTo>
                    <a:pt x="378" y="3430"/>
                  </a:lnTo>
                  <a:lnTo>
                    <a:pt x="382" y="3432"/>
                  </a:lnTo>
                  <a:lnTo>
                    <a:pt x="386" y="3434"/>
                  </a:lnTo>
                  <a:lnTo>
                    <a:pt x="392" y="3438"/>
                  </a:lnTo>
                  <a:lnTo>
                    <a:pt x="402" y="3438"/>
                  </a:lnTo>
                  <a:lnTo>
                    <a:pt x="410" y="3436"/>
                  </a:lnTo>
                  <a:lnTo>
                    <a:pt x="414" y="3434"/>
                  </a:lnTo>
                  <a:lnTo>
                    <a:pt x="416" y="3426"/>
                  </a:lnTo>
                  <a:lnTo>
                    <a:pt x="416" y="3412"/>
                  </a:lnTo>
                  <a:lnTo>
                    <a:pt x="418" y="3400"/>
                  </a:lnTo>
                  <a:lnTo>
                    <a:pt x="420" y="3394"/>
                  </a:lnTo>
                  <a:lnTo>
                    <a:pt x="422" y="3388"/>
                  </a:lnTo>
                  <a:lnTo>
                    <a:pt x="424" y="3378"/>
                  </a:lnTo>
                  <a:lnTo>
                    <a:pt x="424" y="3372"/>
                  </a:lnTo>
                  <a:lnTo>
                    <a:pt x="426" y="3368"/>
                  </a:lnTo>
                  <a:lnTo>
                    <a:pt x="428" y="3366"/>
                  </a:lnTo>
                  <a:lnTo>
                    <a:pt x="432" y="3366"/>
                  </a:lnTo>
                  <a:lnTo>
                    <a:pt x="440" y="3364"/>
                  </a:lnTo>
                  <a:lnTo>
                    <a:pt x="444" y="3362"/>
                  </a:lnTo>
                  <a:lnTo>
                    <a:pt x="450" y="3358"/>
                  </a:lnTo>
                  <a:lnTo>
                    <a:pt x="454" y="3354"/>
                  </a:lnTo>
                  <a:lnTo>
                    <a:pt x="458" y="3354"/>
                  </a:lnTo>
                  <a:lnTo>
                    <a:pt x="462" y="3354"/>
                  </a:lnTo>
                  <a:lnTo>
                    <a:pt x="466" y="3356"/>
                  </a:lnTo>
                  <a:lnTo>
                    <a:pt x="470" y="3350"/>
                  </a:lnTo>
                  <a:lnTo>
                    <a:pt x="476" y="3342"/>
                  </a:lnTo>
                  <a:lnTo>
                    <a:pt x="480" y="3340"/>
                  </a:lnTo>
                  <a:lnTo>
                    <a:pt x="486" y="3340"/>
                  </a:lnTo>
                  <a:lnTo>
                    <a:pt x="496" y="3342"/>
                  </a:lnTo>
                  <a:lnTo>
                    <a:pt x="510" y="3344"/>
                  </a:lnTo>
                  <a:lnTo>
                    <a:pt x="518" y="3348"/>
                  </a:lnTo>
                  <a:lnTo>
                    <a:pt x="520" y="3346"/>
                  </a:lnTo>
                  <a:lnTo>
                    <a:pt x="518" y="3342"/>
                  </a:lnTo>
                  <a:lnTo>
                    <a:pt x="510" y="3328"/>
                  </a:lnTo>
                  <a:lnTo>
                    <a:pt x="500" y="3308"/>
                  </a:lnTo>
                  <a:lnTo>
                    <a:pt x="496" y="3296"/>
                  </a:lnTo>
                  <a:lnTo>
                    <a:pt x="492" y="3282"/>
                  </a:lnTo>
                  <a:lnTo>
                    <a:pt x="490" y="3266"/>
                  </a:lnTo>
                  <a:lnTo>
                    <a:pt x="490" y="3256"/>
                  </a:lnTo>
                  <a:lnTo>
                    <a:pt x="490" y="3246"/>
                  </a:lnTo>
                  <a:lnTo>
                    <a:pt x="494" y="3238"/>
                  </a:lnTo>
                  <a:lnTo>
                    <a:pt x="498" y="3228"/>
                  </a:lnTo>
                  <a:lnTo>
                    <a:pt x="506" y="3222"/>
                  </a:lnTo>
                  <a:lnTo>
                    <a:pt x="518" y="3216"/>
                  </a:lnTo>
                  <a:lnTo>
                    <a:pt x="528" y="3212"/>
                  </a:lnTo>
                  <a:lnTo>
                    <a:pt x="536" y="3208"/>
                  </a:lnTo>
                  <a:lnTo>
                    <a:pt x="542" y="3202"/>
                  </a:lnTo>
                  <a:lnTo>
                    <a:pt x="546" y="3196"/>
                  </a:lnTo>
                  <a:lnTo>
                    <a:pt x="550" y="3180"/>
                  </a:lnTo>
                  <a:lnTo>
                    <a:pt x="552" y="3156"/>
                  </a:lnTo>
                  <a:lnTo>
                    <a:pt x="556" y="3144"/>
                  </a:lnTo>
                  <a:lnTo>
                    <a:pt x="564" y="3134"/>
                  </a:lnTo>
                  <a:lnTo>
                    <a:pt x="572" y="3126"/>
                  </a:lnTo>
                  <a:lnTo>
                    <a:pt x="580" y="3122"/>
                  </a:lnTo>
                  <a:lnTo>
                    <a:pt x="596" y="3112"/>
                  </a:lnTo>
                  <a:lnTo>
                    <a:pt x="602" y="3108"/>
                  </a:lnTo>
                  <a:lnTo>
                    <a:pt x="604" y="3104"/>
                  </a:lnTo>
                  <a:lnTo>
                    <a:pt x="606" y="3100"/>
                  </a:lnTo>
                  <a:lnTo>
                    <a:pt x="610" y="3096"/>
                  </a:lnTo>
                  <a:lnTo>
                    <a:pt x="616" y="3092"/>
                  </a:lnTo>
                  <a:lnTo>
                    <a:pt x="622" y="3086"/>
                  </a:lnTo>
                  <a:lnTo>
                    <a:pt x="624" y="3082"/>
                  </a:lnTo>
                  <a:lnTo>
                    <a:pt x="622" y="3078"/>
                  </a:lnTo>
                  <a:lnTo>
                    <a:pt x="620" y="3074"/>
                  </a:lnTo>
                  <a:lnTo>
                    <a:pt x="620" y="3072"/>
                  </a:lnTo>
                  <a:lnTo>
                    <a:pt x="624" y="3066"/>
                  </a:lnTo>
                  <a:lnTo>
                    <a:pt x="626" y="3060"/>
                  </a:lnTo>
                  <a:lnTo>
                    <a:pt x="626" y="3054"/>
                  </a:lnTo>
                  <a:lnTo>
                    <a:pt x="626" y="3044"/>
                  </a:lnTo>
                  <a:lnTo>
                    <a:pt x="624" y="3038"/>
                  </a:lnTo>
                  <a:lnTo>
                    <a:pt x="620" y="3036"/>
                  </a:lnTo>
                  <a:lnTo>
                    <a:pt x="608" y="3036"/>
                  </a:lnTo>
                  <a:lnTo>
                    <a:pt x="600" y="3034"/>
                  </a:lnTo>
                  <a:lnTo>
                    <a:pt x="590" y="3032"/>
                  </a:lnTo>
                  <a:lnTo>
                    <a:pt x="580" y="3026"/>
                  </a:lnTo>
                  <a:lnTo>
                    <a:pt x="570" y="3016"/>
                  </a:lnTo>
                  <a:lnTo>
                    <a:pt x="554" y="2996"/>
                  </a:lnTo>
                  <a:lnTo>
                    <a:pt x="550" y="2988"/>
                  </a:lnTo>
                  <a:lnTo>
                    <a:pt x="550" y="2982"/>
                  </a:lnTo>
                  <a:lnTo>
                    <a:pt x="550" y="2976"/>
                  </a:lnTo>
                  <a:lnTo>
                    <a:pt x="554" y="2968"/>
                  </a:lnTo>
                  <a:lnTo>
                    <a:pt x="564" y="2948"/>
                  </a:lnTo>
                  <a:lnTo>
                    <a:pt x="570" y="2938"/>
                  </a:lnTo>
                  <a:lnTo>
                    <a:pt x="576" y="2930"/>
                  </a:lnTo>
                  <a:lnTo>
                    <a:pt x="580" y="2928"/>
                  </a:lnTo>
                  <a:lnTo>
                    <a:pt x="584" y="2926"/>
                  </a:lnTo>
                  <a:lnTo>
                    <a:pt x="592" y="2926"/>
                  </a:lnTo>
                  <a:lnTo>
                    <a:pt x="594" y="2924"/>
                  </a:lnTo>
                  <a:lnTo>
                    <a:pt x="598" y="2922"/>
                  </a:lnTo>
                  <a:lnTo>
                    <a:pt x="602" y="2918"/>
                  </a:lnTo>
                  <a:lnTo>
                    <a:pt x="608" y="2916"/>
                  </a:lnTo>
                  <a:lnTo>
                    <a:pt x="622" y="2916"/>
                  </a:lnTo>
                  <a:lnTo>
                    <a:pt x="628" y="2916"/>
                  </a:lnTo>
                  <a:lnTo>
                    <a:pt x="632" y="2914"/>
                  </a:lnTo>
                  <a:lnTo>
                    <a:pt x="634" y="2912"/>
                  </a:lnTo>
                  <a:lnTo>
                    <a:pt x="630" y="2908"/>
                  </a:lnTo>
                  <a:lnTo>
                    <a:pt x="628" y="2902"/>
                  </a:lnTo>
                  <a:lnTo>
                    <a:pt x="630" y="2898"/>
                  </a:lnTo>
                  <a:lnTo>
                    <a:pt x="638" y="2890"/>
                  </a:lnTo>
                  <a:lnTo>
                    <a:pt x="642" y="2886"/>
                  </a:lnTo>
                  <a:lnTo>
                    <a:pt x="646" y="2878"/>
                  </a:lnTo>
                  <a:lnTo>
                    <a:pt x="648" y="2868"/>
                  </a:lnTo>
                  <a:lnTo>
                    <a:pt x="644" y="2856"/>
                  </a:lnTo>
                  <a:lnTo>
                    <a:pt x="644" y="2850"/>
                  </a:lnTo>
                  <a:lnTo>
                    <a:pt x="644" y="2844"/>
                  </a:lnTo>
                  <a:lnTo>
                    <a:pt x="646" y="2836"/>
                  </a:lnTo>
                  <a:lnTo>
                    <a:pt x="648" y="2830"/>
                  </a:lnTo>
                  <a:lnTo>
                    <a:pt x="652" y="2822"/>
                  </a:lnTo>
                  <a:lnTo>
                    <a:pt x="660" y="2816"/>
                  </a:lnTo>
                  <a:lnTo>
                    <a:pt x="668" y="2810"/>
                  </a:lnTo>
                  <a:lnTo>
                    <a:pt x="678" y="2806"/>
                  </a:lnTo>
                  <a:lnTo>
                    <a:pt x="684" y="2802"/>
                  </a:lnTo>
                  <a:lnTo>
                    <a:pt x="682" y="2800"/>
                  </a:lnTo>
                  <a:lnTo>
                    <a:pt x="674" y="2798"/>
                  </a:lnTo>
                  <a:lnTo>
                    <a:pt x="662" y="2794"/>
                  </a:lnTo>
                  <a:lnTo>
                    <a:pt x="658" y="2790"/>
                  </a:lnTo>
                  <a:lnTo>
                    <a:pt x="658" y="2786"/>
                  </a:lnTo>
                  <a:lnTo>
                    <a:pt x="660" y="2782"/>
                  </a:lnTo>
                  <a:lnTo>
                    <a:pt x="664" y="2780"/>
                  </a:lnTo>
                  <a:lnTo>
                    <a:pt x="670" y="2780"/>
                  </a:lnTo>
                  <a:lnTo>
                    <a:pt x="676" y="2780"/>
                  </a:lnTo>
                  <a:lnTo>
                    <a:pt x="682" y="2782"/>
                  </a:lnTo>
                  <a:lnTo>
                    <a:pt x="686" y="2788"/>
                  </a:lnTo>
                  <a:lnTo>
                    <a:pt x="690" y="2792"/>
                  </a:lnTo>
                  <a:lnTo>
                    <a:pt x="692" y="2796"/>
                  </a:lnTo>
                  <a:lnTo>
                    <a:pt x="696" y="2798"/>
                  </a:lnTo>
                  <a:lnTo>
                    <a:pt x="700" y="2798"/>
                  </a:lnTo>
                  <a:lnTo>
                    <a:pt x="704" y="2796"/>
                  </a:lnTo>
                  <a:lnTo>
                    <a:pt x="708" y="2792"/>
                  </a:lnTo>
                  <a:lnTo>
                    <a:pt x="712" y="2786"/>
                  </a:lnTo>
                  <a:lnTo>
                    <a:pt x="714" y="2778"/>
                  </a:lnTo>
                  <a:lnTo>
                    <a:pt x="716" y="2770"/>
                  </a:lnTo>
                  <a:lnTo>
                    <a:pt x="714" y="2762"/>
                  </a:lnTo>
                  <a:lnTo>
                    <a:pt x="708" y="2754"/>
                  </a:lnTo>
                  <a:lnTo>
                    <a:pt x="706" y="2752"/>
                  </a:lnTo>
                  <a:lnTo>
                    <a:pt x="702" y="2752"/>
                  </a:lnTo>
                  <a:lnTo>
                    <a:pt x="678" y="2758"/>
                  </a:lnTo>
                  <a:lnTo>
                    <a:pt x="670" y="2760"/>
                  </a:lnTo>
                  <a:lnTo>
                    <a:pt x="662" y="2758"/>
                  </a:lnTo>
                  <a:lnTo>
                    <a:pt x="658" y="2756"/>
                  </a:lnTo>
                  <a:lnTo>
                    <a:pt x="656" y="2750"/>
                  </a:lnTo>
                  <a:lnTo>
                    <a:pt x="654" y="2744"/>
                  </a:lnTo>
                  <a:lnTo>
                    <a:pt x="656" y="2734"/>
                  </a:lnTo>
                  <a:lnTo>
                    <a:pt x="656" y="2726"/>
                  </a:lnTo>
                  <a:lnTo>
                    <a:pt x="654" y="2716"/>
                  </a:lnTo>
                  <a:lnTo>
                    <a:pt x="650" y="2700"/>
                  </a:lnTo>
                  <a:lnTo>
                    <a:pt x="648" y="2694"/>
                  </a:lnTo>
                  <a:lnTo>
                    <a:pt x="646" y="2690"/>
                  </a:lnTo>
                  <a:lnTo>
                    <a:pt x="648" y="2684"/>
                  </a:lnTo>
                  <a:lnTo>
                    <a:pt x="654" y="2682"/>
                  </a:lnTo>
                  <a:lnTo>
                    <a:pt x="662" y="2680"/>
                  </a:lnTo>
                  <a:lnTo>
                    <a:pt x="668" y="2682"/>
                  </a:lnTo>
                  <a:lnTo>
                    <a:pt x="684" y="2688"/>
                  </a:lnTo>
                  <a:lnTo>
                    <a:pt x="700" y="2696"/>
                  </a:lnTo>
                  <a:lnTo>
                    <a:pt x="708" y="2698"/>
                  </a:lnTo>
                  <a:lnTo>
                    <a:pt x="714" y="2700"/>
                  </a:lnTo>
                  <a:lnTo>
                    <a:pt x="724" y="2700"/>
                  </a:lnTo>
                  <a:lnTo>
                    <a:pt x="728" y="2700"/>
                  </a:lnTo>
                  <a:lnTo>
                    <a:pt x="734" y="2700"/>
                  </a:lnTo>
                  <a:lnTo>
                    <a:pt x="748" y="2694"/>
                  </a:lnTo>
                  <a:lnTo>
                    <a:pt x="762" y="2684"/>
                  </a:lnTo>
                  <a:lnTo>
                    <a:pt x="768" y="2680"/>
                  </a:lnTo>
                  <a:lnTo>
                    <a:pt x="770" y="2676"/>
                  </a:lnTo>
                  <a:lnTo>
                    <a:pt x="770" y="2672"/>
                  </a:lnTo>
                  <a:lnTo>
                    <a:pt x="770" y="2670"/>
                  </a:lnTo>
                  <a:lnTo>
                    <a:pt x="764" y="2664"/>
                  </a:lnTo>
                  <a:lnTo>
                    <a:pt x="762" y="2660"/>
                  </a:lnTo>
                  <a:lnTo>
                    <a:pt x="760" y="2658"/>
                  </a:lnTo>
                  <a:lnTo>
                    <a:pt x="758" y="2650"/>
                  </a:lnTo>
                  <a:lnTo>
                    <a:pt x="762" y="2642"/>
                  </a:lnTo>
                  <a:lnTo>
                    <a:pt x="770" y="2632"/>
                  </a:lnTo>
                  <a:lnTo>
                    <a:pt x="776" y="2622"/>
                  </a:lnTo>
                  <a:lnTo>
                    <a:pt x="778" y="2612"/>
                  </a:lnTo>
                  <a:lnTo>
                    <a:pt x="776" y="2602"/>
                  </a:lnTo>
                  <a:lnTo>
                    <a:pt x="772" y="2598"/>
                  </a:lnTo>
                  <a:lnTo>
                    <a:pt x="770" y="2596"/>
                  </a:lnTo>
                  <a:lnTo>
                    <a:pt x="766" y="2592"/>
                  </a:lnTo>
                  <a:lnTo>
                    <a:pt x="762" y="2588"/>
                  </a:lnTo>
                  <a:lnTo>
                    <a:pt x="760" y="2578"/>
                  </a:lnTo>
                  <a:lnTo>
                    <a:pt x="760" y="2574"/>
                  </a:lnTo>
                  <a:lnTo>
                    <a:pt x="762" y="2572"/>
                  </a:lnTo>
                  <a:lnTo>
                    <a:pt x="768" y="2572"/>
                  </a:lnTo>
                  <a:lnTo>
                    <a:pt x="774" y="2576"/>
                  </a:lnTo>
                  <a:lnTo>
                    <a:pt x="784" y="2582"/>
                  </a:lnTo>
                  <a:lnTo>
                    <a:pt x="792" y="2582"/>
                  </a:lnTo>
                  <a:lnTo>
                    <a:pt x="824" y="2578"/>
                  </a:lnTo>
                  <a:lnTo>
                    <a:pt x="856" y="2574"/>
                  </a:lnTo>
                  <a:lnTo>
                    <a:pt x="890" y="2566"/>
                  </a:lnTo>
                  <a:lnTo>
                    <a:pt x="920" y="2556"/>
                  </a:lnTo>
                  <a:lnTo>
                    <a:pt x="934" y="2550"/>
                  </a:lnTo>
                  <a:lnTo>
                    <a:pt x="944" y="2544"/>
                  </a:lnTo>
                  <a:lnTo>
                    <a:pt x="952" y="2538"/>
                  </a:lnTo>
                  <a:lnTo>
                    <a:pt x="956" y="2534"/>
                  </a:lnTo>
                  <a:lnTo>
                    <a:pt x="958" y="2528"/>
                  </a:lnTo>
                  <a:lnTo>
                    <a:pt x="960" y="2524"/>
                  </a:lnTo>
                  <a:lnTo>
                    <a:pt x="962" y="2516"/>
                  </a:lnTo>
                  <a:lnTo>
                    <a:pt x="966" y="2510"/>
                  </a:lnTo>
                  <a:lnTo>
                    <a:pt x="970" y="2504"/>
                  </a:lnTo>
                  <a:lnTo>
                    <a:pt x="980" y="2492"/>
                  </a:lnTo>
                  <a:lnTo>
                    <a:pt x="986" y="2478"/>
                  </a:lnTo>
                  <a:lnTo>
                    <a:pt x="990" y="2464"/>
                  </a:lnTo>
                  <a:lnTo>
                    <a:pt x="990" y="2444"/>
                  </a:lnTo>
                  <a:lnTo>
                    <a:pt x="990" y="2436"/>
                  </a:lnTo>
                  <a:lnTo>
                    <a:pt x="990" y="2432"/>
                  </a:lnTo>
                  <a:lnTo>
                    <a:pt x="986" y="2432"/>
                  </a:lnTo>
                  <a:lnTo>
                    <a:pt x="984" y="2432"/>
                  </a:lnTo>
                  <a:lnTo>
                    <a:pt x="980" y="2432"/>
                  </a:lnTo>
                  <a:lnTo>
                    <a:pt x="976" y="2432"/>
                  </a:lnTo>
                  <a:lnTo>
                    <a:pt x="970" y="2428"/>
                  </a:lnTo>
                  <a:lnTo>
                    <a:pt x="964" y="2420"/>
                  </a:lnTo>
                  <a:lnTo>
                    <a:pt x="962" y="2410"/>
                  </a:lnTo>
                  <a:lnTo>
                    <a:pt x="962" y="2404"/>
                  </a:lnTo>
                  <a:lnTo>
                    <a:pt x="964" y="2400"/>
                  </a:lnTo>
                  <a:lnTo>
                    <a:pt x="968" y="2396"/>
                  </a:lnTo>
                  <a:lnTo>
                    <a:pt x="970" y="2392"/>
                  </a:lnTo>
                  <a:lnTo>
                    <a:pt x="970" y="2388"/>
                  </a:lnTo>
                  <a:lnTo>
                    <a:pt x="968" y="2380"/>
                  </a:lnTo>
                  <a:lnTo>
                    <a:pt x="962" y="2368"/>
                  </a:lnTo>
                  <a:lnTo>
                    <a:pt x="954" y="2360"/>
                  </a:lnTo>
                  <a:lnTo>
                    <a:pt x="946" y="2354"/>
                  </a:lnTo>
                  <a:lnTo>
                    <a:pt x="928" y="2344"/>
                  </a:lnTo>
                  <a:lnTo>
                    <a:pt x="922" y="2338"/>
                  </a:lnTo>
                  <a:lnTo>
                    <a:pt x="918" y="2332"/>
                  </a:lnTo>
                  <a:lnTo>
                    <a:pt x="918" y="2330"/>
                  </a:lnTo>
                  <a:lnTo>
                    <a:pt x="920" y="2326"/>
                  </a:lnTo>
                  <a:lnTo>
                    <a:pt x="926" y="2316"/>
                  </a:lnTo>
                  <a:lnTo>
                    <a:pt x="928" y="2320"/>
                  </a:lnTo>
                  <a:lnTo>
                    <a:pt x="934" y="2326"/>
                  </a:lnTo>
                  <a:lnTo>
                    <a:pt x="946" y="2332"/>
                  </a:lnTo>
                  <a:lnTo>
                    <a:pt x="952" y="2334"/>
                  </a:lnTo>
                  <a:lnTo>
                    <a:pt x="958" y="2334"/>
                  </a:lnTo>
                  <a:lnTo>
                    <a:pt x="966" y="2336"/>
                  </a:lnTo>
                  <a:lnTo>
                    <a:pt x="976" y="2338"/>
                  </a:lnTo>
                  <a:lnTo>
                    <a:pt x="992" y="2348"/>
                  </a:lnTo>
                  <a:lnTo>
                    <a:pt x="1002" y="2352"/>
                  </a:lnTo>
                  <a:lnTo>
                    <a:pt x="1010" y="2356"/>
                  </a:lnTo>
                  <a:lnTo>
                    <a:pt x="1018" y="2358"/>
                  </a:lnTo>
                  <a:lnTo>
                    <a:pt x="1026" y="2356"/>
                  </a:lnTo>
                  <a:lnTo>
                    <a:pt x="1032" y="2354"/>
                  </a:lnTo>
                  <a:lnTo>
                    <a:pt x="1038" y="2352"/>
                  </a:lnTo>
                  <a:lnTo>
                    <a:pt x="1050" y="2356"/>
                  </a:lnTo>
                  <a:lnTo>
                    <a:pt x="1056" y="2358"/>
                  </a:lnTo>
                  <a:lnTo>
                    <a:pt x="1062" y="2358"/>
                  </a:lnTo>
                  <a:lnTo>
                    <a:pt x="1068" y="2358"/>
                  </a:lnTo>
                  <a:lnTo>
                    <a:pt x="1076" y="2354"/>
                  </a:lnTo>
                  <a:lnTo>
                    <a:pt x="1090" y="2344"/>
                  </a:lnTo>
                  <a:lnTo>
                    <a:pt x="1100" y="2334"/>
                  </a:lnTo>
                  <a:lnTo>
                    <a:pt x="1110" y="2320"/>
                  </a:lnTo>
                  <a:lnTo>
                    <a:pt x="1122" y="2300"/>
                  </a:lnTo>
                  <a:lnTo>
                    <a:pt x="1120" y="2294"/>
                  </a:lnTo>
                  <a:lnTo>
                    <a:pt x="1124" y="2288"/>
                  </a:lnTo>
                  <a:lnTo>
                    <a:pt x="1130" y="2282"/>
                  </a:lnTo>
                  <a:lnTo>
                    <a:pt x="1140" y="2276"/>
                  </a:lnTo>
                  <a:lnTo>
                    <a:pt x="1150" y="2270"/>
                  </a:lnTo>
                  <a:lnTo>
                    <a:pt x="1154" y="2264"/>
                  </a:lnTo>
                  <a:lnTo>
                    <a:pt x="1158" y="2256"/>
                  </a:lnTo>
                  <a:lnTo>
                    <a:pt x="1166" y="2232"/>
                  </a:lnTo>
                  <a:lnTo>
                    <a:pt x="1170" y="2224"/>
                  </a:lnTo>
                  <a:lnTo>
                    <a:pt x="1174" y="2218"/>
                  </a:lnTo>
                  <a:lnTo>
                    <a:pt x="1188" y="2204"/>
                  </a:lnTo>
                  <a:lnTo>
                    <a:pt x="1210" y="2184"/>
                  </a:lnTo>
                  <a:lnTo>
                    <a:pt x="1220" y="2174"/>
                  </a:lnTo>
                  <a:lnTo>
                    <a:pt x="1228" y="2164"/>
                  </a:lnTo>
                  <a:lnTo>
                    <a:pt x="1240" y="2140"/>
                  </a:lnTo>
                  <a:lnTo>
                    <a:pt x="1254" y="2110"/>
                  </a:lnTo>
                  <a:lnTo>
                    <a:pt x="1270" y="2074"/>
                  </a:lnTo>
                  <a:lnTo>
                    <a:pt x="1278" y="2058"/>
                  </a:lnTo>
                  <a:lnTo>
                    <a:pt x="1284" y="2048"/>
                  </a:lnTo>
                  <a:lnTo>
                    <a:pt x="1290" y="2042"/>
                  </a:lnTo>
                  <a:lnTo>
                    <a:pt x="1294" y="2038"/>
                  </a:lnTo>
                  <a:lnTo>
                    <a:pt x="1304" y="2030"/>
                  </a:lnTo>
                  <a:lnTo>
                    <a:pt x="1308" y="2022"/>
                  </a:lnTo>
                  <a:lnTo>
                    <a:pt x="1314" y="2012"/>
                  </a:lnTo>
                  <a:lnTo>
                    <a:pt x="1320" y="1998"/>
                  </a:lnTo>
                  <a:lnTo>
                    <a:pt x="1322" y="1984"/>
                  </a:lnTo>
                  <a:lnTo>
                    <a:pt x="1322" y="1970"/>
                  </a:lnTo>
                  <a:lnTo>
                    <a:pt x="1322" y="1956"/>
                  </a:lnTo>
                  <a:lnTo>
                    <a:pt x="1322" y="1926"/>
                  </a:lnTo>
                  <a:lnTo>
                    <a:pt x="1320" y="1910"/>
                  </a:lnTo>
                  <a:lnTo>
                    <a:pt x="1322" y="1894"/>
                  </a:lnTo>
                  <a:lnTo>
                    <a:pt x="1324" y="1878"/>
                  </a:lnTo>
                  <a:lnTo>
                    <a:pt x="1332" y="1862"/>
                  </a:lnTo>
                  <a:lnTo>
                    <a:pt x="1340" y="1848"/>
                  </a:lnTo>
                  <a:lnTo>
                    <a:pt x="1352" y="1836"/>
                  </a:lnTo>
                  <a:lnTo>
                    <a:pt x="1364" y="1824"/>
                  </a:lnTo>
                  <a:lnTo>
                    <a:pt x="1376" y="1816"/>
                  </a:lnTo>
                  <a:lnTo>
                    <a:pt x="1388" y="1808"/>
                  </a:lnTo>
                  <a:lnTo>
                    <a:pt x="1398" y="1802"/>
                  </a:lnTo>
                  <a:lnTo>
                    <a:pt x="1422" y="1792"/>
                  </a:lnTo>
                  <a:lnTo>
                    <a:pt x="1438" y="1782"/>
                  </a:lnTo>
                  <a:lnTo>
                    <a:pt x="1452" y="1772"/>
                  </a:lnTo>
                  <a:lnTo>
                    <a:pt x="1462" y="1764"/>
                  </a:lnTo>
                  <a:lnTo>
                    <a:pt x="1476" y="1750"/>
                  </a:lnTo>
                  <a:lnTo>
                    <a:pt x="1482" y="1744"/>
                  </a:lnTo>
                  <a:lnTo>
                    <a:pt x="1490" y="1740"/>
                  </a:lnTo>
                  <a:lnTo>
                    <a:pt x="1498" y="1738"/>
                  </a:lnTo>
                  <a:lnTo>
                    <a:pt x="1502" y="1738"/>
                  </a:lnTo>
                  <a:lnTo>
                    <a:pt x="1506" y="1740"/>
                  </a:lnTo>
                  <a:lnTo>
                    <a:pt x="1508" y="1742"/>
                  </a:lnTo>
                  <a:lnTo>
                    <a:pt x="1514" y="1742"/>
                  </a:lnTo>
                  <a:lnTo>
                    <a:pt x="1520" y="1742"/>
                  </a:lnTo>
                  <a:lnTo>
                    <a:pt x="1530" y="1740"/>
                  </a:lnTo>
                  <a:lnTo>
                    <a:pt x="1544" y="1738"/>
                  </a:lnTo>
                  <a:lnTo>
                    <a:pt x="1556" y="1738"/>
                  </a:lnTo>
                  <a:lnTo>
                    <a:pt x="1576" y="1738"/>
                  </a:lnTo>
                  <a:lnTo>
                    <a:pt x="1584" y="1738"/>
                  </a:lnTo>
                  <a:lnTo>
                    <a:pt x="1588" y="1736"/>
                  </a:lnTo>
                  <a:lnTo>
                    <a:pt x="1592" y="1734"/>
                  </a:lnTo>
                  <a:lnTo>
                    <a:pt x="1590" y="1728"/>
                  </a:lnTo>
                  <a:lnTo>
                    <a:pt x="1590" y="1724"/>
                  </a:lnTo>
                  <a:lnTo>
                    <a:pt x="1590" y="1722"/>
                  </a:lnTo>
                  <a:lnTo>
                    <a:pt x="1594" y="1716"/>
                  </a:lnTo>
                  <a:lnTo>
                    <a:pt x="1608" y="1702"/>
                  </a:lnTo>
                  <a:lnTo>
                    <a:pt x="1616" y="1696"/>
                  </a:lnTo>
                  <a:lnTo>
                    <a:pt x="1622" y="1690"/>
                  </a:lnTo>
                  <a:lnTo>
                    <a:pt x="1626" y="1682"/>
                  </a:lnTo>
                  <a:lnTo>
                    <a:pt x="1626" y="1676"/>
                  </a:lnTo>
                  <a:lnTo>
                    <a:pt x="1624" y="1672"/>
                  </a:lnTo>
                  <a:lnTo>
                    <a:pt x="1622" y="1662"/>
                  </a:lnTo>
                  <a:lnTo>
                    <a:pt x="1624" y="1654"/>
                  </a:lnTo>
                  <a:lnTo>
                    <a:pt x="1628" y="1644"/>
                  </a:lnTo>
                  <a:lnTo>
                    <a:pt x="1634" y="1634"/>
                  </a:lnTo>
                  <a:lnTo>
                    <a:pt x="1650" y="1610"/>
                  </a:lnTo>
                  <a:lnTo>
                    <a:pt x="1668" y="1580"/>
                  </a:lnTo>
                  <a:lnTo>
                    <a:pt x="1674" y="1564"/>
                  </a:lnTo>
                  <a:lnTo>
                    <a:pt x="1678" y="1550"/>
                  </a:lnTo>
                  <a:lnTo>
                    <a:pt x="1678" y="1536"/>
                  </a:lnTo>
                  <a:lnTo>
                    <a:pt x="1678" y="1524"/>
                  </a:lnTo>
                  <a:lnTo>
                    <a:pt x="1678" y="1514"/>
                  </a:lnTo>
                  <a:lnTo>
                    <a:pt x="1680" y="1506"/>
                  </a:lnTo>
                  <a:lnTo>
                    <a:pt x="1682" y="1498"/>
                  </a:lnTo>
                  <a:lnTo>
                    <a:pt x="1688" y="1494"/>
                  </a:lnTo>
                  <a:lnTo>
                    <a:pt x="1694" y="1488"/>
                  </a:lnTo>
                  <a:lnTo>
                    <a:pt x="1698" y="1480"/>
                  </a:lnTo>
                  <a:lnTo>
                    <a:pt x="1698" y="1470"/>
                  </a:lnTo>
                  <a:lnTo>
                    <a:pt x="1700" y="1460"/>
                  </a:lnTo>
                  <a:lnTo>
                    <a:pt x="1700" y="1434"/>
                  </a:lnTo>
                  <a:lnTo>
                    <a:pt x="1702" y="1418"/>
                  </a:lnTo>
                  <a:lnTo>
                    <a:pt x="1704" y="1404"/>
                  </a:lnTo>
                  <a:lnTo>
                    <a:pt x="1708" y="1390"/>
                  </a:lnTo>
                  <a:lnTo>
                    <a:pt x="1708" y="1378"/>
                  </a:lnTo>
                  <a:lnTo>
                    <a:pt x="1708" y="1368"/>
                  </a:lnTo>
                  <a:lnTo>
                    <a:pt x="1706" y="1360"/>
                  </a:lnTo>
                  <a:lnTo>
                    <a:pt x="1702" y="1342"/>
                  </a:lnTo>
                  <a:lnTo>
                    <a:pt x="1702" y="1334"/>
                  </a:lnTo>
                  <a:lnTo>
                    <a:pt x="1702" y="1324"/>
                  </a:lnTo>
                  <a:lnTo>
                    <a:pt x="1706" y="1252"/>
                  </a:lnTo>
                  <a:lnTo>
                    <a:pt x="1708" y="1234"/>
                  </a:lnTo>
                  <a:lnTo>
                    <a:pt x="1710" y="1224"/>
                  </a:lnTo>
                  <a:lnTo>
                    <a:pt x="1712" y="1220"/>
                  </a:lnTo>
                  <a:lnTo>
                    <a:pt x="1714" y="1220"/>
                  </a:lnTo>
                  <a:lnTo>
                    <a:pt x="1718" y="1222"/>
                  </a:lnTo>
                  <a:lnTo>
                    <a:pt x="1720" y="1226"/>
                  </a:lnTo>
                  <a:lnTo>
                    <a:pt x="1726" y="1234"/>
                  </a:lnTo>
                  <a:lnTo>
                    <a:pt x="1730" y="1238"/>
                  </a:lnTo>
                  <a:lnTo>
                    <a:pt x="1736" y="1238"/>
                  </a:lnTo>
                  <a:lnTo>
                    <a:pt x="1740" y="1234"/>
                  </a:lnTo>
                  <a:lnTo>
                    <a:pt x="1746" y="1224"/>
                  </a:lnTo>
                  <a:lnTo>
                    <a:pt x="1752" y="1212"/>
                  </a:lnTo>
                  <a:lnTo>
                    <a:pt x="1766" y="1176"/>
                  </a:lnTo>
                  <a:lnTo>
                    <a:pt x="1774" y="1158"/>
                  </a:lnTo>
                  <a:lnTo>
                    <a:pt x="1780" y="1146"/>
                  </a:lnTo>
                  <a:lnTo>
                    <a:pt x="1788" y="1136"/>
                  </a:lnTo>
                  <a:lnTo>
                    <a:pt x="1794" y="1128"/>
                  </a:lnTo>
                  <a:lnTo>
                    <a:pt x="1810" y="1112"/>
                  </a:lnTo>
                  <a:lnTo>
                    <a:pt x="1820" y="1100"/>
                  </a:lnTo>
                  <a:lnTo>
                    <a:pt x="1830" y="1082"/>
                  </a:lnTo>
                  <a:lnTo>
                    <a:pt x="1852" y="1044"/>
                  </a:lnTo>
                  <a:lnTo>
                    <a:pt x="1860" y="1030"/>
                  </a:lnTo>
                  <a:lnTo>
                    <a:pt x="1866" y="1016"/>
                  </a:lnTo>
                  <a:lnTo>
                    <a:pt x="1872" y="1002"/>
                  </a:lnTo>
                  <a:lnTo>
                    <a:pt x="1874" y="988"/>
                  </a:lnTo>
                  <a:lnTo>
                    <a:pt x="1874" y="972"/>
                  </a:lnTo>
                  <a:lnTo>
                    <a:pt x="1872" y="956"/>
                  </a:lnTo>
                  <a:close/>
                  <a:moveTo>
                    <a:pt x="1128" y="2234"/>
                  </a:moveTo>
                  <a:lnTo>
                    <a:pt x="1128" y="2234"/>
                  </a:lnTo>
                  <a:lnTo>
                    <a:pt x="1132" y="2242"/>
                  </a:lnTo>
                  <a:lnTo>
                    <a:pt x="1128" y="2234"/>
                  </a:lnTo>
                  <a:close/>
                  <a:moveTo>
                    <a:pt x="698" y="3490"/>
                  </a:moveTo>
                  <a:lnTo>
                    <a:pt x="698" y="3490"/>
                  </a:lnTo>
                  <a:lnTo>
                    <a:pt x="692" y="3492"/>
                  </a:lnTo>
                  <a:lnTo>
                    <a:pt x="688" y="3490"/>
                  </a:lnTo>
                  <a:lnTo>
                    <a:pt x="684" y="3490"/>
                  </a:lnTo>
                  <a:lnTo>
                    <a:pt x="678" y="3492"/>
                  </a:lnTo>
                  <a:lnTo>
                    <a:pt x="670" y="3496"/>
                  </a:lnTo>
                  <a:lnTo>
                    <a:pt x="666" y="3498"/>
                  </a:lnTo>
                  <a:lnTo>
                    <a:pt x="670" y="3500"/>
                  </a:lnTo>
                  <a:lnTo>
                    <a:pt x="672" y="3500"/>
                  </a:lnTo>
                  <a:lnTo>
                    <a:pt x="678" y="3498"/>
                  </a:lnTo>
                  <a:lnTo>
                    <a:pt x="682" y="3494"/>
                  </a:lnTo>
                  <a:lnTo>
                    <a:pt x="684" y="3496"/>
                  </a:lnTo>
                  <a:lnTo>
                    <a:pt x="686" y="3498"/>
                  </a:lnTo>
                  <a:lnTo>
                    <a:pt x="690" y="3496"/>
                  </a:lnTo>
                  <a:lnTo>
                    <a:pt x="694" y="3496"/>
                  </a:lnTo>
                  <a:lnTo>
                    <a:pt x="696" y="3496"/>
                  </a:lnTo>
                  <a:lnTo>
                    <a:pt x="700" y="3496"/>
                  </a:lnTo>
                  <a:lnTo>
                    <a:pt x="702" y="3494"/>
                  </a:lnTo>
                  <a:lnTo>
                    <a:pt x="704" y="3492"/>
                  </a:lnTo>
                  <a:lnTo>
                    <a:pt x="702" y="3490"/>
                  </a:lnTo>
                  <a:lnTo>
                    <a:pt x="698" y="3490"/>
                  </a:lnTo>
                  <a:close/>
                  <a:moveTo>
                    <a:pt x="294" y="3084"/>
                  </a:moveTo>
                  <a:lnTo>
                    <a:pt x="294" y="3084"/>
                  </a:lnTo>
                  <a:lnTo>
                    <a:pt x="298" y="3086"/>
                  </a:lnTo>
                  <a:lnTo>
                    <a:pt x="300" y="3084"/>
                  </a:lnTo>
                  <a:lnTo>
                    <a:pt x="300" y="3082"/>
                  </a:lnTo>
                  <a:lnTo>
                    <a:pt x="298" y="3080"/>
                  </a:lnTo>
                  <a:lnTo>
                    <a:pt x="292" y="3078"/>
                  </a:lnTo>
                  <a:lnTo>
                    <a:pt x="286" y="3078"/>
                  </a:lnTo>
                  <a:lnTo>
                    <a:pt x="282" y="3078"/>
                  </a:lnTo>
                  <a:lnTo>
                    <a:pt x="276" y="3080"/>
                  </a:lnTo>
                  <a:lnTo>
                    <a:pt x="274" y="3082"/>
                  </a:lnTo>
                  <a:lnTo>
                    <a:pt x="274" y="3084"/>
                  </a:lnTo>
                  <a:lnTo>
                    <a:pt x="280" y="3084"/>
                  </a:lnTo>
                  <a:lnTo>
                    <a:pt x="288" y="3084"/>
                  </a:lnTo>
                  <a:lnTo>
                    <a:pt x="294" y="3084"/>
                  </a:lnTo>
                  <a:close/>
                  <a:moveTo>
                    <a:pt x="338" y="3318"/>
                  </a:moveTo>
                  <a:lnTo>
                    <a:pt x="338" y="3318"/>
                  </a:lnTo>
                  <a:lnTo>
                    <a:pt x="330" y="3322"/>
                  </a:lnTo>
                  <a:lnTo>
                    <a:pt x="328" y="3324"/>
                  </a:lnTo>
                  <a:lnTo>
                    <a:pt x="330" y="3326"/>
                  </a:lnTo>
                  <a:lnTo>
                    <a:pt x="334" y="3326"/>
                  </a:lnTo>
                  <a:lnTo>
                    <a:pt x="338" y="3322"/>
                  </a:lnTo>
                  <a:lnTo>
                    <a:pt x="338" y="3318"/>
                  </a:lnTo>
                  <a:close/>
                  <a:moveTo>
                    <a:pt x="292" y="3034"/>
                  </a:moveTo>
                  <a:lnTo>
                    <a:pt x="292" y="3034"/>
                  </a:lnTo>
                  <a:lnTo>
                    <a:pt x="290" y="3032"/>
                  </a:lnTo>
                  <a:lnTo>
                    <a:pt x="288" y="3030"/>
                  </a:lnTo>
                  <a:lnTo>
                    <a:pt x="284" y="3030"/>
                  </a:lnTo>
                  <a:lnTo>
                    <a:pt x="282" y="3034"/>
                  </a:lnTo>
                  <a:lnTo>
                    <a:pt x="284" y="3036"/>
                  </a:lnTo>
                  <a:lnTo>
                    <a:pt x="286" y="3038"/>
                  </a:lnTo>
                  <a:lnTo>
                    <a:pt x="290" y="3036"/>
                  </a:lnTo>
                  <a:lnTo>
                    <a:pt x="292" y="3034"/>
                  </a:lnTo>
                  <a:close/>
                  <a:moveTo>
                    <a:pt x="420" y="3442"/>
                  </a:moveTo>
                  <a:lnTo>
                    <a:pt x="420" y="3442"/>
                  </a:lnTo>
                  <a:lnTo>
                    <a:pt x="420" y="3446"/>
                  </a:lnTo>
                  <a:lnTo>
                    <a:pt x="424" y="3452"/>
                  </a:lnTo>
                  <a:lnTo>
                    <a:pt x="440" y="3462"/>
                  </a:lnTo>
                  <a:lnTo>
                    <a:pt x="444" y="3464"/>
                  </a:lnTo>
                  <a:lnTo>
                    <a:pt x="444" y="3462"/>
                  </a:lnTo>
                  <a:lnTo>
                    <a:pt x="442" y="3458"/>
                  </a:lnTo>
                  <a:lnTo>
                    <a:pt x="438" y="3454"/>
                  </a:lnTo>
                  <a:lnTo>
                    <a:pt x="430" y="3446"/>
                  </a:lnTo>
                  <a:lnTo>
                    <a:pt x="434" y="3448"/>
                  </a:lnTo>
                  <a:lnTo>
                    <a:pt x="438" y="3450"/>
                  </a:lnTo>
                  <a:lnTo>
                    <a:pt x="442" y="3450"/>
                  </a:lnTo>
                  <a:lnTo>
                    <a:pt x="442" y="3448"/>
                  </a:lnTo>
                  <a:lnTo>
                    <a:pt x="440" y="3444"/>
                  </a:lnTo>
                  <a:lnTo>
                    <a:pt x="436" y="3438"/>
                  </a:lnTo>
                  <a:lnTo>
                    <a:pt x="434" y="3432"/>
                  </a:lnTo>
                  <a:lnTo>
                    <a:pt x="434" y="3420"/>
                  </a:lnTo>
                  <a:lnTo>
                    <a:pt x="434" y="3418"/>
                  </a:lnTo>
                  <a:lnTo>
                    <a:pt x="434" y="3420"/>
                  </a:lnTo>
                  <a:lnTo>
                    <a:pt x="430" y="3422"/>
                  </a:lnTo>
                  <a:lnTo>
                    <a:pt x="426" y="3428"/>
                  </a:lnTo>
                  <a:lnTo>
                    <a:pt x="426" y="3432"/>
                  </a:lnTo>
                  <a:lnTo>
                    <a:pt x="426" y="3436"/>
                  </a:lnTo>
                  <a:lnTo>
                    <a:pt x="424" y="3436"/>
                  </a:lnTo>
                  <a:lnTo>
                    <a:pt x="422" y="3436"/>
                  </a:lnTo>
                  <a:lnTo>
                    <a:pt x="420" y="3442"/>
                  </a:lnTo>
                  <a:close/>
                  <a:moveTo>
                    <a:pt x="272" y="3186"/>
                  </a:moveTo>
                  <a:lnTo>
                    <a:pt x="272" y="3186"/>
                  </a:lnTo>
                  <a:lnTo>
                    <a:pt x="270" y="3186"/>
                  </a:lnTo>
                  <a:lnTo>
                    <a:pt x="272" y="3180"/>
                  </a:lnTo>
                  <a:lnTo>
                    <a:pt x="274" y="3174"/>
                  </a:lnTo>
                  <a:lnTo>
                    <a:pt x="274" y="3168"/>
                  </a:lnTo>
                  <a:lnTo>
                    <a:pt x="274" y="3150"/>
                  </a:lnTo>
                  <a:lnTo>
                    <a:pt x="272" y="3136"/>
                  </a:lnTo>
                  <a:lnTo>
                    <a:pt x="272" y="3132"/>
                  </a:lnTo>
                  <a:lnTo>
                    <a:pt x="270" y="3132"/>
                  </a:lnTo>
                  <a:lnTo>
                    <a:pt x="266" y="3132"/>
                  </a:lnTo>
                  <a:lnTo>
                    <a:pt x="264" y="3130"/>
                  </a:lnTo>
                  <a:lnTo>
                    <a:pt x="262" y="3130"/>
                  </a:lnTo>
                  <a:lnTo>
                    <a:pt x="258" y="3132"/>
                  </a:lnTo>
                  <a:lnTo>
                    <a:pt x="252" y="3136"/>
                  </a:lnTo>
                  <a:lnTo>
                    <a:pt x="250" y="3138"/>
                  </a:lnTo>
                  <a:lnTo>
                    <a:pt x="252" y="3140"/>
                  </a:lnTo>
                  <a:lnTo>
                    <a:pt x="254" y="3142"/>
                  </a:lnTo>
                  <a:lnTo>
                    <a:pt x="254" y="3144"/>
                  </a:lnTo>
                  <a:lnTo>
                    <a:pt x="254" y="3146"/>
                  </a:lnTo>
                  <a:lnTo>
                    <a:pt x="256" y="3148"/>
                  </a:lnTo>
                  <a:lnTo>
                    <a:pt x="258" y="3150"/>
                  </a:lnTo>
                  <a:lnTo>
                    <a:pt x="260" y="3154"/>
                  </a:lnTo>
                  <a:lnTo>
                    <a:pt x="258" y="3164"/>
                  </a:lnTo>
                  <a:lnTo>
                    <a:pt x="256" y="3166"/>
                  </a:lnTo>
                  <a:lnTo>
                    <a:pt x="252" y="3164"/>
                  </a:lnTo>
                  <a:lnTo>
                    <a:pt x="250" y="3162"/>
                  </a:lnTo>
                  <a:lnTo>
                    <a:pt x="246" y="3162"/>
                  </a:lnTo>
                  <a:lnTo>
                    <a:pt x="244" y="3164"/>
                  </a:lnTo>
                  <a:lnTo>
                    <a:pt x="242" y="3162"/>
                  </a:lnTo>
                  <a:lnTo>
                    <a:pt x="238" y="3162"/>
                  </a:lnTo>
                  <a:lnTo>
                    <a:pt x="236" y="3164"/>
                  </a:lnTo>
                  <a:lnTo>
                    <a:pt x="234" y="3168"/>
                  </a:lnTo>
                  <a:lnTo>
                    <a:pt x="236" y="3172"/>
                  </a:lnTo>
                  <a:lnTo>
                    <a:pt x="238" y="3178"/>
                  </a:lnTo>
                  <a:lnTo>
                    <a:pt x="242" y="3184"/>
                  </a:lnTo>
                  <a:lnTo>
                    <a:pt x="244" y="3190"/>
                  </a:lnTo>
                  <a:lnTo>
                    <a:pt x="246" y="3194"/>
                  </a:lnTo>
                  <a:lnTo>
                    <a:pt x="248" y="3200"/>
                  </a:lnTo>
                  <a:lnTo>
                    <a:pt x="250" y="3200"/>
                  </a:lnTo>
                  <a:lnTo>
                    <a:pt x="252" y="3200"/>
                  </a:lnTo>
                  <a:lnTo>
                    <a:pt x="254" y="3196"/>
                  </a:lnTo>
                  <a:lnTo>
                    <a:pt x="254" y="3190"/>
                  </a:lnTo>
                  <a:lnTo>
                    <a:pt x="252" y="3184"/>
                  </a:lnTo>
                  <a:lnTo>
                    <a:pt x="250" y="3180"/>
                  </a:lnTo>
                  <a:lnTo>
                    <a:pt x="252" y="3178"/>
                  </a:lnTo>
                  <a:lnTo>
                    <a:pt x="254" y="3178"/>
                  </a:lnTo>
                  <a:lnTo>
                    <a:pt x="258" y="3182"/>
                  </a:lnTo>
                  <a:lnTo>
                    <a:pt x="262" y="3184"/>
                  </a:lnTo>
                  <a:lnTo>
                    <a:pt x="262" y="3186"/>
                  </a:lnTo>
                  <a:lnTo>
                    <a:pt x="260" y="3186"/>
                  </a:lnTo>
                  <a:lnTo>
                    <a:pt x="258" y="3190"/>
                  </a:lnTo>
                  <a:lnTo>
                    <a:pt x="258" y="3192"/>
                  </a:lnTo>
                  <a:lnTo>
                    <a:pt x="258" y="3194"/>
                  </a:lnTo>
                  <a:lnTo>
                    <a:pt x="258" y="3198"/>
                  </a:lnTo>
                  <a:lnTo>
                    <a:pt x="258" y="3202"/>
                  </a:lnTo>
                  <a:lnTo>
                    <a:pt x="258" y="3206"/>
                  </a:lnTo>
                  <a:lnTo>
                    <a:pt x="260" y="3208"/>
                  </a:lnTo>
                  <a:lnTo>
                    <a:pt x="266" y="3208"/>
                  </a:lnTo>
                  <a:lnTo>
                    <a:pt x="270" y="3208"/>
                  </a:lnTo>
                  <a:lnTo>
                    <a:pt x="272" y="3206"/>
                  </a:lnTo>
                  <a:lnTo>
                    <a:pt x="274" y="3200"/>
                  </a:lnTo>
                  <a:lnTo>
                    <a:pt x="274" y="3194"/>
                  </a:lnTo>
                  <a:lnTo>
                    <a:pt x="276" y="3192"/>
                  </a:lnTo>
                  <a:lnTo>
                    <a:pt x="276" y="3190"/>
                  </a:lnTo>
                  <a:lnTo>
                    <a:pt x="276" y="3188"/>
                  </a:lnTo>
                  <a:lnTo>
                    <a:pt x="276" y="3186"/>
                  </a:lnTo>
                  <a:lnTo>
                    <a:pt x="272" y="318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  <p:sp>
          <p:nvSpPr>
            <p:cNvPr id="122" name="Полилиния 6151">
              <a:extLst>
                <a:ext uri="{FF2B5EF4-FFF2-40B4-BE49-F238E27FC236}">
                  <a16:creationId xmlns:a16="http://schemas.microsoft.com/office/drawing/2014/main" xmlns="" id="{C68411AA-72D5-46AD-B491-903F5E680B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34500" y="3952497"/>
              <a:ext cx="1708234" cy="1525434"/>
            </a:xfrm>
            <a:custGeom>
              <a:avLst/>
              <a:gdLst>
                <a:gd name="T0" fmla="*/ 441960 w 2690"/>
                <a:gd name="T1" fmla="*/ 349032 h 2404"/>
                <a:gd name="T2" fmla="*/ 1037590 w 2690"/>
                <a:gd name="T3" fmla="*/ 357917 h 2404"/>
                <a:gd name="T4" fmla="*/ 979170 w 2690"/>
                <a:gd name="T5" fmla="*/ 750102 h 2404"/>
                <a:gd name="T6" fmla="*/ 911860 w 2690"/>
                <a:gd name="T7" fmla="*/ 630796 h 2404"/>
                <a:gd name="T8" fmla="*/ 789940 w 2690"/>
                <a:gd name="T9" fmla="*/ 445492 h 2404"/>
                <a:gd name="T10" fmla="*/ 726440 w 2690"/>
                <a:gd name="T11" fmla="*/ 403608 h 2404"/>
                <a:gd name="T12" fmla="*/ 579120 w 2690"/>
                <a:gd name="T13" fmla="*/ 472145 h 2404"/>
                <a:gd name="T14" fmla="*/ 584200 w 2690"/>
                <a:gd name="T15" fmla="*/ 383301 h 2404"/>
                <a:gd name="T16" fmla="*/ 478790 w 2690"/>
                <a:gd name="T17" fmla="*/ 352840 h 2404"/>
                <a:gd name="T18" fmla="*/ 388620 w 2690"/>
                <a:gd name="T19" fmla="*/ 458184 h 2404"/>
                <a:gd name="T20" fmla="*/ 262890 w 2690"/>
                <a:gd name="T21" fmla="*/ 533067 h 2404"/>
                <a:gd name="T22" fmla="*/ 69850 w 2690"/>
                <a:gd name="T23" fmla="*/ 656181 h 2404"/>
                <a:gd name="T24" fmla="*/ 5080 w 2690"/>
                <a:gd name="T25" fmla="*/ 802139 h 2404"/>
                <a:gd name="T26" fmla="*/ 60960 w 2690"/>
                <a:gd name="T27" fmla="*/ 1055981 h 2404"/>
                <a:gd name="T28" fmla="*/ 218440 w 2690"/>
                <a:gd name="T29" fmla="*/ 1077558 h 2404"/>
                <a:gd name="T30" fmla="*/ 490220 w 2690"/>
                <a:gd name="T31" fmla="*/ 1012828 h 2404"/>
                <a:gd name="T32" fmla="*/ 628650 w 2690"/>
                <a:gd name="T33" fmla="*/ 1040751 h 2404"/>
                <a:gd name="T34" fmla="*/ 647700 w 2690"/>
                <a:gd name="T35" fmla="*/ 1137210 h 2404"/>
                <a:gd name="T36" fmla="*/ 810260 w 2690"/>
                <a:gd name="T37" fmla="*/ 1215901 h 2404"/>
                <a:gd name="T38" fmla="*/ 938530 w 2690"/>
                <a:gd name="T39" fmla="*/ 1189248 h 2404"/>
                <a:gd name="T40" fmla="*/ 1033780 w 2690"/>
                <a:gd name="T41" fmla="*/ 896061 h 2404"/>
                <a:gd name="T42" fmla="*/ 1059180 w 2690"/>
                <a:gd name="T43" fmla="*/ 154843 h 2404"/>
                <a:gd name="T44" fmla="*/ 788670 w 2690"/>
                <a:gd name="T45" fmla="*/ 1289515 h 2404"/>
                <a:gd name="T46" fmla="*/ 810260 w 2690"/>
                <a:gd name="T47" fmla="*/ 1344091 h 2404"/>
                <a:gd name="T48" fmla="*/ 881380 w 2690"/>
                <a:gd name="T49" fmla="*/ 1394860 h 2404"/>
                <a:gd name="T50" fmla="*/ 623570 w 2690"/>
                <a:gd name="T51" fmla="*/ 1148633 h 2404"/>
                <a:gd name="T52" fmla="*/ 1405890 w 2690"/>
                <a:gd name="T53" fmla="*/ 516568 h 2404"/>
                <a:gd name="T54" fmla="*/ 1370330 w 2690"/>
                <a:gd name="T55" fmla="*/ 696795 h 2404"/>
                <a:gd name="T56" fmla="*/ 1367790 w 2690"/>
                <a:gd name="T57" fmla="*/ 455646 h 2404"/>
                <a:gd name="T58" fmla="*/ 1125220 w 2690"/>
                <a:gd name="T59" fmla="*/ 244957 h 2404"/>
                <a:gd name="T60" fmla="*/ 1106170 w 2690"/>
                <a:gd name="T61" fmla="*/ 201804 h 2404"/>
                <a:gd name="T62" fmla="*/ 1162050 w 2690"/>
                <a:gd name="T63" fmla="*/ 242419 h 2404"/>
                <a:gd name="T64" fmla="*/ 1210310 w 2690"/>
                <a:gd name="T65" fmla="*/ 365532 h 2404"/>
                <a:gd name="T66" fmla="*/ 1394460 w 2690"/>
                <a:gd name="T67" fmla="*/ 512760 h 2404"/>
                <a:gd name="T68" fmla="*/ 1545590 w 2690"/>
                <a:gd name="T69" fmla="*/ 1325053 h 2404"/>
                <a:gd name="T70" fmla="*/ 1426210 w 2690"/>
                <a:gd name="T71" fmla="*/ 1426590 h 2404"/>
                <a:gd name="T72" fmla="*/ 1432560 w 2690"/>
                <a:gd name="T73" fmla="*/ 1525588 h 2404"/>
                <a:gd name="T74" fmla="*/ 1534160 w 2690"/>
                <a:gd name="T75" fmla="*/ 1393590 h 2404"/>
                <a:gd name="T76" fmla="*/ 1692910 w 2690"/>
                <a:gd name="T77" fmla="*/ 521644 h 2404"/>
                <a:gd name="T78" fmla="*/ 1576070 w 2690"/>
                <a:gd name="T79" fmla="*/ 1165133 h 2404"/>
                <a:gd name="T80" fmla="*/ 1564640 w 2690"/>
                <a:gd name="T81" fmla="*/ 1161325 h 2404"/>
                <a:gd name="T82" fmla="*/ 1588770 w 2690"/>
                <a:gd name="T83" fmla="*/ 1345360 h 2404"/>
                <a:gd name="T84" fmla="*/ 1651000 w 2690"/>
                <a:gd name="T85" fmla="*/ 1208286 h 2404"/>
                <a:gd name="T86" fmla="*/ 1428750 w 2690"/>
                <a:gd name="T87" fmla="*/ 587643 h 2404"/>
                <a:gd name="T88" fmla="*/ 966470 w 2690"/>
                <a:gd name="T89" fmla="*/ 312225 h 2404"/>
                <a:gd name="T90" fmla="*/ 867410 w 2690"/>
                <a:gd name="T91" fmla="*/ 159920 h 2404"/>
                <a:gd name="T92" fmla="*/ 584200 w 2690"/>
                <a:gd name="T93" fmla="*/ 49499 h 2404"/>
                <a:gd name="T94" fmla="*/ 539750 w 2690"/>
                <a:gd name="T95" fmla="*/ 182766 h 2404"/>
                <a:gd name="T96" fmla="*/ 631190 w 2690"/>
                <a:gd name="T97" fmla="*/ 243688 h 2404"/>
                <a:gd name="T98" fmla="*/ 673100 w 2690"/>
                <a:gd name="T99" fmla="*/ 510222 h 2404"/>
                <a:gd name="T100" fmla="*/ 769620 w 2690"/>
                <a:gd name="T101" fmla="*/ 279226 h 2404"/>
                <a:gd name="T102" fmla="*/ 889000 w 2690"/>
                <a:gd name="T103" fmla="*/ 312225 h 2404"/>
                <a:gd name="T104" fmla="*/ 885190 w 2690"/>
                <a:gd name="T105" fmla="*/ 244957 h 2404"/>
                <a:gd name="T106" fmla="*/ 774700 w 2690"/>
                <a:gd name="T107" fmla="*/ 107883 h 2404"/>
                <a:gd name="T108" fmla="*/ 922020 w 2690"/>
                <a:gd name="T109" fmla="*/ 187843 h 2404"/>
                <a:gd name="T110" fmla="*/ 971550 w 2690"/>
                <a:gd name="T111" fmla="*/ 153574 h 2404"/>
                <a:gd name="T112" fmla="*/ 1008380 w 2690"/>
                <a:gd name="T113" fmla="*/ 128190 h 2404"/>
                <a:gd name="T114" fmla="*/ 952500 w 2690"/>
                <a:gd name="T115" fmla="*/ 81229 h 2404"/>
                <a:gd name="T116" fmla="*/ 487680 w 2690"/>
                <a:gd name="T117" fmla="*/ 92652 h 2404"/>
                <a:gd name="T118" fmla="*/ 637540 w 2690"/>
                <a:gd name="T119" fmla="*/ 180228 h 2404"/>
                <a:gd name="T120" fmla="*/ 613410 w 2690"/>
                <a:gd name="T121" fmla="*/ 60922 h 2404"/>
                <a:gd name="T122" fmla="*/ 499110 w 2690"/>
                <a:gd name="T123" fmla="*/ 11423 h 2404"/>
                <a:gd name="T124" fmla="*/ 1026160 w 2690"/>
                <a:gd name="T125" fmla="*/ 776755 h 24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90"/>
                <a:gd name="T190" fmla="*/ 0 h 2404"/>
                <a:gd name="T191" fmla="*/ 2690 w 2690"/>
                <a:gd name="T192" fmla="*/ 2404 h 24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90" h="2404">
                  <a:moveTo>
                    <a:pt x="692" y="12"/>
                  </a:moveTo>
                  <a:lnTo>
                    <a:pt x="692" y="12"/>
                  </a:lnTo>
                  <a:lnTo>
                    <a:pt x="698" y="14"/>
                  </a:lnTo>
                  <a:lnTo>
                    <a:pt x="702" y="18"/>
                  </a:lnTo>
                  <a:lnTo>
                    <a:pt x="708" y="20"/>
                  </a:lnTo>
                  <a:lnTo>
                    <a:pt x="714" y="20"/>
                  </a:lnTo>
                  <a:lnTo>
                    <a:pt x="716" y="20"/>
                  </a:lnTo>
                  <a:lnTo>
                    <a:pt x="714" y="18"/>
                  </a:lnTo>
                  <a:lnTo>
                    <a:pt x="712" y="16"/>
                  </a:lnTo>
                  <a:lnTo>
                    <a:pt x="710" y="12"/>
                  </a:lnTo>
                  <a:lnTo>
                    <a:pt x="708" y="12"/>
                  </a:lnTo>
                  <a:lnTo>
                    <a:pt x="710" y="12"/>
                  </a:lnTo>
                  <a:lnTo>
                    <a:pt x="714" y="12"/>
                  </a:lnTo>
                  <a:lnTo>
                    <a:pt x="718" y="16"/>
                  </a:lnTo>
                  <a:lnTo>
                    <a:pt x="722" y="18"/>
                  </a:lnTo>
                  <a:lnTo>
                    <a:pt x="728" y="18"/>
                  </a:lnTo>
                  <a:lnTo>
                    <a:pt x="730" y="16"/>
                  </a:lnTo>
                  <a:lnTo>
                    <a:pt x="730" y="12"/>
                  </a:lnTo>
                  <a:lnTo>
                    <a:pt x="724" y="6"/>
                  </a:lnTo>
                  <a:lnTo>
                    <a:pt x="714" y="2"/>
                  </a:lnTo>
                  <a:lnTo>
                    <a:pt x="708" y="0"/>
                  </a:lnTo>
                  <a:lnTo>
                    <a:pt x="702" y="2"/>
                  </a:lnTo>
                  <a:lnTo>
                    <a:pt x="694" y="4"/>
                  </a:lnTo>
                  <a:lnTo>
                    <a:pt x="688" y="8"/>
                  </a:lnTo>
                  <a:lnTo>
                    <a:pt x="688" y="10"/>
                  </a:lnTo>
                  <a:lnTo>
                    <a:pt x="692" y="12"/>
                  </a:lnTo>
                  <a:close/>
                  <a:moveTo>
                    <a:pt x="742" y="352"/>
                  </a:moveTo>
                  <a:lnTo>
                    <a:pt x="742" y="352"/>
                  </a:lnTo>
                  <a:lnTo>
                    <a:pt x="740" y="350"/>
                  </a:lnTo>
                  <a:lnTo>
                    <a:pt x="736" y="352"/>
                  </a:lnTo>
                  <a:lnTo>
                    <a:pt x="732" y="358"/>
                  </a:lnTo>
                  <a:lnTo>
                    <a:pt x="728" y="366"/>
                  </a:lnTo>
                  <a:lnTo>
                    <a:pt x="724" y="382"/>
                  </a:lnTo>
                  <a:lnTo>
                    <a:pt x="724" y="386"/>
                  </a:lnTo>
                  <a:lnTo>
                    <a:pt x="724" y="388"/>
                  </a:lnTo>
                  <a:lnTo>
                    <a:pt x="726" y="388"/>
                  </a:lnTo>
                  <a:lnTo>
                    <a:pt x="736" y="382"/>
                  </a:lnTo>
                  <a:lnTo>
                    <a:pt x="742" y="374"/>
                  </a:lnTo>
                  <a:lnTo>
                    <a:pt x="744" y="364"/>
                  </a:lnTo>
                  <a:lnTo>
                    <a:pt x="742" y="352"/>
                  </a:lnTo>
                  <a:close/>
                  <a:moveTo>
                    <a:pt x="696" y="550"/>
                  </a:moveTo>
                  <a:lnTo>
                    <a:pt x="696" y="550"/>
                  </a:lnTo>
                  <a:lnTo>
                    <a:pt x="692" y="548"/>
                  </a:lnTo>
                  <a:lnTo>
                    <a:pt x="690" y="548"/>
                  </a:lnTo>
                  <a:lnTo>
                    <a:pt x="690" y="552"/>
                  </a:lnTo>
                  <a:lnTo>
                    <a:pt x="692" y="556"/>
                  </a:lnTo>
                  <a:lnTo>
                    <a:pt x="700" y="566"/>
                  </a:lnTo>
                  <a:lnTo>
                    <a:pt x="710" y="578"/>
                  </a:lnTo>
                  <a:lnTo>
                    <a:pt x="714" y="580"/>
                  </a:lnTo>
                  <a:lnTo>
                    <a:pt x="718" y="578"/>
                  </a:lnTo>
                  <a:lnTo>
                    <a:pt x="724" y="576"/>
                  </a:lnTo>
                  <a:lnTo>
                    <a:pt x="728" y="574"/>
                  </a:lnTo>
                  <a:lnTo>
                    <a:pt x="734" y="568"/>
                  </a:lnTo>
                  <a:lnTo>
                    <a:pt x="736" y="564"/>
                  </a:lnTo>
                  <a:lnTo>
                    <a:pt x="738" y="558"/>
                  </a:lnTo>
                  <a:lnTo>
                    <a:pt x="736" y="552"/>
                  </a:lnTo>
                  <a:lnTo>
                    <a:pt x="730" y="546"/>
                  </a:lnTo>
                  <a:lnTo>
                    <a:pt x="728" y="544"/>
                  </a:lnTo>
                  <a:lnTo>
                    <a:pt x="724" y="546"/>
                  </a:lnTo>
                  <a:lnTo>
                    <a:pt x="722" y="548"/>
                  </a:lnTo>
                  <a:lnTo>
                    <a:pt x="718" y="552"/>
                  </a:lnTo>
                  <a:lnTo>
                    <a:pt x="712" y="554"/>
                  </a:lnTo>
                  <a:lnTo>
                    <a:pt x="706" y="554"/>
                  </a:lnTo>
                  <a:lnTo>
                    <a:pt x="696" y="550"/>
                  </a:lnTo>
                  <a:close/>
                  <a:moveTo>
                    <a:pt x="936" y="688"/>
                  </a:moveTo>
                  <a:lnTo>
                    <a:pt x="936" y="688"/>
                  </a:lnTo>
                  <a:lnTo>
                    <a:pt x="938" y="696"/>
                  </a:lnTo>
                  <a:lnTo>
                    <a:pt x="940" y="696"/>
                  </a:lnTo>
                  <a:lnTo>
                    <a:pt x="942" y="696"/>
                  </a:lnTo>
                  <a:lnTo>
                    <a:pt x="946" y="692"/>
                  </a:lnTo>
                  <a:lnTo>
                    <a:pt x="950" y="684"/>
                  </a:lnTo>
                  <a:lnTo>
                    <a:pt x="950" y="680"/>
                  </a:lnTo>
                  <a:lnTo>
                    <a:pt x="950" y="678"/>
                  </a:lnTo>
                  <a:lnTo>
                    <a:pt x="946" y="676"/>
                  </a:lnTo>
                  <a:lnTo>
                    <a:pt x="942" y="676"/>
                  </a:lnTo>
                  <a:lnTo>
                    <a:pt x="940" y="676"/>
                  </a:lnTo>
                  <a:lnTo>
                    <a:pt x="936" y="680"/>
                  </a:lnTo>
                  <a:lnTo>
                    <a:pt x="934" y="684"/>
                  </a:lnTo>
                  <a:lnTo>
                    <a:pt x="936" y="688"/>
                  </a:lnTo>
                  <a:close/>
                  <a:moveTo>
                    <a:pt x="1610" y="556"/>
                  </a:moveTo>
                  <a:lnTo>
                    <a:pt x="1610" y="556"/>
                  </a:lnTo>
                  <a:lnTo>
                    <a:pt x="1616" y="560"/>
                  </a:lnTo>
                  <a:lnTo>
                    <a:pt x="1624" y="562"/>
                  </a:lnTo>
                  <a:lnTo>
                    <a:pt x="1632" y="564"/>
                  </a:lnTo>
                  <a:lnTo>
                    <a:pt x="1634" y="564"/>
                  </a:lnTo>
                  <a:lnTo>
                    <a:pt x="1634" y="562"/>
                  </a:lnTo>
                  <a:lnTo>
                    <a:pt x="1628" y="558"/>
                  </a:lnTo>
                  <a:lnTo>
                    <a:pt x="1618" y="552"/>
                  </a:lnTo>
                  <a:lnTo>
                    <a:pt x="1610" y="550"/>
                  </a:lnTo>
                  <a:lnTo>
                    <a:pt x="1610" y="552"/>
                  </a:lnTo>
                  <a:lnTo>
                    <a:pt x="1610" y="556"/>
                  </a:lnTo>
                  <a:close/>
                  <a:moveTo>
                    <a:pt x="1402" y="2052"/>
                  </a:moveTo>
                  <a:lnTo>
                    <a:pt x="1402" y="2052"/>
                  </a:lnTo>
                  <a:lnTo>
                    <a:pt x="1404" y="2054"/>
                  </a:lnTo>
                  <a:lnTo>
                    <a:pt x="1410" y="2056"/>
                  </a:lnTo>
                  <a:lnTo>
                    <a:pt x="1416" y="2056"/>
                  </a:lnTo>
                  <a:lnTo>
                    <a:pt x="1420" y="2054"/>
                  </a:lnTo>
                  <a:lnTo>
                    <a:pt x="1420" y="2052"/>
                  </a:lnTo>
                  <a:lnTo>
                    <a:pt x="1418" y="2048"/>
                  </a:lnTo>
                  <a:lnTo>
                    <a:pt x="1412" y="2048"/>
                  </a:lnTo>
                  <a:lnTo>
                    <a:pt x="1404" y="2048"/>
                  </a:lnTo>
                  <a:lnTo>
                    <a:pt x="1402" y="2050"/>
                  </a:lnTo>
                  <a:lnTo>
                    <a:pt x="1402" y="2052"/>
                  </a:lnTo>
                  <a:close/>
                  <a:moveTo>
                    <a:pt x="1610" y="1344"/>
                  </a:moveTo>
                  <a:lnTo>
                    <a:pt x="1610" y="1344"/>
                  </a:lnTo>
                  <a:lnTo>
                    <a:pt x="1612" y="1338"/>
                  </a:lnTo>
                  <a:lnTo>
                    <a:pt x="1614" y="1334"/>
                  </a:lnTo>
                  <a:lnTo>
                    <a:pt x="1612" y="1324"/>
                  </a:lnTo>
                  <a:lnTo>
                    <a:pt x="1610" y="1312"/>
                  </a:lnTo>
                  <a:lnTo>
                    <a:pt x="1608" y="1304"/>
                  </a:lnTo>
                  <a:lnTo>
                    <a:pt x="1610" y="1294"/>
                  </a:lnTo>
                  <a:lnTo>
                    <a:pt x="1610" y="1280"/>
                  </a:lnTo>
                  <a:lnTo>
                    <a:pt x="1608" y="1276"/>
                  </a:lnTo>
                  <a:lnTo>
                    <a:pt x="1606" y="1276"/>
                  </a:lnTo>
                  <a:lnTo>
                    <a:pt x="1604" y="1274"/>
                  </a:lnTo>
                  <a:lnTo>
                    <a:pt x="1600" y="1270"/>
                  </a:lnTo>
                  <a:lnTo>
                    <a:pt x="1598" y="1266"/>
                  </a:lnTo>
                  <a:lnTo>
                    <a:pt x="1596" y="1256"/>
                  </a:lnTo>
                  <a:lnTo>
                    <a:pt x="1594" y="1246"/>
                  </a:lnTo>
                  <a:lnTo>
                    <a:pt x="1590" y="1238"/>
                  </a:lnTo>
                  <a:lnTo>
                    <a:pt x="1582" y="1226"/>
                  </a:lnTo>
                  <a:lnTo>
                    <a:pt x="1570" y="1214"/>
                  </a:lnTo>
                  <a:lnTo>
                    <a:pt x="1560" y="1198"/>
                  </a:lnTo>
                  <a:lnTo>
                    <a:pt x="1550" y="1184"/>
                  </a:lnTo>
                  <a:lnTo>
                    <a:pt x="1548" y="1182"/>
                  </a:lnTo>
                  <a:lnTo>
                    <a:pt x="1546" y="1182"/>
                  </a:lnTo>
                  <a:lnTo>
                    <a:pt x="1542" y="1182"/>
                  </a:lnTo>
                  <a:lnTo>
                    <a:pt x="1538" y="1180"/>
                  </a:lnTo>
                  <a:lnTo>
                    <a:pt x="1534" y="1176"/>
                  </a:lnTo>
                  <a:lnTo>
                    <a:pt x="1526" y="1166"/>
                  </a:lnTo>
                  <a:lnTo>
                    <a:pt x="1518" y="1156"/>
                  </a:lnTo>
                  <a:lnTo>
                    <a:pt x="1514" y="1146"/>
                  </a:lnTo>
                  <a:lnTo>
                    <a:pt x="1514" y="1136"/>
                  </a:lnTo>
                  <a:lnTo>
                    <a:pt x="1514" y="1126"/>
                  </a:lnTo>
                  <a:lnTo>
                    <a:pt x="1514" y="1110"/>
                  </a:lnTo>
                  <a:lnTo>
                    <a:pt x="1514" y="1104"/>
                  </a:lnTo>
                  <a:lnTo>
                    <a:pt x="1510" y="1098"/>
                  </a:lnTo>
                  <a:lnTo>
                    <a:pt x="1508" y="1096"/>
                  </a:lnTo>
                  <a:lnTo>
                    <a:pt x="1506" y="1096"/>
                  </a:lnTo>
                  <a:lnTo>
                    <a:pt x="1502" y="1102"/>
                  </a:lnTo>
                  <a:lnTo>
                    <a:pt x="1502" y="1104"/>
                  </a:lnTo>
                  <a:lnTo>
                    <a:pt x="1498" y="1104"/>
                  </a:lnTo>
                  <a:lnTo>
                    <a:pt x="1494" y="1102"/>
                  </a:lnTo>
                  <a:lnTo>
                    <a:pt x="1490" y="1096"/>
                  </a:lnTo>
                  <a:lnTo>
                    <a:pt x="1484" y="1090"/>
                  </a:lnTo>
                  <a:lnTo>
                    <a:pt x="1480" y="1090"/>
                  </a:lnTo>
                  <a:lnTo>
                    <a:pt x="1480" y="1092"/>
                  </a:lnTo>
                  <a:lnTo>
                    <a:pt x="1480" y="1098"/>
                  </a:lnTo>
                  <a:lnTo>
                    <a:pt x="1478" y="1102"/>
                  </a:lnTo>
                  <a:lnTo>
                    <a:pt x="1478" y="1106"/>
                  </a:lnTo>
                  <a:lnTo>
                    <a:pt x="1474" y="1104"/>
                  </a:lnTo>
                  <a:lnTo>
                    <a:pt x="1470" y="1100"/>
                  </a:lnTo>
                  <a:lnTo>
                    <a:pt x="1464" y="1092"/>
                  </a:lnTo>
                  <a:lnTo>
                    <a:pt x="1462" y="1086"/>
                  </a:lnTo>
                  <a:lnTo>
                    <a:pt x="1462" y="1080"/>
                  </a:lnTo>
                  <a:lnTo>
                    <a:pt x="1462" y="1076"/>
                  </a:lnTo>
                  <a:lnTo>
                    <a:pt x="1464" y="1066"/>
                  </a:lnTo>
                  <a:lnTo>
                    <a:pt x="1462" y="1060"/>
                  </a:lnTo>
                  <a:lnTo>
                    <a:pt x="1462" y="1054"/>
                  </a:lnTo>
                  <a:lnTo>
                    <a:pt x="1458" y="1046"/>
                  </a:lnTo>
                  <a:lnTo>
                    <a:pt x="1452" y="1038"/>
                  </a:lnTo>
                  <a:lnTo>
                    <a:pt x="1440" y="1022"/>
                  </a:lnTo>
                  <a:lnTo>
                    <a:pt x="1430" y="1012"/>
                  </a:lnTo>
                  <a:lnTo>
                    <a:pt x="1428" y="1008"/>
                  </a:lnTo>
                  <a:lnTo>
                    <a:pt x="1432" y="1008"/>
                  </a:lnTo>
                  <a:lnTo>
                    <a:pt x="1436" y="1008"/>
                  </a:lnTo>
                  <a:lnTo>
                    <a:pt x="1438" y="1006"/>
                  </a:lnTo>
                  <a:lnTo>
                    <a:pt x="1440" y="1002"/>
                  </a:lnTo>
                  <a:lnTo>
                    <a:pt x="1438" y="998"/>
                  </a:lnTo>
                  <a:lnTo>
                    <a:pt x="1436" y="994"/>
                  </a:lnTo>
                  <a:lnTo>
                    <a:pt x="1430" y="988"/>
                  </a:lnTo>
                  <a:lnTo>
                    <a:pt x="1422" y="984"/>
                  </a:lnTo>
                  <a:lnTo>
                    <a:pt x="1410" y="978"/>
                  </a:lnTo>
                  <a:lnTo>
                    <a:pt x="1398" y="974"/>
                  </a:lnTo>
                  <a:lnTo>
                    <a:pt x="1392" y="968"/>
                  </a:lnTo>
                  <a:lnTo>
                    <a:pt x="1388" y="964"/>
                  </a:lnTo>
                  <a:lnTo>
                    <a:pt x="1386" y="960"/>
                  </a:lnTo>
                  <a:lnTo>
                    <a:pt x="1384" y="956"/>
                  </a:lnTo>
                  <a:lnTo>
                    <a:pt x="1380" y="952"/>
                  </a:lnTo>
                  <a:lnTo>
                    <a:pt x="1374" y="950"/>
                  </a:lnTo>
                  <a:lnTo>
                    <a:pt x="1364" y="946"/>
                  </a:lnTo>
                  <a:lnTo>
                    <a:pt x="1354" y="942"/>
                  </a:lnTo>
                  <a:lnTo>
                    <a:pt x="1346" y="938"/>
                  </a:lnTo>
                  <a:lnTo>
                    <a:pt x="1340" y="934"/>
                  </a:lnTo>
                  <a:lnTo>
                    <a:pt x="1338" y="928"/>
                  </a:lnTo>
                  <a:lnTo>
                    <a:pt x="1334" y="916"/>
                  </a:lnTo>
                  <a:lnTo>
                    <a:pt x="1332" y="908"/>
                  </a:lnTo>
                  <a:lnTo>
                    <a:pt x="1328" y="902"/>
                  </a:lnTo>
                  <a:lnTo>
                    <a:pt x="1324" y="896"/>
                  </a:lnTo>
                  <a:lnTo>
                    <a:pt x="1324" y="886"/>
                  </a:lnTo>
                  <a:lnTo>
                    <a:pt x="1322" y="864"/>
                  </a:lnTo>
                  <a:lnTo>
                    <a:pt x="1322" y="852"/>
                  </a:lnTo>
                  <a:lnTo>
                    <a:pt x="1320" y="840"/>
                  </a:lnTo>
                  <a:lnTo>
                    <a:pt x="1316" y="828"/>
                  </a:lnTo>
                  <a:lnTo>
                    <a:pt x="1308" y="818"/>
                  </a:lnTo>
                  <a:lnTo>
                    <a:pt x="1304" y="812"/>
                  </a:lnTo>
                  <a:lnTo>
                    <a:pt x="1302" y="806"/>
                  </a:lnTo>
                  <a:lnTo>
                    <a:pt x="1298" y="794"/>
                  </a:lnTo>
                  <a:lnTo>
                    <a:pt x="1296" y="780"/>
                  </a:lnTo>
                  <a:lnTo>
                    <a:pt x="1296" y="764"/>
                  </a:lnTo>
                  <a:lnTo>
                    <a:pt x="1296" y="750"/>
                  </a:lnTo>
                  <a:lnTo>
                    <a:pt x="1294" y="736"/>
                  </a:lnTo>
                  <a:lnTo>
                    <a:pt x="1290" y="726"/>
                  </a:lnTo>
                  <a:lnTo>
                    <a:pt x="1286" y="722"/>
                  </a:lnTo>
                  <a:lnTo>
                    <a:pt x="1282" y="718"/>
                  </a:lnTo>
                  <a:lnTo>
                    <a:pt x="1274" y="712"/>
                  </a:lnTo>
                  <a:lnTo>
                    <a:pt x="1268" y="704"/>
                  </a:lnTo>
                  <a:lnTo>
                    <a:pt x="1262" y="692"/>
                  </a:lnTo>
                  <a:lnTo>
                    <a:pt x="1258" y="690"/>
                  </a:lnTo>
                  <a:lnTo>
                    <a:pt x="1256" y="688"/>
                  </a:lnTo>
                  <a:lnTo>
                    <a:pt x="1254" y="690"/>
                  </a:lnTo>
                  <a:lnTo>
                    <a:pt x="1250" y="698"/>
                  </a:lnTo>
                  <a:lnTo>
                    <a:pt x="1244" y="702"/>
                  </a:lnTo>
                  <a:lnTo>
                    <a:pt x="1240" y="704"/>
                  </a:lnTo>
                  <a:lnTo>
                    <a:pt x="1236" y="702"/>
                  </a:lnTo>
                  <a:lnTo>
                    <a:pt x="1232" y="696"/>
                  </a:lnTo>
                  <a:lnTo>
                    <a:pt x="1228" y="690"/>
                  </a:lnTo>
                  <a:lnTo>
                    <a:pt x="1226" y="682"/>
                  </a:lnTo>
                  <a:lnTo>
                    <a:pt x="1224" y="664"/>
                  </a:lnTo>
                  <a:lnTo>
                    <a:pt x="1224" y="650"/>
                  </a:lnTo>
                  <a:lnTo>
                    <a:pt x="1224" y="634"/>
                  </a:lnTo>
                  <a:lnTo>
                    <a:pt x="1220" y="620"/>
                  </a:lnTo>
                  <a:lnTo>
                    <a:pt x="1216" y="614"/>
                  </a:lnTo>
                  <a:lnTo>
                    <a:pt x="1212" y="606"/>
                  </a:lnTo>
                  <a:lnTo>
                    <a:pt x="1208" y="600"/>
                  </a:lnTo>
                  <a:lnTo>
                    <a:pt x="1206" y="596"/>
                  </a:lnTo>
                  <a:lnTo>
                    <a:pt x="1206" y="588"/>
                  </a:lnTo>
                  <a:lnTo>
                    <a:pt x="1208" y="584"/>
                  </a:lnTo>
                  <a:lnTo>
                    <a:pt x="1206" y="582"/>
                  </a:lnTo>
                  <a:lnTo>
                    <a:pt x="1204" y="578"/>
                  </a:lnTo>
                  <a:lnTo>
                    <a:pt x="1200" y="576"/>
                  </a:lnTo>
                  <a:lnTo>
                    <a:pt x="1196" y="572"/>
                  </a:lnTo>
                  <a:lnTo>
                    <a:pt x="1194" y="562"/>
                  </a:lnTo>
                  <a:lnTo>
                    <a:pt x="1192" y="548"/>
                  </a:lnTo>
                  <a:lnTo>
                    <a:pt x="1190" y="534"/>
                  </a:lnTo>
                  <a:lnTo>
                    <a:pt x="1188" y="526"/>
                  </a:lnTo>
                  <a:lnTo>
                    <a:pt x="1184" y="522"/>
                  </a:lnTo>
                  <a:lnTo>
                    <a:pt x="1180" y="520"/>
                  </a:lnTo>
                  <a:lnTo>
                    <a:pt x="1176" y="520"/>
                  </a:lnTo>
                  <a:lnTo>
                    <a:pt x="1172" y="522"/>
                  </a:lnTo>
                  <a:lnTo>
                    <a:pt x="1170" y="526"/>
                  </a:lnTo>
                  <a:lnTo>
                    <a:pt x="1166" y="532"/>
                  </a:lnTo>
                  <a:lnTo>
                    <a:pt x="1166" y="538"/>
                  </a:lnTo>
                  <a:lnTo>
                    <a:pt x="1164" y="552"/>
                  </a:lnTo>
                  <a:lnTo>
                    <a:pt x="1162" y="564"/>
                  </a:lnTo>
                  <a:lnTo>
                    <a:pt x="1150" y="594"/>
                  </a:lnTo>
                  <a:lnTo>
                    <a:pt x="1146" y="602"/>
                  </a:lnTo>
                  <a:lnTo>
                    <a:pt x="1146" y="608"/>
                  </a:lnTo>
                  <a:lnTo>
                    <a:pt x="1146" y="612"/>
                  </a:lnTo>
                  <a:lnTo>
                    <a:pt x="1150" y="614"/>
                  </a:lnTo>
                  <a:lnTo>
                    <a:pt x="1152" y="616"/>
                  </a:lnTo>
                  <a:lnTo>
                    <a:pt x="1152" y="618"/>
                  </a:lnTo>
                  <a:lnTo>
                    <a:pt x="1150" y="622"/>
                  </a:lnTo>
                  <a:lnTo>
                    <a:pt x="1144" y="630"/>
                  </a:lnTo>
                  <a:lnTo>
                    <a:pt x="1144" y="636"/>
                  </a:lnTo>
                  <a:lnTo>
                    <a:pt x="1144" y="646"/>
                  </a:lnTo>
                  <a:lnTo>
                    <a:pt x="1138" y="658"/>
                  </a:lnTo>
                  <a:lnTo>
                    <a:pt x="1136" y="668"/>
                  </a:lnTo>
                  <a:lnTo>
                    <a:pt x="1136" y="676"/>
                  </a:lnTo>
                  <a:lnTo>
                    <a:pt x="1140" y="700"/>
                  </a:lnTo>
                  <a:lnTo>
                    <a:pt x="1144" y="724"/>
                  </a:lnTo>
                  <a:lnTo>
                    <a:pt x="1144" y="736"/>
                  </a:lnTo>
                  <a:lnTo>
                    <a:pt x="1142" y="748"/>
                  </a:lnTo>
                  <a:lnTo>
                    <a:pt x="1136" y="768"/>
                  </a:lnTo>
                  <a:lnTo>
                    <a:pt x="1136" y="780"/>
                  </a:lnTo>
                  <a:lnTo>
                    <a:pt x="1136" y="792"/>
                  </a:lnTo>
                  <a:lnTo>
                    <a:pt x="1130" y="806"/>
                  </a:lnTo>
                  <a:lnTo>
                    <a:pt x="1124" y="816"/>
                  </a:lnTo>
                  <a:lnTo>
                    <a:pt x="1120" y="826"/>
                  </a:lnTo>
                  <a:lnTo>
                    <a:pt x="1116" y="840"/>
                  </a:lnTo>
                  <a:lnTo>
                    <a:pt x="1114" y="850"/>
                  </a:lnTo>
                  <a:lnTo>
                    <a:pt x="1110" y="856"/>
                  </a:lnTo>
                  <a:lnTo>
                    <a:pt x="1102" y="862"/>
                  </a:lnTo>
                  <a:lnTo>
                    <a:pt x="1096" y="866"/>
                  </a:lnTo>
                  <a:lnTo>
                    <a:pt x="1088" y="866"/>
                  </a:lnTo>
                  <a:lnTo>
                    <a:pt x="1078" y="864"/>
                  </a:lnTo>
                  <a:lnTo>
                    <a:pt x="1068" y="860"/>
                  </a:lnTo>
                  <a:lnTo>
                    <a:pt x="1060" y="854"/>
                  </a:lnTo>
                  <a:lnTo>
                    <a:pt x="1052" y="848"/>
                  </a:lnTo>
                  <a:lnTo>
                    <a:pt x="1046" y="842"/>
                  </a:lnTo>
                  <a:lnTo>
                    <a:pt x="1044" y="836"/>
                  </a:lnTo>
                  <a:lnTo>
                    <a:pt x="1040" y="830"/>
                  </a:lnTo>
                  <a:lnTo>
                    <a:pt x="1036" y="826"/>
                  </a:lnTo>
                  <a:lnTo>
                    <a:pt x="1028" y="824"/>
                  </a:lnTo>
                  <a:lnTo>
                    <a:pt x="1022" y="822"/>
                  </a:lnTo>
                  <a:lnTo>
                    <a:pt x="1014" y="818"/>
                  </a:lnTo>
                  <a:lnTo>
                    <a:pt x="1004" y="812"/>
                  </a:lnTo>
                  <a:lnTo>
                    <a:pt x="990" y="800"/>
                  </a:lnTo>
                  <a:lnTo>
                    <a:pt x="978" y="788"/>
                  </a:lnTo>
                  <a:lnTo>
                    <a:pt x="968" y="782"/>
                  </a:lnTo>
                  <a:lnTo>
                    <a:pt x="962" y="780"/>
                  </a:lnTo>
                  <a:lnTo>
                    <a:pt x="956" y="778"/>
                  </a:lnTo>
                  <a:lnTo>
                    <a:pt x="948" y="776"/>
                  </a:lnTo>
                  <a:lnTo>
                    <a:pt x="942" y="772"/>
                  </a:lnTo>
                  <a:lnTo>
                    <a:pt x="934" y="764"/>
                  </a:lnTo>
                  <a:lnTo>
                    <a:pt x="922" y="752"/>
                  </a:lnTo>
                  <a:lnTo>
                    <a:pt x="912" y="744"/>
                  </a:lnTo>
                  <a:lnTo>
                    <a:pt x="898" y="732"/>
                  </a:lnTo>
                  <a:lnTo>
                    <a:pt x="896" y="728"/>
                  </a:lnTo>
                  <a:lnTo>
                    <a:pt x="896" y="722"/>
                  </a:lnTo>
                  <a:lnTo>
                    <a:pt x="900" y="712"/>
                  </a:lnTo>
                  <a:lnTo>
                    <a:pt x="908" y="700"/>
                  </a:lnTo>
                  <a:lnTo>
                    <a:pt x="916" y="684"/>
                  </a:lnTo>
                  <a:lnTo>
                    <a:pt x="920" y="674"/>
                  </a:lnTo>
                  <a:lnTo>
                    <a:pt x="920" y="670"/>
                  </a:lnTo>
                  <a:lnTo>
                    <a:pt x="918" y="670"/>
                  </a:lnTo>
                  <a:lnTo>
                    <a:pt x="916" y="668"/>
                  </a:lnTo>
                  <a:lnTo>
                    <a:pt x="914" y="666"/>
                  </a:lnTo>
                  <a:lnTo>
                    <a:pt x="914" y="662"/>
                  </a:lnTo>
                  <a:lnTo>
                    <a:pt x="918" y="652"/>
                  </a:lnTo>
                  <a:lnTo>
                    <a:pt x="924" y="644"/>
                  </a:lnTo>
                  <a:lnTo>
                    <a:pt x="928" y="640"/>
                  </a:lnTo>
                  <a:lnTo>
                    <a:pt x="930" y="642"/>
                  </a:lnTo>
                  <a:lnTo>
                    <a:pt x="934" y="646"/>
                  </a:lnTo>
                  <a:lnTo>
                    <a:pt x="936" y="648"/>
                  </a:lnTo>
                  <a:lnTo>
                    <a:pt x="936" y="650"/>
                  </a:lnTo>
                  <a:lnTo>
                    <a:pt x="938" y="646"/>
                  </a:lnTo>
                  <a:lnTo>
                    <a:pt x="940" y="638"/>
                  </a:lnTo>
                  <a:lnTo>
                    <a:pt x="942" y="626"/>
                  </a:lnTo>
                  <a:lnTo>
                    <a:pt x="946" y="618"/>
                  </a:lnTo>
                  <a:lnTo>
                    <a:pt x="950" y="612"/>
                  </a:lnTo>
                  <a:lnTo>
                    <a:pt x="956" y="606"/>
                  </a:lnTo>
                  <a:lnTo>
                    <a:pt x="958" y="604"/>
                  </a:lnTo>
                  <a:lnTo>
                    <a:pt x="960" y="602"/>
                  </a:lnTo>
                  <a:lnTo>
                    <a:pt x="960" y="598"/>
                  </a:lnTo>
                  <a:lnTo>
                    <a:pt x="956" y="596"/>
                  </a:lnTo>
                  <a:lnTo>
                    <a:pt x="950" y="590"/>
                  </a:lnTo>
                  <a:lnTo>
                    <a:pt x="946" y="586"/>
                  </a:lnTo>
                  <a:lnTo>
                    <a:pt x="942" y="580"/>
                  </a:lnTo>
                  <a:lnTo>
                    <a:pt x="942" y="578"/>
                  </a:lnTo>
                  <a:lnTo>
                    <a:pt x="940" y="578"/>
                  </a:lnTo>
                  <a:lnTo>
                    <a:pt x="934" y="582"/>
                  </a:lnTo>
                  <a:lnTo>
                    <a:pt x="930" y="584"/>
                  </a:lnTo>
                  <a:lnTo>
                    <a:pt x="928" y="588"/>
                  </a:lnTo>
                  <a:lnTo>
                    <a:pt x="928" y="594"/>
                  </a:lnTo>
                  <a:lnTo>
                    <a:pt x="930" y="598"/>
                  </a:lnTo>
                  <a:lnTo>
                    <a:pt x="928" y="600"/>
                  </a:lnTo>
                  <a:lnTo>
                    <a:pt x="926" y="602"/>
                  </a:lnTo>
                  <a:lnTo>
                    <a:pt x="922" y="604"/>
                  </a:lnTo>
                  <a:lnTo>
                    <a:pt x="920" y="604"/>
                  </a:lnTo>
                  <a:lnTo>
                    <a:pt x="918" y="598"/>
                  </a:lnTo>
                  <a:lnTo>
                    <a:pt x="918" y="592"/>
                  </a:lnTo>
                  <a:lnTo>
                    <a:pt x="918" y="590"/>
                  </a:lnTo>
                  <a:lnTo>
                    <a:pt x="916" y="590"/>
                  </a:lnTo>
                  <a:lnTo>
                    <a:pt x="914" y="588"/>
                  </a:lnTo>
                  <a:lnTo>
                    <a:pt x="914" y="586"/>
                  </a:lnTo>
                  <a:lnTo>
                    <a:pt x="914" y="578"/>
                  </a:lnTo>
                  <a:lnTo>
                    <a:pt x="914" y="574"/>
                  </a:lnTo>
                  <a:lnTo>
                    <a:pt x="912" y="574"/>
                  </a:lnTo>
                  <a:lnTo>
                    <a:pt x="906" y="576"/>
                  </a:lnTo>
                  <a:lnTo>
                    <a:pt x="898" y="584"/>
                  </a:lnTo>
                  <a:lnTo>
                    <a:pt x="888" y="590"/>
                  </a:lnTo>
                  <a:lnTo>
                    <a:pt x="882" y="594"/>
                  </a:lnTo>
                  <a:lnTo>
                    <a:pt x="878" y="594"/>
                  </a:lnTo>
                  <a:lnTo>
                    <a:pt x="874" y="592"/>
                  </a:lnTo>
                  <a:lnTo>
                    <a:pt x="870" y="586"/>
                  </a:lnTo>
                  <a:lnTo>
                    <a:pt x="866" y="584"/>
                  </a:lnTo>
                  <a:lnTo>
                    <a:pt x="860" y="584"/>
                  </a:lnTo>
                  <a:lnTo>
                    <a:pt x="854" y="586"/>
                  </a:lnTo>
                  <a:lnTo>
                    <a:pt x="848" y="586"/>
                  </a:lnTo>
                  <a:lnTo>
                    <a:pt x="844" y="584"/>
                  </a:lnTo>
                  <a:lnTo>
                    <a:pt x="842" y="580"/>
                  </a:lnTo>
                  <a:lnTo>
                    <a:pt x="834" y="572"/>
                  </a:lnTo>
                  <a:lnTo>
                    <a:pt x="830" y="570"/>
                  </a:lnTo>
                  <a:lnTo>
                    <a:pt x="822" y="570"/>
                  </a:lnTo>
                  <a:lnTo>
                    <a:pt x="814" y="570"/>
                  </a:lnTo>
                  <a:lnTo>
                    <a:pt x="808" y="568"/>
                  </a:lnTo>
                  <a:lnTo>
                    <a:pt x="804" y="564"/>
                  </a:lnTo>
                  <a:lnTo>
                    <a:pt x="802" y="560"/>
                  </a:lnTo>
                  <a:lnTo>
                    <a:pt x="798" y="554"/>
                  </a:lnTo>
                  <a:lnTo>
                    <a:pt x="796" y="554"/>
                  </a:lnTo>
                  <a:lnTo>
                    <a:pt x="792" y="554"/>
                  </a:lnTo>
                  <a:lnTo>
                    <a:pt x="788" y="554"/>
                  </a:lnTo>
                  <a:lnTo>
                    <a:pt x="784" y="554"/>
                  </a:lnTo>
                  <a:lnTo>
                    <a:pt x="782" y="550"/>
                  </a:lnTo>
                  <a:lnTo>
                    <a:pt x="776" y="546"/>
                  </a:lnTo>
                  <a:lnTo>
                    <a:pt x="774" y="544"/>
                  </a:lnTo>
                  <a:lnTo>
                    <a:pt x="768" y="542"/>
                  </a:lnTo>
                  <a:lnTo>
                    <a:pt x="758" y="542"/>
                  </a:lnTo>
                  <a:lnTo>
                    <a:pt x="752" y="544"/>
                  </a:lnTo>
                  <a:lnTo>
                    <a:pt x="750" y="546"/>
                  </a:lnTo>
                  <a:lnTo>
                    <a:pt x="750" y="548"/>
                  </a:lnTo>
                  <a:lnTo>
                    <a:pt x="754" y="556"/>
                  </a:lnTo>
                  <a:lnTo>
                    <a:pt x="756" y="558"/>
                  </a:lnTo>
                  <a:lnTo>
                    <a:pt x="762" y="560"/>
                  </a:lnTo>
                  <a:lnTo>
                    <a:pt x="774" y="560"/>
                  </a:lnTo>
                  <a:lnTo>
                    <a:pt x="778" y="560"/>
                  </a:lnTo>
                  <a:lnTo>
                    <a:pt x="782" y="564"/>
                  </a:lnTo>
                  <a:lnTo>
                    <a:pt x="784" y="570"/>
                  </a:lnTo>
                  <a:lnTo>
                    <a:pt x="782" y="580"/>
                  </a:lnTo>
                  <a:lnTo>
                    <a:pt x="778" y="594"/>
                  </a:lnTo>
                  <a:lnTo>
                    <a:pt x="778" y="596"/>
                  </a:lnTo>
                  <a:lnTo>
                    <a:pt x="776" y="596"/>
                  </a:lnTo>
                  <a:lnTo>
                    <a:pt x="768" y="594"/>
                  </a:lnTo>
                  <a:lnTo>
                    <a:pt x="760" y="594"/>
                  </a:lnTo>
                  <a:lnTo>
                    <a:pt x="750" y="596"/>
                  </a:lnTo>
                  <a:lnTo>
                    <a:pt x="742" y="596"/>
                  </a:lnTo>
                  <a:lnTo>
                    <a:pt x="736" y="596"/>
                  </a:lnTo>
                  <a:lnTo>
                    <a:pt x="728" y="592"/>
                  </a:lnTo>
                  <a:lnTo>
                    <a:pt x="726" y="592"/>
                  </a:lnTo>
                  <a:lnTo>
                    <a:pt x="720" y="594"/>
                  </a:lnTo>
                  <a:lnTo>
                    <a:pt x="700" y="608"/>
                  </a:lnTo>
                  <a:lnTo>
                    <a:pt x="688" y="620"/>
                  </a:lnTo>
                  <a:lnTo>
                    <a:pt x="680" y="628"/>
                  </a:lnTo>
                  <a:lnTo>
                    <a:pt x="678" y="634"/>
                  </a:lnTo>
                  <a:lnTo>
                    <a:pt x="676" y="638"/>
                  </a:lnTo>
                  <a:lnTo>
                    <a:pt x="676" y="644"/>
                  </a:lnTo>
                  <a:lnTo>
                    <a:pt x="674" y="652"/>
                  </a:lnTo>
                  <a:lnTo>
                    <a:pt x="670" y="662"/>
                  </a:lnTo>
                  <a:lnTo>
                    <a:pt x="662" y="674"/>
                  </a:lnTo>
                  <a:lnTo>
                    <a:pt x="654" y="688"/>
                  </a:lnTo>
                  <a:lnTo>
                    <a:pt x="650" y="698"/>
                  </a:lnTo>
                  <a:lnTo>
                    <a:pt x="652" y="706"/>
                  </a:lnTo>
                  <a:lnTo>
                    <a:pt x="654" y="710"/>
                  </a:lnTo>
                  <a:lnTo>
                    <a:pt x="662" y="716"/>
                  </a:lnTo>
                  <a:lnTo>
                    <a:pt x="662" y="720"/>
                  </a:lnTo>
                  <a:lnTo>
                    <a:pt x="658" y="724"/>
                  </a:lnTo>
                  <a:lnTo>
                    <a:pt x="652" y="728"/>
                  </a:lnTo>
                  <a:lnTo>
                    <a:pt x="648" y="730"/>
                  </a:lnTo>
                  <a:lnTo>
                    <a:pt x="644" y="730"/>
                  </a:lnTo>
                  <a:lnTo>
                    <a:pt x="640" y="728"/>
                  </a:lnTo>
                  <a:lnTo>
                    <a:pt x="630" y="722"/>
                  </a:lnTo>
                  <a:lnTo>
                    <a:pt x="626" y="722"/>
                  </a:lnTo>
                  <a:lnTo>
                    <a:pt x="618" y="722"/>
                  </a:lnTo>
                  <a:lnTo>
                    <a:pt x="612" y="722"/>
                  </a:lnTo>
                  <a:lnTo>
                    <a:pt x="608" y="718"/>
                  </a:lnTo>
                  <a:lnTo>
                    <a:pt x="596" y="712"/>
                  </a:lnTo>
                  <a:lnTo>
                    <a:pt x="574" y="688"/>
                  </a:lnTo>
                  <a:lnTo>
                    <a:pt x="562" y="676"/>
                  </a:lnTo>
                  <a:lnTo>
                    <a:pt x="554" y="670"/>
                  </a:lnTo>
                  <a:lnTo>
                    <a:pt x="550" y="668"/>
                  </a:lnTo>
                  <a:lnTo>
                    <a:pt x="548" y="668"/>
                  </a:lnTo>
                  <a:lnTo>
                    <a:pt x="546" y="670"/>
                  </a:lnTo>
                  <a:lnTo>
                    <a:pt x="544" y="674"/>
                  </a:lnTo>
                  <a:lnTo>
                    <a:pt x="542" y="682"/>
                  </a:lnTo>
                  <a:lnTo>
                    <a:pt x="540" y="684"/>
                  </a:lnTo>
                  <a:lnTo>
                    <a:pt x="536" y="684"/>
                  </a:lnTo>
                  <a:lnTo>
                    <a:pt x="532" y="682"/>
                  </a:lnTo>
                  <a:lnTo>
                    <a:pt x="526" y="678"/>
                  </a:lnTo>
                  <a:lnTo>
                    <a:pt x="522" y="678"/>
                  </a:lnTo>
                  <a:lnTo>
                    <a:pt x="518" y="682"/>
                  </a:lnTo>
                  <a:lnTo>
                    <a:pt x="516" y="690"/>
                  </a:lnTo>
                  <a:lnTo>
                    <a:pt x="516" y="698"/>
                  </a:lnTo>
                  <a:lnTo>
                    <a:pt x="514" y="700"/>
                  </a:lnTo>
                  <a:lnTo>
                    <a:pt x="510" y="700"/>
                  </a:lnTo>
                  <a:lnTo>
                    <a:pt x="508" y="698"/>
                  </a:lnTo>
                  <a:lnTo>
                    <a:pt x="502" y="696"/>
                  </a:lnTo>
                  <a:lnTo>
                    <a:pt x="498" y="698"/>
                  </a:lnTo>
                  <a:lnTo>
                    <a:pt x="490" y="704"/>
                  </a:lnTo>
                  <a:lnTo>
                    <a:pt x="482" y="718"/>
                  </a:lnTo>
                  <a:lnTo>
                    <a:pt x="474" y="732"/>
                  </a:lnTo>
                  <a:lnTo>
                    <a:pt x="468" y="742"/>
                  </a:lnTo>
                  <a:lnTo>
                    <a:pt x="458" y="752"/>
                  </a:lnTo>
                  <a:lnTo>
                    <a:pt x="454" y="756"/>
                  </a:lnTo>
                  <a:lnTo>
                    <a:pt x="452" y="762"/>
                  </a:lnTo>
                  <a:lnTo>
                    <a:pt x="450" y="768"/>
                  </a:lnTo>
                  <a:lnTo>
                    <a:pt x="448" y="780"/>
                  </a:lnTo>
                  <a:lnTo>
                    <a:pt x="448" y="794"/>
                  </a:lnTo>
                  <a:lnTo>
                    <a:pt x="446" y="798"/>
                  </a:lnTo>
                  <a:lnTo>
                    <a:pt x="444" y="800"/>
                  </a:lnTo>
                  <a:lnTo>
                    <a:pt x="440" y="798"/>
                  </a:lnTo>
                  <a:lnTo>
                    <a:pt x="434" y="794"/>
                  </a:lnTo>
                  <a:lnTo>
                    <a:pt x="428" y="792"/>
                  </a:lnTo>
                  <a:lnTo>
                    <a:pt x="426" y="792"/>
                  </a:lnTo>
                  <a:lnTo>
                    <a:pt x="422" y="794"/>
                  </a:lnTo>
                  <a:lnTo>
                    <a:pt x="420" y="798"/>
                  </a:lnTo>
                  <a:lnTo>
                    <a:pt x="418" y="804"/>
                  </a:lnTo>
                  <a:lnTo>
                    <a:pt x="416" y="824"/>
                  </a:lnTo>
                  <a:lnTo>
                    <a:pt x="414" y="840"/>
                  </a:lnTo>
                  <a:lnTo>
                    <a:pt x="414" y="842"/>
                  </a:lnTo>
                  <a:lnTo>
                    <a:pt x="412" y="842"/>
                  </a:lnTo>
                  <a:lnTo>
                    <a:pt x="408" y="828"/>
                  </a:lnTo>
                  <a:lnTo>
                    <a:pt x="402" y="818"/>
                  </a:lnTo>
                  <a:lnTo>
                    <a:pt x="400" y="812"/>
                  </a:lnTo>
                  <a:lnTo>
                    <a:pt x="396" y="810"/>
                  </a:lnTo>
                  <a:lnTo>
                    <a:pt x="392" y="810"/>
                  </a:lnTo>
                  <a:lnTo>
                    <a:pt x="386" y="812"/>
                  </a:lnTo>
                  <a:lnTo>
                    <a:pt x="382" y="816"/>
                  </a:lnTo>
                  <a:lnTo>
                    <a:pt x="376" y="822"/>
                  </a:lnTo>
                  <a:lnTo>
                    <a:pt x="366" y="840"/>
                  </a:lnTo>
                  <a:lnTo>
                    <a:pt x="360" y="852"/>
                  </a:lnTo>
                  <a:lnTo>
                    <a:pt x="360" y="864"/>
                  </a:lnTo>
                  <a:lnTo>
                    <a:pt x="362" y="872"/>
                  </a:lnTo>
                  <a:lnTo>
                    <a:pt x="362" y="880"/>
                  </a:lnTo>
                  <a:lnTo>
                    <a:pt x="362" y="886"/>
                  </a:lnTo>
                  <a:lnTo>
                    <a:pt x="358" y="894"/>
                  </a:lnTo>
                  <a:lnTo>
                    <a:pt x="350" y="902"/>
                  </a:lnTo>
                  <a:lnTo>
                    <a:pt x="344" y="908"/>
                  </a:lnTo>
                  <a:lnTo>
                    <a:pt x="338" y="916"/>
                  </a:lnTo>
                  <a:lnTo>
                    <a:pt x="334" y="930"/>
                  </a:lnTo>
                  <a:lnTo>
                    <a:pt x="330" y="940"/>
                  </a:lnTo>
                  <a:lnTo>
                    <a:pt x="324" y="948"/>
                  </a:lnTo>
                  <a:lnTo>
                    <a:pt x="316" y="958"/>
                  </a:lnTo>
                  <a:lnTo>
                    <a:pt x="304" y="968"/>
                  </a:lnTo>
                  <a:lnTo>
                    <a:pt x="290" y="976"/>
                  </a:lnTo>
                  <a:lnTo>
                    <a:pt x="276" y="980"/>
                  </a:lnTo>
                  <a:lnTo>
                    <a:pt x="266" y="982"/>
                  </a:lnTo>
                  <a:lnTo>
                    <a:pt x="256" y="980"/>
                  </a:lnTo>
                  <a:lnTo>
                    <a:pt x="240" y="980"/>
                  </a:lnTo>
                  <a:lnTo>
                    <a:pt x="234" y="982"/>
                  </a:lnTo>
                  <a:lnTo>
                    <a:pt x="232" y="986"/>
                  </a:lnTo>
                  <a:lnTo>
                    <a:pt x="228" y="990"/>
                  </a:lnTo>
                  <a:lnTo>
                    <a:pt x="224" y="994"/>
                  </a:lnTo>
                  <a:lnTo>
                    <a:pt x="212" y="998"/>
                  </a:lnTo>
                  <a:lnTo>
                    <a:pt x="198" y="1002"/>
                  </a:lnTo>
                  <a:lnTo>
                    <a:pt x="180" y="1012"/>
                  </a:lnTo>
                  <a:lnTo>
                    <a:pt x="170" y="1016"/>
                  </a:lnTo>
                  <a:lnTo>
                    <a:pt x="162" y="1016"/>
                  </a:lnTo>
                  <a:lnTo>
                    <a:pt x="150" y="1012"/>
                  </a:lnTo>
                  <a:lnTo>
                    <a:pt x="142" y="1012"/>
                  </a:lnTo>
                  <a:lnTo>
                    <a:pt x="134" y="1014"/>
                  </a:lnTo>
                  <a:lnTo>
                    <a:pt x="124" y="1020"/>
                  </a:lnTo>
                  <a:lnTo>
                    <a:pt x="110" y="1034"/>
                  </a:lnTo>
                  <a:lnTo>
                    <a:pt x="98" y="1048"/>
                  </a:lnTo>
                  <a:lnTo>
                    <a:pt x="86" y="1058"/>
                  </a:lnTo>
                  <a:lnTo>
                    <a:pt x="78" y="1062"/>
                  </a:lnTo>
                  <a:lnTo>
                    <a:pt x="72" y="1066"/>
                  </a:lnTo>
                  <a:lnTo>
                    <a:pt x="66" y="1068"/>
                  </a:lnTo>
                  <a:lnTo>
                    <a:pt x="60" y="1074"/>
                  </a:lnTo>
                  <a:lnTo>
                    <a:pt x="54" y="1082"/>
                  </a:lnTo>
                  <a:lnTo>
                    <a:pt x="50" y="1094"/>
                  </a:lnTo>
                  <a:lnTo>
                    <a:pt x="44" y="1104"/>
                  </a:lnTo>
                  <a:lnTo>
                    <a:pt x="42" y="1106"/>
                  </a:lnTo>
                  <a:lnTo>
                    <a:pt x="42" y="1104"/>
                  </a:lnTo>
                  <a:lnTo>
                    <a:pt x="40" y="1100"/>
                  </a:lnTo>
                  <a:lnTo>
                    <a:pt x="38" y="1092"/>
                  </a:lnTo>
                  <a:lnTo>
                    <a:pt x="38" y="1084"/>
                  </a:lnTo>
                  <a:lnTo>
                    <a:pt x="36" y="1078"/>
                  </a:lnTo>
                  <a:lnTo>
                    <a:pt x="34" y="1078"/>
                  </a:lnTo>
                  <a:lnTo>
                    <a:pt x="30" y="1078"/>
                  </a:lnTo>
                  <a:lnTo>
                    <a:pt x="24" y="1088"/>
                  </a:lnTo>
                  <a:lnTo>
                    <a:pt x="18" y="1100"/>
                  </a:lnTo>
                  <a:lnTo>
                    <a:pt x="16" y="1110"/>
                  </a:lnTo>
                  <a:lnTo>
                    <a:pt x="18" y="1118"/>
                  </a:lnTo>
                  <a:lnTo>
                    <a:pt x="20" y="1126"/>
                  </a:lnTo>
                  <a:lnTo>
                    <a:pt x="22" y="1134"/>
                  </a:lnTo>
                  <a:lnTo>
                    <a:pt x="22" y="1144"/>
                  </a:lnTo>
                  <a:lnTo>
                    <a:pt x="20" y="1154"/>
                  </a:lnTo>
                  <a:lnTo>
                    <a:pt x="12" y="1170"/>
                  </a:lnTo>
                  <a:lnTo>
                    <a:pt x="8" y="1180"/>
                  </a:lnTo>
                  <a:lnTo>
                    <a:pt x="4" y="1188"/>
                  </a:lnTo>
                  <a:lnTo>
                    <a:pt x="4" y="1196"/>
                  </a:lnTo>
                  <a:lnTo>
                    <a:pt x="4" y="1204"/>
                  </a:lnTo>
                  <a:lnTo>
                    <a:pt x="8" y="1220"/>
                  </a:lnTo>
                  <a:lnTo>
                    <a:pt x="16" y="1236"/>
                  </a:lnTo>
                  <a:lnTo>
                    <a:pt x="34" y="1266"/>
                  </a:lnTo>
                  <a:lnTo>
                    <a:pt x="40" y="1280"/>
                  </a:lnTo>
                  <a:lnTo>
                    <a:pt x="40" y="1288"/>
                  </a:lnTo>
                  <a:lnTo>
                    <a:pt x="42" y="1294"/>
                  </a:lnTo>
                  <a:lnTo>
                    <a:pt x="40" y="1304"/>
                  </a:lnTo>
                  <a:lnTo>
                    <a:pt x="38" y="1304"/>
                  </a:lnTo>
                  <a:lnTo>
                    <a:pt x="36" y="1304"/>
                  </a:lnTo>
                  <a:lnTo>
                    <a:pt x="32" y="1298"/>
                  </a:lnTo>
                  <a:lnTo>
                    <a:pt x="26" y="1288"/>
                  </a:lnTo>
                  <a:lnTo>
                    <a:pt x="14" y="1268"/>
                  </a:lnTo>
                  <a:lnTo>
                    <a:pt x="10" y="1264"/>
                  </a:lnTo>
                  <a:lnTo>
                    <a:pt x="8" y="1264"/>
                  </a:lnTo>
                  <a:lnTo>
                    <a:pt x="6" y="1270"/>
                  </a:lnTo>
                  <a:lnTo>
                    <a:pt x="8" y="1276"/>
                  </a:lnTo>
                  <a:lnTo>
                    <a:pt x="14" y="1290"/>
                  </a:lnTo>
                  <a:lnTo>
                    <a:pt x="20" y="1304"/>
                  </a:lnTo>
                  <a:lnTo>
                    <a:pt x="22" y="1310"/>
                  </a:lnTo>
                  <a:lnTo>
                    <a:pt x="22" y="1316"/>
                  </a:lnTo>
                  <a:lnTo>
                    <a:pt x="20" y="1316"/>
                  </a:lnTo>
                  <a:lnTo>
                    <a:pt x="16" y="1312"/>
                  </a:lnTo>
                  <a:lnTo>
                    <a:pt x="10" y="1298"/>
                  </a:lnTo>
                  <a:lnTo>
                    <a:pt x="6" y="1292"/>
                  </a:lnTo>
                  <a:lnTo>
                    <a:pt x="2" y="1288"/>
                  </a:lnTo>
                  <a:lnTo>
                    <a:pt x="0" y="1290"/>
                  </a:lnTo>
                  <a:lnTo>
                    <a:pt x="0" y="1298"/>
                  </a:lnTo>
                  <a:lnTo>
                    <a:pt x="0" y="1306"/>
                  </a:lnTo>
                  <a:lnTo>
                    <a:pt x="4" y="1316"/>
                  </a:lnTo>
                  <a:lnTo>
                    <a:pt x="18" y="1334"/>
                  </a:lnTo>
                  <a:lnTo>
                    <a:pt x="30" y="1354"/>
                  </a:lnTo>
                  <a:lnTo>
                    <a:pt x="34" y="1364"/>
                  </a:lnTo>
                  <a:lnTo>
                    <a:pt x="36" y="1374"/>
                  </a:lnTo>
                  <a:lnTo>
                    <a:pt x="36" y="1390"/>
                  </a:lnTo>
                  <a:lnTo>
                    <a:pt x="40" y="1402"/>
                  </a:lnTo>
                  <a:lnTo>
                    <a:pt x="48" y="1414"/>
                  </a:lnTo>
                  <a:lnTo>
                    <a:pt x="60" y="1438"/>
                  </a:lnTo>
                  <a:lnTo>
                    <a:pt x="66" y="1452"/>
                  </a:lnTo>
                  <a:lnTo>
                    <a:pt x="68" y="1462"/>
                  </a:lnTo>
                  <a:lnTo>
                    <a:pt x="68" y="1482"/>
                  </a:lnTo>
                  <a:lnTo>
                    <a:pt x="70" y="1494"/>
                  </a:lnTo>
                  <a:lnTo>
                    <a:pt x="72" y="1510"/>
                  </a:lnTo>
                  <a:lnTo>
                    <a:pt x="76" y="1530"/>
                  </a:lnTo>
                  <a:lnTo>
                    <a:pt x="86" y="1556"/>
                  </a:lnTo>
                  <a:lnTo>
                    <a:pt x="96" y="1580"/>
                  </a:lnTo>
                  <a:lnTo>
                    <a:pt x="100" y="1598"/>
                  </a:lnTo>
                  <a:lnTo>
                    <a:pt x="102" y="1610"/>
                  </a:lnTo>
                  <a:lnTo>
                    <a:pt x="100" y="1620"/>
                  </a:lnTo>
                  <a:lnTo>
                    <a:pt x="96" y="1632"/>
                  </a:lnTo>
                  <a:lnTo>
                    <a:pt x="94" y="1638"/>
                  </a:lnTo>
                  <a:lnTo>
                    <a:pt x="94" y="1646"/>
                  </a:lnTo>
                  <a:lnTo>
                    <a:pt x="96" y="1656"/>
                  </a:lnTo>
                  <a:lnTo>
                    <a:pt x="96" y="1664"/>
                  </a:lnTo>
                  <a:lnTo>
                    <a:pt x="94" y="1672"/>
                  </a:lnTo>
                  <a:lnTo>
                    <a:pt x="92" y="1678"/>
                  </a:lnTo>
                  <a:lnTo>
                    <a:pt x="88" y="1682"/>
                  </a:lnTo>
                  <a:lnTo>
                    <a:pt x="84" y="1684"/>
                  </a:lnTo>
                  <a:lnTo>
                    <a:pt x="80" y="1684"/>
                  </a:lnTo>
                  <a:lnTo>
                    <a:pt x="74" y="1684"/>
                  </a:lnTo>
                  <a:lnTo>
                    <a:pt x="70" y="1684"/>
                  </a:lnTo>
                  <a:lnTo>
                    <a:pt x="68" y="1688"/>
                  </a:lnTo>
                  <a:lnTo>
                    <a:pt x="66" y="1694"/>
                  </a:lnTo>
                  <a:lnTo>
                    <a:pt x="66" y="1702"/>
                  </a:lnTo>
                  <a:lnTo>
                    <a:pt x="68" y="1710"/>
                  </a:lnTo>
                  <a:lnTo>
                    <a:pt x="70" y="1716"/>
                  </a:lnTo>
                  <a:lnTo>
                    <a:pt x="76" y="1722"/>
                  </a:lnTo>
                  <a:lnTo>
                    <a:pt x="82" y="1722"/>
                  </a:lnTo>
                  <a:lnTo>
                    <a:pt x="88" y="1722"/>
                  </a:lnTo>
                  <a:lnTo>
                    <a:pt x="92" y="1726"/>
                  </a:lnTo>
                  <a:lnTo>
                    <a:pt x="104" y="1738"/>
                  </a:lnTo>
                  <a:lnTo>
                    <a:pt x="114" y="1746"/>
                  </a:lnTo>
                  <a:lnTo>
                    <a:pt x="124" y="1754"/>
                  </a:lnTo>
                  <a:lnTo>
                    <a:pt x="138" y="1760"/>
                  </a:lnTo>
                  <a:lnTo>
                    <a:pt x="156" y="1762"/>
                  </a:lnTo>
                  <a:lnTo>
                    <a:pt x="174" y="1764"/>
                  </a:lnTo>
                  <a:lnTo>
                    <a:pt x="188" y="1760"/>
                  </a:lnTo>
                  <a:lnTo>
                    <a:pt x="200" y="1756"/>
                  </a:lnTo>
                  <a:lnTo>
                    <a:pt x="208" y="1750"/>
                  </a:lnTo>
                  <a:lnTo>
                    <a:pt x="222" y="1736"/>
                  </a:lnTo>
                  <a:lnTo>
                    <a:pt x="230" y="1732"/>
                  </a:lnTo>
                  <a:lnTo>
                    <a:pt x="238" y="1730"/>
                  </a:lnTo>
                  <a:lnTo>
                    <a:pt x="246" y="1728"/>
                  </a:lnTo>
                  <a:lnTo>
                    <a:pt x="252" y="1724"/>
                  </a:lnTo>
                  <a:lnTo>
                    <a:pt x="254" y="1720"/>
                  </a:lnTo>
                  <a:lnTo>
                    <a:pt x="258" y="1714"/>
                  </a:lnTo>
                  <a:lnTo>
                    <a:pt x="260" y="1708"/>
                  </a:lnTo>
                  <a:lnTo>
                    <a:pt x="264" y="1704"/>
                  </a:lnTo>
                  <a:lnTo>
                    <a:pt x="270" y="1702"/>
                  </a:lnTo>
                  <a:lnTo>
                    <a:pt x="278" y="1700"/>
                  </a:lnTo>
                  <a:lnTo>
                    <a:pt x="290" y="1700"/>
                  </a:lnTo>
                  <a:lnTo>
                    <a:pt x="300" y="1700"/>
                  </a:lnTo>
                  <a:lnTo>
                    <a:pt x="316" y="1696"/>
                  </a:lnTo>
                  <a:lnTo>
                    <a:pt x="322" y="1694"/>
                  </a:lnTo>
                  <a:lnTo>
                    <a:pt x="328" y="1694"/>
                  </a:lnTo>
                  <a:lnTo>
                    <a:pt x="336" y="1694"/>
                  </a:lnTo>
                  <a:lnTo>
                    <a:pt x="344" y="1698"/>
                  </a:lnTo>
                  <a:lnTo>
                    <a:pt x="354" y="1702"/>
                  </a:lnTo>
                  <a:lnTo>
                    <a:pt x="360" y="1704"/>
                  </a:lnTo>
                  <a:lnTo>
                    <a:pt x="364" y="1704"/>
                  </a:lnTo>
                  <a:lnTo>
                    <a:pt x="368" y="1702"/>
                  </a:lnTo>
                  <a:lnTo>
                    <a:pt x="372" y="1698"/>
                  </a:lnTo>
                  <a:lnTo>
                    <a:pt x="378" y="1698"/>
                  </a:lnTo>
                  <a:lnTo>
                    <a:pt x="386" y="1698"/>
                  </a:lnTo>
                  <a:lnTo>
                    <a:pt x="398" y="1702"/>
                  </a:lnTo>
                  <a:lnTo>
                    <a:pt x="406" y="1702"/>
                  </a:lnTo>
                  <a:lnTo>
                    <a:pt x="410" y="1702"/>
                  </a:lnTo>
                  <a:lnTo>
                    <a:pt x="416" y="1702"/>
                  </a:lnTo>
                  <a:lnTo>
                    <a:pt x="420" y="1698"/>
                  </a:lnTo>
                  <a:lnTo>
                    <a:pt x="426" y="1690"/>
                  </a:lnTo>
                  <a:lnTo>
                    <a:pt x="430" y="1678"/>
                  </a:lnTo>
                  <a:lnTo>
                    <a:pt x="434" y="1668"/>
                  </a:lnTo>
                  <a:lnTo>
                    <a:pt x="438" y="1656"/>
                  </a:lnTo>
                  <a:lnTo>
                    <a:pt x="446" y="1650"/>
                  </a:lnTo>
                  <a:lnTo>
                    <a:pt x="450" y="1646"/>
                  </a:lnTo>
                  <a:lnTo>
                    <a:pt x="454" y="1646"/>
                  </a:lnTo>
                  <a:lnTo>
                    <a:pt x="464" y="1644"/>
                  </a:lnTo>
                  <a:lnTo>
                    <a:pt x="472" y="1640"/>
                  </a:lnTo>
                  <a:lnTo>
                    <a:pt x="484" y="1628"/>
                  </a:lnTo>
                  <a:lnTo>
                    <a:pt x="492" y="1622"/>
                  </a:lnTo>
                  <a:lnTo>
                    <a:pt x="502" y="1616"/>
                  </a:lnTo>
                  <a:lnTo>
                    <a:pt x="514" y="1614"/>
                  </a:lnTo>
                  <a:lnTo>
                    <a:pt x="530" y="1614"/>
                  </a:lnTo>
                  <a:lnTo>
                    <a:pt x="544" y="1614"/>
                  </a:lnTo>
                  <a:lnTo>
                    <a:pt x="556" y="1614"/>
                  </a:lnTo>
                  <a:lnTo>
                    <a:pt x="578" y="1610"/>
                  </a:lnTo>
                  <a:lnTo>
                    <a:pt x="596" y="1602"/>
                  </a:lnTo>
                  <a:lnTo>
                    <a:pt x="614" y="1594"/>
                  </a:lnTo>
                  <a:lnTo>
                    <a:pt x="630" y="1586"/>
                  </a:lnTo>
                  <a:lnTo>
                    <a:pt x="644" y="1580"/>
                  </a:lnTo>
                  <a:lnTo>
                    <a:pt x="660" y="1574"/>
                  </a:lnTo>
                  <a:lnTo>
                    <a:pt x="668" y="1574"/>
                  </a:lnTo>
                  <a:lnTo>
                    <a:pt x="676" y="1574"/>
                  </a:lnTo>
                  <a:lnTo>
                    <a:pt x="696" y="1578"/>
                  </a:lnTo>
                  <a:lnTo>
                    <a:pt x="706" y="1576"/>
                  </a:lnTo>
                  <a:lnTo>
                    <a:pt x="712" y="1574"/>
                  </a:lnTo>
                  <a:lnTo>
                    <a:pt x="716" y="1572"/>
                  </a:lnTo>
                  <a:lnTo>
                    <a:pt x="718" y="1570"/>
                  </a:lnTo>
                  <a:lnTo>
                    <a:pt x="724" y="1572"/>
                  </a:lnTo>
                  <a:lnTo>
                    <a:pt x="752" y="1586"/>
                  </a:lnTo>
                  <a:lnTo>
                    <a:pt x="772" y="1596"/>
                  </a:lnTo>
                  <a:lnTo>
                    <a:pt x="786" y="1602"/>
                  </a:lnTo>
                  <a:lnTo>
                    <a:pt x="798" y="1606"/>
                  </a:lnTo>
                  <a:lnTo>
                    <a:pt x="806" y="1606"/>
                  </a:lnTo>
                  <a:lnTo>
                    <a:pt x="822" y="1608"/>
                  </a:lnTo>
                  <a:lnTo>
                    <a:pt x="828" y="1612"/>
                  </a:lnTo>
                  <a:lnTo>
                    <a:pt x="838" y="1618"/>
                  </a:lnTo>
                  <a:lnTo>
                    <a:pt x="846" y="1626"/>
                  </a:lnTo>
                  <a:lnTo>
                    <a:pt x="848" y="1632"/>
                  </a:lnTo>
                  <a:lnTo>
                    <a:pt x="848" y="1636"/>
                  </a:lnTo>
                  <a:lnTo>
                    <a:pt x="846" y="1642"/>
                  </a:lnTo>
                  <a:lnTo>
                    <a:pt x="844" y="1646"/>
                  </a:lnTo>
                  <a:lnTo>
                    <a:pt x="844" y="1650"/>
                  </a:lnTo>
                  <a:lnTo>
                    <a:pt x="848" y="1656"/>
                  </a:lnTo>
                  <a:lnTo>
                    <a:pt x="860" y="1662"/>
                  </a:lnTo>
                  <a:lnTo>
                    <a:pt x="866" y="1666"/>
                  </a:lnTo>
                  <a:lnTo>
                    <a:pt x="870" y="1672"/>
                  </a:lnTo>
                  <a:lnTo>
                    <a:pt x="876" y="1682"/>
                  </a:lnTo>
                  <a:lnTo>
                    <a:pt x="880" y="1694"/>
                  </a:lnTo>
                  <a:lnTo>
                    <a:pt x="882" y="1708"/>
                  </a:lnTo>
                  <a:lnTo>
                    <a:pt x="884" y="1722"/>
                  </a:lnTo>
                  <a:lnTo>
                    <a:pt x="886" y="1732"/>
                  </a:lnTo>
                  <a:lnTo>
                    <a:pt x="892" y="1742"/>
                  </a:lnTo>
                  <a:lnTo>
                    <a:pt x="894" y="1746"/>
                  </a:lnTo>
                  <a:lnTo>
                    <a:pt x="900" y="1748"/>
                  </a:lnTo>
                  <a:lnTo>
                    <a:pt x="914" y="1756"/>
                  </a:lnTo>
                  <a:lnTo>
                    <a:pt x="914" y="1758"/>
                  </a:lnTo>
                  <a:lnTo>
                    <a:pt x="914" y="1756"/>
                  </a:lnTo>
                  <a:lnTo>
                    <a:pt x="914" y="1750"/>
                  </a:lnTo>
                  <a:lnTo>
                    <a:pt x="916" y="1742"/>
                  </a:lnTo>
                  <a:lnTo>
                    <a:pt x="920" y="1730"/>
                  </a:lnTo>
                  <a:lnTo>
                    <a:pt x="932" y="1716"/>
                  </a:lnTo>
                  <a:lnTo>
                    <a:pt x="944" y="1702"/>
                  </a:lnTo>
                  <a:lnTo>
                    <a:pt x="952" y="1694"/>
                  </a:lnTo>
                  <a:lnTo>
                    <a:pt x="958" y="1690"/>
                  </a:lnTo>
                  <a:lnTo>
                    <a:pt x="962" y="1690"/>
                  </a:lnTo>
                  <a:lnTo>
                    <a:pt x="964" y="1690"/>
                  </a:lnTo>
                  <a:lnTo>
                    <a:pt x="966" y="1680"/>
                  </a:lnTo>
                  <a:lnTo>
                    <a:pt x="968" y="1672"/>
                  </a:lnTo>
                  <a:lnTo>
                    <a:pt x="972" y="1666"/>
                  </a:lnTo>
                  <a:lnTo>
                    <a:pt x="980" y="1658"/>
                  </a:lnTo>
                  <a:lnTo>
                    <a:pt x="986" y="1650"/>
                  </a:lnTo>
                  <a:lnTo>
                    <a:pt x="988" y="1646"/>
                  </a:lnTo>
                  <a:lnTo>
                    <a:pt x="990" y="1640"/>
                  </a:lnTo>
                  <a:lnTo>
                    <a:pt x="990" y="1632"/>
                  </a:lnTo>
                  <a:lnTo>
                    <a:pt x="990" y="1630"/>
                  </a:lnTo>
                  <a:lnTo>
                    <a:pt x="990" y="1632"/>
                  </a:lnTo>
                  <a:lnTo>
                    <a:pt x="998" y="1646"/>
                  </a:lnTo>
                  <a:lnTo>
                    <a:pt x="998" y="1654"/>
                  </a:lnTo>
                  <a:lnTo>
                    <a:pt x="996" y="1664"/>
                  </a:lnTo>
                  <a:lnTo>
                    <a:pt x="988" y="1686"/>
                  </a:lnTo>
                  <a:lnTo>
                    <a:pt x="980" y="1710"/>
                  </a:lnTo>
                  <a:lnTo>
                    <a:pt x="978" y="1718"/>
                  </a:lnTo>
                  <a:lnTo>
                    <a:pt x="978" y="1726"/>
                  </a:lnTo>
                  <a:lnTo>
                    <a:pt x="980" y="1736"/>
                  </a:lnTo>
                  <a:lnTo>
                    <a:pt x="980" y="1746"/>
                  </a:lnTo>
                  <a:lnTo>
                    <a:pt x="976" y="1750"/>
                  </a:lnTo>
                  <a:lnTo>
                    <a:pt x="972" y="1752"/>
                  </a:lnTo>
                  <a:lnTo>
                    <a:pt x="968" y="1752"/>
                  </a:lnTo>
                  <a:lnTo>
                    <a:pt x="964" y="1754"/>
                  </a:lnTo>
                  <a:lnTo>
                    <a:pt x="960" y="1756"/>
                  </a:lnTo>
                  <a:lnTo>
                    <a:pt x="956" y="1758"/>
                  </a:lnTo>
                  <a:lnTo>
                    <a:pt x="954" y="1762"/>
                  </a:lnTo>
                  <a:lnTo>
                    <a:pt x="954" y="1766"/>
                  </a:lnTo>
                  <a:lnTo>
                    <a:pt x="958" y="1770"/>
                  </a:lnTo>
                  <a:lnTo>
                    <a:pt x="962" y="1770"/>
                  </a:lnTo>
                  <a:lnTo>
                    <a:pt x="972" y="1770"/>
                  </a:lnTo>
                  <a:lnTo>
                    <a:pt x="978" y="1770"/>
                  </a:lnTo>
                  <a:lnTo>
                    <a:pt x="982" y="1766"/>
                  </a:lnTo>
                  <a:lnTo>
                    <a:pt x="990" y="1758"/>
                  </a:lnTo>
                  <a:lnTo>
                    <a:pt x="994" y="1750"/>
                  </a:lnTo>
                  <a:lnTo>
                    <a:pt x="996" y="1740"/>
                  </a:lnTo>
                  <a:lnTo>
                    <a:pt x="1000" y="1730"/>
                  </a:lnTo>
                  <a:lnTo>
                    <a:pt x="1002" y="1726"/>
                  </a:lnTo>
                  <a:lnTo>
                    <a:pt x="1004" y="1726"/>
                  </a:lnTo>
                  <a:lnTo>
                    <a:pt x="1006" y="1726"/>
                  </a:lnTo>
                  <a:lnTo>
                    <a:pt x="1012" y="1734"/>
                  </a:lnTo>
                  <a:lnTo>
                    <a:pt x="1016" y="1744"/>
                  </a:lnTo>
                  <a:lnTo>
                    <a:pt x="1018" y="1754"/>
                  </a:lnTo>
                  <a:lnTo>
                    <a:pt x="1016" y="1762"/>
                  </a:lnTo>
                  <a:lnTo>
                    <a:pt x="1014" y="1770"/>
                  </a:lnTo>
                  <a:lnTo>
                    <a:pt x="1006" y="1784"/>
                  </a:lnTo>
                  <a:lnTo>
                    <a:pt x="1004" y="1788"/>
                  </a:lnTo>
                  <a:lnTo>
                    <a:pt x="1006" y="1792"/>
                  </a:lnTo>
                  <a:lnTo>
                    <a:pt x="1008" y="1794"/>
                  </a:lnTo>
                  <a:lnTo>
                    <a:pt x="1012" y="1794"/>
                  </a:lnTo>
                  <a:lnTo>
                    <a:pt x="1020" y="1792"/>
                  </a:lnTo>
                  <a:lnTo>
                    <a:pt x="1030" y="1792"/>
                  </a:lnTo>
                  <a:lnTo>
                    <a:pt x="1036" y="1792"/>
                  </a:lnTo>
                  <a:lnTo>
                    <a:pt x="1042" y="1794"/>
                  </a:lnTo>
                  <a:lnTo>
                    <a:pt x="1048" y="1800"/>
                  </a:lnTo>
                  <a:lnTo>
                    <a:pt x="1054" y="1806"/>
                  </a:lnTo>
                  <a:lnTo>
                    <a:pt x="1060" y="1814"/>
                  </a:lnTo>
                  <a:lnTo>
                    <a:pt x="1066" y="1824"/>
                  </a:lnTo>
                  <a:lnTo>
                    <a:pt x="1070" y="1832"/>
                  </a:lnTo>
                  <a:lnTo>
                    <a:pt x="1072" y="1842"/>
                  </a:lnTo>
                  <a:lnTo>
                    <a:pt x="1072" y="1850"/>
                  </a:lnTo>
                  <a:lnTo>
                    <a:pt x="1070" y="1858"/>
                  </a:lnTo>
                  <a:lnTo>
                    <a:pt x="1068" y="1866"/>
                  </a:lnTo>
                  <a:lnTo>
                    <a:pt x="1068" y="1874"/>
                  </a:lnTo>
                  <a:lnTo>
                    <a:pt x="1074" y="1886"/>
                  </a:lnTo>
                  <a:lnTo>
                    <a:pt x="1080" y="1896"/>
                  </a:lnTo>
                  <a:lnTo>
                    <a:pt x="1088" y="1904"/>
                  </a:lnTo>
                  <a:lnTo>
                    <a:pt x="1098" y="1914"/>
                  </a:lnTo>
                  <a:lnTo>
                    <a:pt x="1106" y="1920"/>
                  </a:lnTo>
                  <a:lnTo>
                    <a:pt x="1114" y="1924"/>
                  </a:lnTo>
                  <a:lnTo>
                    <a:pt x="1120" y="1926"/>
                  </a:lnTo>
                  <a:lnTo>
                    <a:pt x="1126" y="1930"/>
                  </a:lnTo>
                  <a:lnTo>
                    <a:pt x="1134" y="1938"/>
                  </a:lnTo>
                  <a:lnTo>
                    <a:pt x="1138" y="1944"/>
                  </a:lnTo>
                  <a:lnTo>
                    <a:pt x="1142" y="1944"/>
                  </a:lnTo>
                  <a:lnTo>
                    <a:pt x="1146" y="1942"/>
                  </a:lnTo>
                  <a:lnTo>
                    <a:pt x="1152" y="1936"/>
                  </a:lnTo>
                  <a:lnTo>
                    <a:pt x="1156" y="1936"/>
                  </a:lnTo>
                  <a:lnTo>
                    <a:pt x="1160" y="1936"/>
                  </a:lnTo>
                  <a:lnTo>
                    <a:pt x="1176" y="1942"/>
                  </a:lnTo>
                  <a:lnTo>
                    <a:pt x="1198" y="1956"/>
                  </a:lnTo>
                  <a:lnTo>
                    <a:pt x="1210" y="1962"/>
                  </a:lnTo>
                  <a:lnTo>
                    <a:pt x="1218" y="1964"/>
                  </a:lnTo>
                  <a:lnTo>
                    <a:pt x="1224" y="1964"/>
                  </a:lnTo>
                  <a:lnTo>
                    <a:pt x="1230" y="1960"/>
                  </a:lnTo>
                  <a:lnTo>
                    <a:pt x="1238" y="1952"/>
                  </a:lnTo>
                  <a:lnTo>
                    <a:pt x="1244" y="1946"/>
                  </a:lnTo>
                  <a:lnTo>
                    <a:pt x="1252" y="1940"/>
                  </a:lnTo>
                  <a:lnTo>
                    <a:pt x="1260" y="1936"/>
                  </a:lnTo>
                  <a:lnTo>
                    <a:pt x="1264" y="1930"/>
                  </a:lnTo>
                  <a:lnTo>
                    <a:pt x="1270" y="1920"/>
                  </a:lnTo>
                  <a:lnTo>
                    <a:pt x="1270" y="1918"/>
                  </a:lnTo>
                  <a:lnTo>
                    <a:pt x="1272" y="1916"/>
                  </a:lnTo>
                  <a:lnTo>
                    <a:pt x="1276" y="1916"/>
                  </a:lnTo>
                  <a:lnTo>
                    <a:pt x="1282" y="1918"/>
                  </a:lnTo>
                  <a:lnTo>
                    <a:pt x="1286" y="1924"/>
                  </a:lnTo>
                  <a:lnTo>
                    <a:pt x="1288" y="1928"/>
                  </a:lnTo>
                  <a:lnTo>
                    <a:pt x="1284" y="1930"/>
                  </a:lnTo>
                  <a:lnTo>
                    <a:pt x="1280" y="1934"/>
                  </a:lnTo>
                  <a:lnTo>
                    <a:pt x="1274" y="1940"/>
                  </a:lnTo>
                  <a:lnTo>
                    <a:pt x="1274" y="1944"/>
                  </a:lnTo>
                  <a:lnTo>
                    <a:pt x="1278" y="1946"/>
                  </a:lnTo>
                  <a:lnTo>
                    <a:pt x="1282" y="1948"/>
                  </a:lnTo>
                  <a:lnTo>
                    <a:pt x="1288" y="1948"/>
                  </a:lnTo>
                  <a:lnTo>
                    <a:pt x="1290" y="1944"/>
                  </a:lnTo>
                  <a:lnTo>
                    <a:pt x="1292" y="1942"/>
                  </a:lnTo>
                  <a:lnTo>
                    <a:pt x="1296" y="1936"/>
                  </a:lnTo>
                  <a:lnTo>
                    <a:pt x="1296" y="1942"/>
                  </a:lnTo>
                  <a:lnTo>
                    <a:pt x="1298" y="1948"/>
                  </a:lnTo>
                  <a:lnTo>
                    <a:pt x="1300" y="1952"/>
                  </a:lnTo>
                  <a:lnTo>
                    <a:pt x="1306" y="1956"/>
                  </a:lnTo>
                  <a:lnTo>
                    <a:pt x="1316" y="1964"/>
                  </a:lnTo>
                  <a:lnTo>
                    <a:pt x="1324" y="1970"/>
                  </a:lnTo>
                  <a:lnTo>
                    <a:pt x="1334" y="1982"/>
                  </a:lnTo>
                  <a:lnTo>
                    <a:pt x="1338" y="1988"/>
                  </a:lnTo>
                  <a:lnTo>
                    <a:pt x="1340" y="1988"/>
                  </a:lnTo>
                  <a:lnTo>
                    <a:pt x="1340" y="1980"/>
                  </a:lnTo>
                  <a:lnTo>
                    <a:pt x="1340" y="1974"/>
                  </a:lnTo>
                  <a:lnTo>
                    <a:pt x="1340" y="1968"/>
                  </a:lnTo>
                  <a:lnTo>
                    <a:pt x="1342" y="1962"/>
                  </a:lnTo>
                  <a:lnTo>
                    <a:pt x="1346" y="1960"/>
                  </a:lnTo>
                  <a:lnTo>
                    <a:pt x="1354" y="1956"/>
                  </a:lnTo>
                  <a:lnTo>
                    <a:pt x="1362" y="1950"/>
                  </a:lnTo>
                  <a:lnTo>
                    <a:pt x="1386" y="1930"/>
                  </a:lnTo>
                  <a:lnTo>
                    <a:pt x="1398" y="1920"/>
                  </a:lnTo>
                  <a:lnTo>
                    <a:pt x="1412" y="1912"/>
                  </a:lnTo>
                  <a:lnTo>
                    <a:pt x="1428" y="1908"/>
                  </a:lnTo>
                  <a:lnTo>
                    <a:pt x="1434" y="1908"/>
                  </a:lnTo>
                  <a:lnTo>
                    <a:pt x="1442" y="1908"/>
                  </a:lnTo>
                  <a:lnTo>
                    <a:pt x="1456" y="1910"/>
                  </a:lnTo>
                  <a:lnTo>
                    <a:pt x="1466" y="1906"/>
                  </a:lnTo>
                  <a:lnTo>
                    <a:pt x="1474" y="1902"/>
                  </a:lnTo>
                  <a:lnTo>
                    <a:pt x="1478" y="1896"/>
                  </a:lnTo>
                  <a:lnTo>
                    <a:pt x="1482" y="1890"/>
                  </a:lnTo>
                  <a:lnTo>
                    <a:pt x="1482" y="1884"/>
                  </a:lnTo>
                  <a:lnTo>
                    <a:pt x="1482" y="1878"/>
                  </a:lnTo>
                  <a:lnTo>
                    <a:pt x="1478" y="1874"/>
                  </a:lnTo>
                  <a:lnTo>
                    <a:pt x="1476" y="1870"/>
                  </a:lnTo>
                  <a:lnTo>
                    <a:pt x="1476" y="1866"/>
                  </a:lnTo>
                  <a:lnTo>
                    <a:pt x="1480" y="1856"/>
                  </a:lnTo>
                  <a:lnTo>
                    <a:pt x="1486" y="1842"/>
                  </a:lnTo>
                  <a:lnTo>
                    <a:pt x="1488" y="1836"/>
                  </a:lnTo>
                  <a:lnTo>
                    <a:pt x="1488" y="1828"/>
                  </a:lnTo>
                  <a:lnTo>
                    <a:pt x="1490" y="1812"/>
                  </a:lnTo>
                  <a:lnTo>
                    <a:pt x="1494" y="1794"/>
                  </a:lnTo>
                  <a:lnTo>
                    <a:pt x="1502" y="1776"/>
                  </a:lnTo>
                  <a:lnTo>
                    <a:pt x="1506" y="1770"/>
                  </a:lnTo>
                  <a:lnTo>
                    <a:pt x="1510" y="1766"/>
                  </a:lnTo>
                  <a:lnTo>
                    <a:pt x="1514" y="1760"/>
                  </a:lnTo>
                  <a:lnTo>
                    <a:pt x="1518" y="1750"/>
                  </a:lnTo>
                  <a:lnTo>
                    <a:pt x="1526" y="1718"/>
                  </a:lnTo>
                  <a:lnTo>
                    <a:pt x="1530" y="1700"/>
                  </a:lnTo>
                  <a:lnTo>
                    <a:pt x="1538" y="1680"/>
                  </a:lnTo>
                  <a:lnTo>
                    <a:pt x="1548" y="1662"/>
                  </a:lnTo>
                  <a:lnTo>
                    <a:pt x="1554" y="1654"/>
                  </a:lnTo>
                  <a:lnTo>
                    <a:pt x="1562" y="1646"/>
                  </a:lnTo>
                  <a:lnTo>
                    <a:pt x="1574" y="1634"/>
                  </a:lnTo>
                  <a:lnTo>
                    <a:pt x="1582" y="1626"/>
                  </a:lnTo>
                  <a:lnTo>
                    <a:pt x="1586" y="1618"/>
                  </a:lnTo>
                  <a:lnTo>
                    <a:pt x="1588" y="1612"/>
                  </a:lnTo>
                  <a:lnTo>
                    <a:pt x="1588" y="1604"/>
                  </a:lnTo>
                  <a:lnTo>
                    <a:pt x="1590" y="1598"/>
                  </a:lnTo>
                  <a:lnTo>
                    <a:pt x="1594" y="1590"/>
                  </a:lnTo>
                  <a:lnTo>
                    <a:pt x="1598" y="1576"/>
                  </a:lnTo>
                  <a:lnTo>
                    <a:pt x="1602" y="1566"/>
                  </a:lnTo>
                  <a:lnTo>
                    <a:pt x="1602" y="1556"/>
                  </a:lnTo>
                  <a:lnTo>
                    <a:pt x="1602" y="1546"/>
                  </a:lnTo>
                  <a:lnTo>
                    <a:pt x="1602" y="1532"/>
                  </a:lnTo>
                  <a:lnTo>
                    <a:pt x="1604" y="1524"/>
                  </a:lnTo>
                  <a:lnTo>
                    <a:pt x="1606" y="1516"/>
                  </a:lnTo>
                  <a:lnTo>
                    <a:pt x="1612" y="1504"/>
                  </a:lnTo>
                  <a:lnTo>
                    <a:pt x="1614" y="1494"/>
                  </a:lnTo>
                  <a:lnTo>
                    <a:pt x="1616" y="1476"/>
                  </a:lnTo>
                  <a:lnTo>
                    <a:pt x="1618" y="1458"/>
                  </a:lnTo>
                  <a:lnTo>
                    <a:pt x="1620" y="1448"/>
                  </a:lnTo>
                  <a:lnTo>
                    <a:pt x="1626" y="1438"/>
                  </a:lnTo>
                  <a:lnTo>
                    <a:pt x="1628" y="1432"/>
                  </a:lnTo>
                  <a:lnTo>
                    <a:pt x="1630" y="1426"/>
                  </a:lnTo>
                  <a:lnTo>
                    <a:pt x="1628" y="1412"/>
                  </a:lnTo>
                  <a:lnTo>
                    <a:pt x="1626" y="1398"/>
                  </a:lnTo>
                  <a:lnTo>
                    <a:pt x="1622" y="1384"/>
                  </a:lnTo>
                  <a:lnTo>
                    <a:pt x="1612" y="1358"/>
                  </a:lnTo>
                  <a:lnTo>
                    <a:pt x="1610" y="1350"/>
                  </a:lnTo>
                  <a:lnTo>
                    <a:pt x="1610" y="1344"/>
                  </a:lnTo>
                  <a:close/>
                  <a:moveTo>
                    <a:pt x="1412" y="2026"/>
                  </a:moveTo>
                  <a:lnTo>
                    <a:pt x="1412" y="2026"/>
                  </a:lnTo>
                  <a:lnTo>
                    <a:pt x="1408" y="2024"/>
                  </a:lnTo>
                  <a:lnTo>
                    <a:pt x="1406" y="2020"/>
                  </a:lnTo>
                  <a:lnTo>
                    <a:pt x="1404" y="2016"/>
                  </a:lnTo>
                  <a:lnTo>
                    <a:pt x="1402" y="2014"/>
                  </a:lnTo>
                  <a:lnTo>
                    <a:pt x="1400" y="2014"/>
                  </a:lnTo>
                  <a:lnTo>
                    <a:pt x="1396" y="2018"/>
                  </a:lnTo>
                  <a:lnTo>
                    <a:pt x="1392" y="2022"/>
                  </a:lnTo>
                  <a:lnTo>
                    <a:pt x="1392" y="2024"/>
                  </a:lnTo>
                  <a:lnTo>
                    <a:pt x="1394" y="2024"/>
                  </a:lnTo>
                  <a:lnTo>
                    <a:pt x="1396" y="2026"/>
                  </a:lnTo>
                  <a:lnTo>
                    <a:pt x="1398" y="2028"/>
                  </a:lnTo>
                  <a:lnTo>
                    <a:pt x="1400" y="2038"/>
                  </a:lnTo>
                  <a:lnTo>
                    <a:pt x="1402" y="2040"/>
                  </a:lnTo>
                  <a:lnTo>
                    <a:pt x="1404" y="2042"/>
                  </a:lnTo>
                  <a:lnTo>
                    <a:pt x="1410" y="2044"/>
                  </a:lnTo>
                  <a:lnTo>
                    <a:pt x="1414" y="2042"/>
                  </a:lnTo>
                  <a:lnTo>
                    <a:pt x="1414" y="2040"/>
                  </a:lnTo>
                  <a:lnTo>
                    <a:pt x="1414" y="2036"/>
                  </a:lnTo>
                  <a:lnTo>
                    <a:pt x="1412" y="2034"/>
                  </a:lnTo>
                  <a:lnTo>
                    <a:pt x="1412" y="2032"/>
                  </a:lnTo>
                  <a:lnTo>
                    <a:pt x="1414" y="2030"/>
                  </a:lnTo>
                  <a:lnTo>
                    <a:pt x="1416" y="2028"/>
                  </a:lnTo>
                  <a:lnTo>
                    <a:pt x="1412" y="2026"/>
                  </a:lnTo>
                  <a:close/>
                  <a:moveTo>
                    <a:pt x="1708" y="300"/>
                  </a:moveTo>
                  <a:lnTo>
                    <a:pt x="1708" y="300"/>
                  </a:lnTo>
                  <a:lnTo>
                    <a:pt x="1704" y="298"/>
                  </a:lnTo>
                  <a:lnTo>
                    <a:pt x="1700" y="294"/>
                  </a:lnTo>
                  <a:lnTo>
                    <a:pt x="1694" y="284"/>
                  </a:lnTo>
                  <a:lnTo>
                    <a:pt x="1688" y="274"/>
                  </a:lnTo>
                  <a:lnTo>
                    <a:pt x="1686" y="272"/>
                  </a:lnTo>
                  <a:lnTo>
                    <a:pt x="1682" y="268"/>
                  </a:lnTo>
                  <a:lnTo>
                    <a:pt x="1678" y="266"/>
                  </a:lnTo>
                  <a:lnTo>
                    <a:pt x="1676" y="262"/>
                  </a:lnTo>
                  <a:lnTo>
                    <a:pt x="1672" y="252"/>
                  </a:lnTo>
                  <a:lnTo>
                    <a:pt x="1668" y="244"/>
                  </a:lnTo>
                  <a:lnTo>
                    <a:pt x="1668" y="242"/>
                  </a:lnTo>
                  <a:lnTo>
                    <a:pt x="1664" y="244"/>
                  </a:lnTo>
                  <a:lnTo>
                    <a:pt x="1662" y="248"/>
                  </a:lnTo>
                  <a:lnTo>
                    <a:pt x="1662" y="250"/>
                  </a:lnTo>
                  <a:lnTo>
                    <a:pt x="1666" y="256"/>
                  </a:lnTo>
                  <a:lnTo>
                    <a:pt x="1670" y="264"/>
                  </a:lnTo>
                  <a:lnTo>
                    <a:pt x="1672" y="268"/>
                  </a:lnTo>
                  <a:lnTo>
                    <a:pt x="1672" y="276"/>
                  </a:lnTo>
                  <a:lnTo>
                    <a:pt x="1672" y="282"/>
                  </a:lnTo>
                  <a:lnTo>
                    <a:pt x="1672" y="288"/>
                  </a:lnTo>
                  <a:lnTo>
                    <a:pt x="1680" y="298"/>
                  </a:lnTo>
                  <a:lnTo>
                    <a:pt x="1688" y="306"/>
                  </a:lnTo>
                  <a:lnTo>
                    <a:pt x="1690" y="310"/>
                  </a:lnTo>
                  <a:lnTo>
                    <a:pt x="1692" y="316"/>
                  </a:lnTo>
                  <a:lnTo>
                    <a:pt x="1694" y="324"/>
                  </a:lnTo>
                  <a:lnTo>
                    <a:pt x="1700" y="330"/>
                  </a:lnTo>
                  <a:lnTo>
                    <a:pt x="1708" y="332"/>
                  </a:lnTo>
                  <a:lnTo>
                    <a:pt x="1716" y="330"/>
                  </a:lnTo>
                  <a:lnTo>
                    <a:pt x="1720" y="328"/>
                  </a:lnTo>
                  <a:lnTo>
                    <a:pt x="1722" y="326"/>
                  </a:lnTo>
                  <a:lnTo>
                    <a:pt x="1722" y="322"/>
                  </a:lnTo>
                  <a:lnTo>
                    <a:pt x="1720" y="316"/>
                  </a:lnTo>
                  <a:lnTo>
                    <a:pt x="1716" y="306"/>
                  </a:lnTo>
                  <a:lnTo>
                    <a:pt x="1712" y="304"/>
                  </a:lnTo>
                  <a:lnTo>
                    <a:pt x="1708" y="300"/>
                  </a:lnTo>
                  <a:close/>
                  <a:moveTo>
                    <a:pt x="1712" y="342"/>
                  </a:moveTo>
                  <a:lnTo>
                    <a:pt x="1712" y="342"/>
                  </a:lnTo>
                  <a:lnTo>
                    <a:pt x="1712" y="346"/>
                  </a:lnTo>
                  <a:lnTo>
                    <a:pt x="1716" y="346"/>
                  </a:lnTo>
                  <a:lnTo>
                    <a:pt x="1718" y="346"/>
                  </a:lnTo>
                  <a:lnTo>
                    <a:pt x="1720" y="344"/>
                  </a:lnTo>
                  <a:lnTo>
                    <a:pt x="1718" y="340"/>
                  </a:lnTo>
                  <a:lnTo>
                    <a:pt x="1716" y="338"/>
                  </a:lnTo>
                  <a:lnTo>
                    <a:pt x="1712" y="340"/>
                  </a:lnTo>
                  <a:lnTo>
                    <a:pt x="1712" y="342"/>
                  </a:lnTo>
                  <a:close/>
                  <a:moveTo>
                    <a:pt x="1238" y="2006"/>
                  </a:moveTo>
                  <a:lnTo>
                    <a:pt x="1238" y="2006"/>
                  </a:lnTo>
                  <a:lnTo>
                    <a:pt x="1236" y="2012"/>
                  </a:lnTo>
                  <a:lnTo>
                    <a:pt x="1234" y="2024"/>
                  </a:lnTo>
                  <a:lnTo>
                    <a:pt x="1236" y="2032"/>
                  </a:lnTo>
                  <a:lnTo>
                    <a:pt x="1240" y="2034"/>
                  </a:lnTo>
                  <a:lnTo>
                    <a:pt x="1242" y="2032"/>
                  </a:lnTo>
                  <a:lnTo>
                    <a:pt x="1244" y="2028"/>
                  </a:lnTo>
                  <a:lnTo>
                    <a:pt x="1246" y="2024"/>
                  </a:lnTo>
                  <a:lnTo>
                    <a:pt x="1246" y="2014"/>
                  </a:lnTo>
                  <a:lnTo>
                    <a:pt x="1242" y="2006"/>
                  </a:lnTo>
                  <a:lnTo>
                    <a:pt x="1240" y="2004"/>
                  </a:lnTo>
                  <a:lnTo>
                    <a:pt x="1238" y="2006"/>
                  </a:lnTo>
                  <a:close/>
                  <a:moveTo>
                    <a:pt x="1414" y="2116"/>
                  </a:moveTo>
                  <a:lnTo>
                    <a:pt x="1414" y="2116"/>
                  </a:lnTo>
                  <a:lnTo>
                    <a:pt x="1414" y="2106"/>
                  </a:lnTo>
                  <a:lnTo>
                    <a:pt x="1414" y="2096"/>
                  </a:lnTo>
                  <a:lnTo>
                    <a:pt x="1414" y="2088"/>
                  </a:lnTo>
                  <a:lnTo>
                    <a:pt x="1412" y="2082"/>
                  </a:lnTo>
                  <a:lnTo>
                    <a:pt x="1408" y="2076"/>
                  </a:lnTo>
                  <a:lnTo>
                    <a:pt x="1406" y="2072"/>
                  </a:lnTo>
                  <a:lnTo>
                    <a:pt x="1402" y="2072"/>
                  </a:lnTo>
                  <a:lnTo>
                    <a:pt x="1400" y="2074"/>
                  </a:lnTo>
                  <a:lnTo>
                    <a:pt x="1398" y="2078"/>
                  </a:lnTo>
                  <a:lnTo>
                    <a:pt x="1396" y="2078"/>
                  </a:lnTo>
                  <a:lnTo>
                    <a:pt x="1392" y="2076"/>
                  </a:lnTo>
                  <a:lnTo>
                    <a:pt x="1388" y="2076"/>
                  </a:lnTo>
                  <a:lnTo>
                    <a:pt x="1386" y="2078"/>
                  </a:lnTo>
                  <a:lnTo>
                    <a:pt x="1382" y="2080"/>
                  </a:lnTo>
                  <a:lnTo>
                    <a:pt x="1380" y="2082"/>
                  </a:lnTo>
                  <a:lnTo>
                    <a:pt x="1378" y="2082"/>
                  </a:lnTo>
                  <a:lnTo>
                    <a:pt x="1370" y="2082"/>
                  </a:lnTo>
                  <a:lnTo>
                    <a:pt x="1352" y="2088"/>
                  </a:lnTo>
                  <a:lnTo>
                    <a:pt x="1340" y="2092"/>
                  </a:lnTo>
                  <a:lnTo>
                    <a:pt x="1332" y="2094"/>
                  </a:lnTo>
                  <a:lnTo>
                    <a:pt x="1324" y="2092"/>
                  </a:lnTo>
                  <a:lnTo>
                    <a:pt x="1320" y="2088"/>
                  </a:lnTo>
                  <a:lnTo>
                    <a:pt x="1310" y="2080"/>
                  </a:lnTo>
                  <a:lnTo>
                    <a:pt x="1304" y="2076"/>
                  </a:lnTo>
                  <a:lnTo>
                    <a:pt x="1296" y="2076"/>
                  </a:lnTo>
                  <a:lnTo>
                    <a:pt x="1288" y="2074"/>
                  </a:lnTo>
                  <a:lnTo>
                    <a:pt x="1282" y="2072"/>
                  </a:lnTo>
                  <a:lnTo>
                    <a:pt x="1274" y="2066"/>
                  </a:lnTo>
                  <a:lnTo>
                    <a:pt x="1272" y="2064"/>
                  </a:lnTo>
                  <a:lnTo>
                    <a:pt x="1270" y="2064"/>
                  </a:lnTo>
                  <a:lnTo>
                    <a:pt x="1266" y="2078"/>
                  </a:lnTo>
                  <a:lnTo>
                    <a:pt x="1264" y="2086"/>
                  </a:lnTo>
                  <a:lnTo>
                    <a:pt x="1266" y="2094"/>
                  </a:lnTo>
                  <a:lnTo>
                    <a:pt x="1276" y="2118"/>
                  </a:lnTo>
                  <a:lnTo>
                    <a:pt x="1280" y="2130"/>
                  </a:lnTo>
                  <a:lnTo>
                    <a:pt x="1284" y="2134"/>
                  </a:lnTo>
                  <a:lnTo>
                    <a:pt x="1288" y="2136"/>
                  </a:lnTo>
                  <a:lnTo>
                    <a:pt x="1288" y="2144"/>
                  </a:lnTo>
                  <a:lnTo>
                    <a:pt x="1288" y="2158"/>
                  </a:lnTo>
                  <a:lnTo>
                    <a:pt x="1292" y="2174"/>
                  </a:lnTo>
                  <a:lnTo>
                    <a:pt x="1296" y="2186"/>
                  </a:lnTo>
                  <a:lnTo>
                    <a:pt x="1300" y="2192"/>
                  </a:lnTo>
                  <a:lnTo>
                    <a:pt x="1304" y="2198"/>
                  </a:lnTo>
                  <a:lnTo>
                    <a:pt x="1310" y="2202"/>
                  </a:lnTo>
                  <a:lnTo>
                    <a:pt x="1312" y="2206"/>
                  </a:lnTo>
                  <a:lnTo>
                    <a:pt x="1318" y="2216"/>
                  </a:lnTo>
                  <a:lnTo>
                    <a:pt x="1322" y="2224"/>
                  </a:lnTo>
                  <a:lnTo>
                    <a:pt x="1324" y="2226"/>
                  </a:lnTo>
                  <a:lnTo>
                    <a:pt x="1328" y="2226"/>
                  </a:lnTo>
                  <a:lnTo>
                    <a:pt x="1332" y="2226"/>
                  </a:lnTo>
                  <a:lnTo>
                    <a:pt x="1338" y="2226"/>
                  </a:lnTo>
                  <a:lnTo>
                    <a:pt x="1352" y="2230"/>
                  </a:lnTo>
                  <a:lnTo>
                    <a:pt x="1356" y="2232"/>
                  </a:lnTo>
                  <a:lnTo>
                    <a:pt x="1358" y="2230"/>
                  </a:lnTo>
                  <a:lnTo>
                    <a:pt x="1360" y="2226"/>
                  </a:lnTo>
                  <a:lnTo>
                    <a:pt x="1362" y="2220"/>
                  </a:lnTo>
                  <a:lnTo>
                    <a:pt x="1366" y="2214"/>
                  </a:lnTo>
                  <a:lnTo>
                    <a:pt x="1370" y="2212"/>
                  </a:lnTo>
                  <a:lnTo>
                    <a:pt x="1372" y="2208"/>
                  </a:lnTo>
                  <a:lnTo>
                    <a:pt x="1374" y="2200"/>
                  </a:lnTo>
                  <a:lnTo>
                    <a:pt x="1376" y="2194"/>
                  </a:lnTo>
                  <a:lnTo>
                    <a:pt x="1378" y="2194"/>
                  </a:lnTo>
                  <a:lnTo>
                    <a:pt x="1378" y="2196"/>
                  </a:lnTo>
                  <a:lnTo>
                    <a:pt x="1380" y="2198"/>
                  </a:lnTo>
                  <a:lnTo>
                    <a:pt x="1382" y="2198"/>
                  </a:lnTo>
                  <a:lnTo>
                    <a:pt x="1382" y="2194"/>
                  </a:lnTo>
                  <a:lnTo>
                    <a:pt x="1384" y="2190"/>
                  </a:lnTo>
                  <a:lnTo>
                    <a:pt x="1386" y="2188"/>
                  </a:lnTo>
                  <a:lnTo>
                    <a:pt x="1388" y="2188"/>
                  </a:lnTo>
                  <a:lnTo>
                    <a:pt x="1392" y="2192"/>
                  </a:lnTo>
                  <a:lnTo>
                    <a:pt x="1394" y="2194"/>
                  </a:lnTo>
                  <a:lnTo>
                    <a:pt x="1394" y="2196"/>
                  </a:lnTo>
                  <a:lnTo>
                    <a:pt x="1392" y="2196"/>
                  </a:lnTo>
                  <a:lnTo>
                    <a:pt x="1388" y="2198"/>
                  </a:lnTo>
                  <a:lnTo>
                    <a:pt x="1388" y="2202"/>
                  </a:lnTo>
                  <a:lnTo>
                    <a:pt x="1390" y="2206"/>
                  </a:lnTo>
                  <a:lnTo>
                    <a:pt x="1398" y="2210"/>
                  </a:lnTo>
                  <a:lnTo>
                    <a:pt x="1402" y="2208"/>
                  </a:lnTo>
                  <a:lnTo>
                    <a:pt x="1404" y="2206"/>
                  </a:lnTo>
                  <a:lnTo>
                    <a:pt x="1402" y="2194"/>
                  </a:lnTo>
                  <a:lnTo>
                    <a:pt x="1400" y="2180"/>
                  </a:lnTo>
                  <a:lnTo>
                    <a:pt x="1400" y="2174"/>
                  </a:lnTo>
                  <a:lnTo>
                    <a:pt x="1402" y="2170"/>
                  </a:lnTo>
                  <a:lnTo>
                    <a:pt x="1404" y="2168"/>
                  </a:lnTo>
                  <a:lnTo>
                    <a:pt x="1404" y="2166"/>
                  </a:lnTo>
                  <a:lnTo>
                    <a:pt x="1402" y="2160"/>
                  </a:lnTo>
                  <a:lnTo>
                    <a:pt x="1402" y="2152"/>
                  </a:lnTo>
                  <a:lnTo>
                    <a:pt x="1402" y="2150"/>
                  </a:lnTo>
                  <a:lnTo>
                    <a:pt x="1404" y="2146"/>
                  </a:lnTo>
                  <a:lnTo>
                    <a:pt x="1408" y="2144"/>
                  </a:lnTo>
                  <a:lnTo>
                    <a:pt x="1410" y="2144"/>
                  </a:lnTo>
                  <a:lnTo>
                    <a:pt x="1410" y="2150"/>
                  </a:lnTo>
                  <a:lnTo>
                    <a:pt x="1412" y="2154"/>
                  </a:lnTo>
                  <a:lnTo>
                    <a:pt x="1414" y="2152"/>
                  </a:lnTo>
                  <a:lnTo>
                    <a:pt x="1416" y="2148"/>
                  </a:lnTo>
                  <a:lnTo>
                    <a:pt x="1416" y="2146"/>
                  </a:lnTo>
                  <a:lnTo>
                    <a:pt x="1414" y="2140"/>
                  </a:lnTo>
                  <a:lnTo>
                    <a:pt x="1412" y="2132"/>
                  </a:lnTo>
                  <a:lnTo>
                    <a:pt x="1412" y="2124"/>
                  </a:lnTo>
                  <a:lnTo>
                    <a:pt x="1414" y="2116"/>
                  </a:lnTo>
                  <a:close/>
                  <a:moveTo>
                    <a:pt x="984" y="1792"/>
                  </a:moveTo>
                  <a:lnTo>
                    <a:pt x="984" y="1792"/>
                  </a:lnTo>
                  <a:lnTo>
                    <a:pt x="980" y="1788"/>
                  </a:lnTo>
                  <a:lnTo>
                    <a:pt x="974" y="1788"/>
                  </a:lnTo>
                  <a:lnTo>
                    <a:pt x="966" y="1788"/>
                  </a:lnTo>
                  <a:lnTo>
                    <a:pt x="958" y="1792"/>
                  </a:lnTo>
                  <a:lnTo>
                    <a:pt x="950" y="1794"/>
                  </a:lnTo>
                  <a:lnTo>
                    <a:pt x="944" y="1798"/>
                  </a:lnTo>
                  <a:lnTo>
                    <a:pt x="942" y="1804"/>
                  </a:lnTo>
                  <a:lnTo>
                    <a:pt x="940" y="1808"/>
                  </a:lnTo>
                  <a:lnTo>
                    <a:pt x="942" y="1810"/>
                  </a:lnTo>
                  <a:lnTo>
                    <a:pt x="948" y="1812"/>
                  </a:lnTo>
                  <a:lnTo>
                    <a:pt x="960" y="1814"/>
                  </a:lnTo>
                  <a:lnTo>
                    <a:pt x="974" y="1812"/>
                  </a:lnTo>
                  <a:lnTo>
                    <a:pt x="982" y="1810"/>
                  </a:lnTo>
                  <a:lnTo>
                    <a:pt x="990" y="1808"/>
                  </a:lnTo>
                  <a:lnTo>
                    <a:pt x="998" y="1808"/>
                  </a:lnTo>
                  <a:lnTo>
                    <a:pt x="1004" y="1806"/>
                  </a:lnTo>
                  <a:lnTo>
                    <a:pt x="1004" y="1804"/>
                  </a:lnTo>
                  <a:lnTo>
                    <a:pt x="1002" y="1800"/>
                  </a:lnTo>
                  <a:lnTo>
                    <a:pt x="1000" y="1798"/>
                  </a:lnTo>
                  <a:lnTo>
                    <a:pt x="994" y="1798"/>
                  </a:lnTo>
                  <a:lnTo>
                    <a:pt x="990" y="1796"/>
                  </a:lnTo>
                  <a:lnTo>
                    <a:pt x="984" y="1792"/>
                  </a:lnTo>
                  <a:close/>
                  <a:moveTo>
                    <a:pt x="2204" y="1064"/>
                  </a:moveTo>
                  <a:lnTo>
                    <a:pt x="2204" y="1064"/>
                  </a:lnTo>
                  <a:lnTo>
                    <a:pt x="2206" y="1066"/>
                  </a:lnTo>
                  <a:lnTo>
                    <a:pt x="2208" y="1066"/>
                  </a:lnTo>
                  <a:lnTo>
                    <a:pt x="2212" y="1066"/>
                  </a:lnTo>
                  <a:lnTo>
                    <a:pt x="2214" y="1060"/>
                  </a:lnTo>
                  <a:lnTo>
                    <a:pt x="2214" y="1058"/>
                  </a:lnTo>
                  <a:lnTo>
                    <a:pt x="2212" y="1054"/>
                  </a:lnTo>
                  <a:lnTo>
                    <a:pt x="2210" y="1050"/>
                  </a:lnTo>
                  <a:lnTo>
                    <a:pt x="2208" y="1048"/>
                  </a:lnTo>
                  <a:lnTo>
                    <a:pt x="2206" y="1048"/>
                  </a:lnTo>
                  <a:lnTo>
                    <a:pt x="2204" y="1050"/>
                  </a:lnTo>
                  <a:lnTo>
                    <a:pt x="2202" y="1054"/>
                  </a:lnTo>
                  <a:lnTo>
                    <a:pt x="2204" y="1064"/>
                  </a:lnTo>
                  <a:close/>
                  <a:moveTo>
                    <a:pt x="2218" y="862"/>
                  </a:moveTo>
                  <a:lnTo>
                    <a:pt x="2218" y="862"/>
                  </a:lnTo>
                  <a:lnTo>
                    <a:pt x="2216" y="866"/>
                  </a:lnTo>
                  <a:lnTo>
                    <a:pt x="2218" y="870"/>
                  </a:lnTo>
                  <a:lnTo>
                    <a:pt x="2222" y="872"/>
                  </a:lnTo>
                  <a:lnTo>
                    <a:pt x="2228" y="874"/>
                  </a:lnTo>
                  <a:lnTo>
                    <a:pt x="2230" y="872"/>
                  </a:lnTo>
                  <a:lnTo>
                    <a:pt x="2230" y="870"/>
                  </a:lnTo>
                  <a:lnTo>
                    <a:pt x="2228" y="864"/>
                  </a:lnTo>
                  <a:lnTo>
                    <a:pt x="2222" y="860"/>
                  </a:lnTo>
                  <a:lnTo>
                    <a:pt x="2220" y="860"/>
                  </a:lnTo>
                  <a:lnTo>
                    <a:pt x="2218" y="862"/>
                  </a:lnTo>
                  <a:close/>
                  <a:moveTo>
                    <a:pt x="2220" y="824"/>
                  </a:moveTo>
                  <a:lnTo>
                    <a:pt x="2220" y="824"/>
                  </a:lnTo>
                  <a:lnTo>
                    <a:pt x="2222" y="824"/>
                  </a:lnTo>
                  <a:lnTo>
                    <a:pt x="2222" y="822"/>
                  </a:lnTo>
                  <a:lnTo>
                    <a:pt x="2216" y="814"/>
                  </a:lnTo>
                  <a:lnTo>
                    <a:pt x="2216" y="812"/>
                  </a:lnTo>
                  <a:lnTo>
                    <a:pt x="2214" y="814"/>
                  </a:lnTo>
                  <a:lnTo>
                    <a:pt x="2212" y="816"/>
                  </a:lnTo>
                  <a:lnTo>
                    <a:pt x="2214" y="822"/>
                  </a:lnTo>
                  <a:lnTo>
                    <a:pt x="2216" y="822"/>
                  </a:lnTo>
                  <a:lnTo>
                    <a:pt x="2220" y="824"/>
                  </a:lnTo>
                  <a:close/>
                  <a:moveTo>
                    <a:pt x="2124" y="1064"/>
                  </a:moveTo>
                  <a:lnTo>
                    <a:pt x="2124" y="1064"/>
                  </a:lnTo>
                  <a:lnTo>
                    <a:pt x="2118" y="1060"/>
                  </a:lnTo>
                  <a:lnTo>
                    <a:pt x="2116" y="1060"/>
                  </a:lnTo>
                  <a:lnTo>
                    <a:pt x="2114" y="1062"/>
                  </a:lnTo>
                  <a:lnTo>
                    <a:pt x="2096" y="1042"/>
                  </a:lnTo>
                  <a:lnTo>
                    <a:pt x="2094" y="1038"/>
                  </a:lnTo>
                  <a:lnTo>
                    <a:pt x="2090" y="1032"/>
                  </a:lnTo>
                  <a:lnTo>
                    <a:pt x="2076" y="1018"/>
                  </a:lnTo>
                  <a:lnTo>
                    <a:pt x="2060" y="1008"/>
                  </a:lnTo>
                  <a:lnTo>
                    <a:pt x="2050" y="1000"/>
                  </a:lnTo>
                  <a:lnTo>
                    <a:pt x="2050" y="1004"/>
                  </a:lnTo>
                  <a:lnTo>
                    <a:pt x="2044" y="998"/>
                  </a:lnTo>
                  <a:lnTo>
                    <a:pt x="2040" y="994"/>
                  </a:lnTo>
                  <a:lnTo>
                    <a:pt x="2036" y="992"/>
                  </a:lnTo>
                  <a:lnTo>
                    <a:pt x="2040" y="1000"/>
                  </a:lnTo>
                  <a:lnTo>
                    <a:pt x="2050" y="1020"/>
                  </a:lnTo>
                  <a:lnTo>
                    <a:pt x="2052" y="1024"/>
                  </a:lnTo>
                  <a:lnTo>
                    <a:pt x="2052" y="1026"/>
                  </a:lnTo>
                  <a:lnTo>
                    <a:pt x="2064" y="1036"/>
                  </a:lnTo>
                  <a:lnTo>
                    <a:pt x="2070" y="1042"/>
                  </a:lnTo>
                  <a:lnTo>
                    <a:pt x="2076" y="1056"/>
                  </a:lnTo>
                  <a:lnTo>
                    <a:pt x="2076" y="1054"/>
                  </a:lnTo>
                  <a:lnTo>
                    <a:pt x="2078" y="1058"/>
                  </a:lnTo>
                  <a:lnTo>
                    <a:pt x="2082" y="1058"/>
                  </a:lnTo>
                  <a:lnTo>
                    <a:pt x="2088" y="1064"/>
                  </a:lnTo>
                  <a:lnTo>
                    <a:pt x="2094" y="1070"/>
                  </a:lnTo>
                  <a:lnTo>
                    <a:pt x="2102" y="1074"/>
                  </a:lnTo>
                  <a:lnTo>
                    <a:pt x="2110" y="1080"/>
                  </a:lnTo>
                  <a:lnTo>
                    <a:pt x="2116" y="1086"/>
                  </a:lnTo>
                  <a:lnTo>
                    <a:pt x="2136" y="1098"/>
                  </a:lnTo>
                  <a:lnTo>
                    <a:pt x="2136" y="1102"/>
                  </a:lnTo>
                  <a:lnTo>
                    <a:pt x="2136" y="1104"/>
                  </a:lnTo>
                  <a:lnTo>
                    <a:pt x="2154" y="1100"/>
                  </a:lnTo>
                  <a:lnTo>
                    <a:pt x="2158" y="1098"/>
                  </a:lnTo>
                  <a:lnTo>
                    <a:pt x="2158" y="1096"/>
                  </a:lnTo>
                  <a:lnTo>
                    <a:pt x="2148" y="1086"/>
                  </a:lnTo>
                  <a:lnTo>
                    <a:pt x="2124" y="1064"/>
                  </a:lnTo>
                  <a:close/>
                  <a:moveTo>
                    <a:pt x="2172" y="1036"/>
                  </a:moveTo>
                  <a:lnTo>
                    <a:pt x="2172" y="1036"/>
                  </a:lnTo>
                  <a:lnTo>
                    <a:pt x="2178" y="1038"/>
                  </a:lnTo>
                  <a:lnTo>
                    <a:pt x="2182" y="1040"/>
                  </a:lnTo>
                  <a:lnTo>
                    <a:pt x="2184" y="1038"/>
                  </a:lnTo>
                  <a:lnTo>
                    <a:pt x="2186" y="1036"/>
                  </a:lnTo>
                  <a:lnTo>
                    <a:pt x="2186" y="1030"/>
                  </a:lnTo>
                  <a:lnTo>
                    <a:pt x="2182" y="1024"/>
                  </a:lnTo>
                  <a:lnTo>
                    <a:pt x="2176" y="1018"/>
                  </a:lnTo>
                  <a:lnTo>
                    <a:pt x="2172" y="1016"/>
                  </a:lnTo>
                  <a:lnTo>
                    <a:pt x="2168" y="1018"/>
                  </a:lnTo>
                  <a:lnTo>
                    <a:pt x="2168" y="1020"/>
                  </a:lnTo>
                  <a:lnTo>
                    <a:pt x="2170" y="1020"/>
                  </a:lnTo>
                  <a:lnTo>
                    <a:pt x="2172" y="1022"/>
                  </a:lnTo>
                  <a:lnTo>
                    <a:pt x="2172" y="1024"/>
                  </a:lnTo>
                  <a:lnTo>
                    <a:pt x="2170" y="1028"/>
                  </a:lnTo>
                  <a:lnTo>
                    <a:pt x="2168" y="1032"/>
                  </a:lnTo>
                  <a:lnTo>
                    <a:pt x="2170" y="1034"/>
                  </a:lnTo>
                  <a:lnTo>
                    <a:pt x="2172" y="1036"/>
                  </a:lnTo>
                  <a:close/>
                  <a:moveTo>
                    <a:pt x="2152" y="752"/>
                  </a:moveTo>
                  <a:lnTo>
                    <a:pt x="2152" y="752"/>
                  </a:lnTo>
                  <a:lnTo>
                    <a:pt x="2154" y="760"/>
                  </a:lnTo>
                  <a:lnTo>
                    <a:pt x="2156" y="764"/>
                  </a:lnTo>
                  <a:lnTo>
                    <a:pt x="2160" y="766"/>
                  </a:lnTo>
                  <a:lnTo>
                    <a:pt x="2168" y="764"/>
                  </a:lnTo>
                  <a:lnTo>
                    <a:pt x="2172" y="762"/>
                  </a:lnTo>
                  <a:lnTo>
                    <a:pt x="2174" y="760"/>
                  </a:lnTo>
                  <a:lnTo>
                    <a:pt x="2176" y="758"/>
                  </a:lnTo>
                  <a:lnTo>
                    <a:pt x="2176" y="754"/>
                  </a:lnTo>
                  <a:lnTo>
                    <a:pt x="2174" y="746"/>
                  </a:lnTo>
                  <a:lnTo>
                    <a:pt x="2170" y="736"/>
                  </a:lnTo>
                  <a:lnTo>
                    <a:pt x="2168" y="732"/>
                  </a:lnTo>
                  <a:lnTo>
                    <a:pt x="2166" y="732"/>
                  </a:lnTo>
                  <a:lnTo>
                    <a:pt x="2164" y="734"/>
                  </a:lnTo>
                  <a:lnTo>
                    <a:pt x="2162" y="736"/>
                  </a:lnTo>
                  <a:lnTo>
                    <a:pt x="2158" y="730"/>
                  </a:lnTo>
                  <a:lnTo>
                    <a:pt x="2156" y="724"/>
                  </a:lnTo>
                  <a:lnTo>
                    <a:pt x="2154" y="718"/>
                  </a:lnTo>
                  <a:lnTo>
                    <a:pt x="2152" y="716"/>
                  </a:lnTo>
                  <a:lnTo>
                    <a:pt x="2148" y="716"/>
                  </a:lnTo>
                  <a:lnTo>
                    <a:pt x="2146" y="718"/>
                  </a:lnTo>
                  <a:lnTo>
                    <a:pt x="2146" y="722"/>
                  </a:lnTo>
                  <a:lnTo>
                    <a:pt x="2148" y="726"/>
                  </a:lnTo>
                  <a:lnTo>
                    <a:pt x="2152" y="736"/>
                  </a:lnTo>
                  <a:lnTo>
                    <a:pt x="2152" y="742"/>
                  </a:lnTo>
                  <a:lnTo>
                    <a:pt x="2152" y="746"/>
                  </a:lnTo>
                  <a:lnTo>
                    <a:pt x="2152" y="752"/>
                  </a:lnTo>
                  <a:close/>
                  <a:moveTo>
                    <a:pt x="2196" y="758"/>
                  </a:moveTo>
                  <a:lnTo>
                    <a:pt x="2196" y="758"/>
                  </a:lnTo>
                  <a:lnTo>
                    <a:pt x="2202" y="754"/>
                  </a:lnTo>
                  <a:lnTo>
                    <a:pt x="2206" y="750"/>
                  </a:lnTo>
                  <a:lnTo>
                    <a:pt x="2208" y="748"/>
                  </a:lnTo>
                  <a:lnTo>
                    <a:pt x="2206" y="746"/>
                  </a:lnTo>
                  <a:lnTo>
                    <a:pt x="2202" y="746"/>
                  </a:lnTo>
                  <a:lnTo>
                    <a:pt x="2198" y="748"/>
                  </a:lnTo>
                  <a:lnTo>
                    <a:pt x="2194" y="752"/>
                  </a:lnTo>
                  <a:lnTo>
                    <a:pt x="2194" y="754"/>
                  </a:lnTo>
                  <a:lnTo>
                    <a:pt x="2196" y="758"/>
                  </a:lnTo>
                  <a:close/>
                  <a:moveTo>
                    <a:pt x="2206" y="798"/>
                  </a:moveTo>
                  <a:lnTo>
                    <a:pt x="2206" y="798"/>
                  </a:lnTo>
                  <a:lnTo>
                    <a:pt x="2210" y="800"/>
                  </a:lnTo>
                  <a:lnTo>
                    <a:pt x="2214" y="800"/>
                  </a:lnTo>
                  <a:lnTo>
                    <a:pt x="2216" y="798"/>
                  </a:lnTo>
                  <a:lnTo>
                    <a:pt x="2216" y="792"/>
                  </a:lnTo>
                  <a:lnTo>
                    <a:pt x="2216" y="790"/>
                  </a:lnTo>
                  <a:lnTo>
                    <a:pt x="2214" y="788"/>
                  </a:lnTo>
                  <a:lnTo>
                    <a:pt x="2208" y="790"/>
                  </a:lnTo>
                  <a:lnTo>
                    <a:pt x="2204" y="794"/>
                  </a:lnTo>
                  <a:lnTo>
                    <a:pt x="2204" y="796"/>
                  </a:lnTo>
                  <a:lnTo>
                    <a:pt x="2206" y="798"/>
                  </a:lnTo>
                  <a:close/>
                  <a:moveTo>
                    <a:pt x="1762" y="382"/>
                  </a:moveTo>
                  <a:lnTo>
                    <a:pt x="1762" y="382"/>
                  </a:lnTo>
                  <a:lnTo>
                    <a:pt x="1762" y="386"/>
                  </a:lnTo>
                  <a:lnTo>
                    <a:pt x="1764" y="392"/>
                  </a:lnTo>
                  <a:lnTo>
                    <a:pt x="1768" y="394"/>
                  </a:lnTo>
                  <a:lnTo>
                    <a:pt x="1770" y="394"/>
                  </a:lnTo>
                  <a:lnTo>
                    <a:pt x="1772" y="392"/>
                  </a:lnTo>
                  <a:lnTo>
                    <a:pt x="1774" y="390"/>
                  </a:lnTo>
                  <a:lnTo>
                    <a:pt x="1772" y="386"/>
                  </a:lnTo>
                  <a:lnTo>
                    <a:pt x="1770" y="382"/>
                  </a:lnTo>
                  <a:lnTo>
                    <a:pt x="1766" y="378"/>
                  </a:lnTo>
                  <a:lnTo>
                    <a:pt x="1764" y="380"/>
                  </a:lnTo>
                  <a:lnTo>
                    <a:pt x="1762" y="382"/>
                  </a:lnTo>
                  <a:close/>
                  <a:moveTo>
                    <a:pt x="1786" y="386"/>
                  </a:moveTo>
                  <a:lnTo>
                    <a:pt x="1786" y="386"/>
                  </a:lnTo>
                  <a:lnTo>
                    <a:pt x="1784" y="386"/>
                  </a:lnTo>
                  <a:lnTo>
                    <a:pt x="1780" y="388"/>
                  </a:lnTo>
                  <a:lnTo>
                    <a:pt x="1776" y="396"/>
                  </a:lnTo>
                  <a:lnTo>
                    <a:pt x="1776" y="402"/>
                  </a:lnTo>
                  <a:lnTo>
                    <a:pt x="1778" y="404"/>
                  </a:lnTo>
                  <a:lnTo>
                    <a:pt x="1780" y="404"/>
                  </a:lnTo>
                  <a:lnTo>
                    <a:pt x="1784" y="402"/>
                  </a:lnTo>
                  <a:lnTo>
                    <a:pt x="1788" y="404"/>
                  </a:lnTo>
                  <a:lnTo>
                    <a:pt x="1790" y="410"/>
                  </a:lnTo>
                  <a:lnTo>
                    <a:pt x="1794" y="414"/>
                  </a:lnTo>
                  <a:lnTo>
                    <a:pt x="1796" y="416"/>
                  </a:lnTo>
                  <a:lnTo>
                    <a:pt x="1800" y="412"/>
                  </a:lnTo>
                  <a:lnTo>
                    <a:pt x="1798" y="408"/>
                  </a:lnTo>
                  <a:lnTo>
                    <a:pt x="1794" y="402"/>
                  </a:lnTo>
                  <a:lnTo>
                    <a:pt x="1790" y="396"/>
                  </a:lnTo>
                  <a:lnTo>
                    <a:pt x="1790" y="392"/>
                  </a:lnTo>
                  <a:lnTo>
                    <a:pt x="1790" y="390"/>
                  </a:lnTo>
                  <a:lnTo>
                    <a:pt x="1786" y="386"/>
                  </a:lnTo>
                  <a:close/>
                  <a:moveTo>
                    <a:pt x="1754" y="340"/>
                  </a:moveTo>
                  <a:lnTo>
                    <a:pt x="1754" y="340"/>
                  </a:lnTo>
                  <a:lnTo>
                    <a:pt x="1758" y="346"/>
                  </a:lnTo>
                  <a:lnTo>
                    <a:pt x="1766" y="354"/>
                  </a:lnTo>
                  <a:lnTo>
                    <a:pt x="1776" y="360"/>
                  </a:lnTo>
                  <a:lnTo>
                    <a:pt x="1780" y="360"/>
                  </a:lnTo>
                  <a:lnTo>
                    <a:pt x="1784" y="360"/>
                  </a:lnTo>
                  <a:lnTo>
                    <a:pt x="1788" y="358"/>
                  </a:lnTo>
                  <a:lnTo>
                    <a:pt x="1784" y="356"/>
                  </a:lnTo>
                  <a:lnTo>
                    <a:pt x="1776" y="352"/>
                  </a:lnTo>
                  <a:lnTo>
                    <a:pt x="1774" y="348"/>
                  </a:lnTo>
                  <a:lnTo>
                    <a:pt x="1772" y="344"/>
                  </a:lnTo>
                  <a:lnTo>
                    <a:pt x="1768" y="336"/>
                  </a:lnTo>
                  <a:lnTo>
                    <a:pt x="1764" y="332"/>
                  </a:lnTo>
                  <a:lnTo>
                    <a:pt x="1746" y="320"/>
                  </a:lnTo>
                  <a:lnTo>
                    <a:pt x="1742" y="318"/>
                  </a:lnTo>
                  <a:lnTo>
                    <a:pt x="1740" y="320"/>
                  </a:lnTo>
                  <a:lnTo>
                    <a:pt x="1742" y="328"/>
                  </a:lnTo>
                  <a:lnTo>
                    <a:pt x="1744" y="332"/>
                  </a:lnTo>
                  <a:lnTo>
                    <a:pt x="1748" y="334"/>
                  </a:lnTo>
                  <a:lnTo>
                    <a:pt x="1752" y="336"/>
                  </a:lnTo>
                  <a:lnTo>
                    <a:pt x="1754" y="340"/>
                  </a:lnTo>
                  <a:close/>
                  <a:moveTo>
                    <a:pt x="1744" y="368"/>
                  </a:moveTo>
                  <a:lnTo>
                    <a:pt x="1744" y="368"/>
                  </a:lnTo>
                  <a:lnTo>
                    <a:pt x="1744" y="374"/>
                  </a:lnTo>
                  <a:lnTo>
                    <a:pt x="1748" y="378"/>
                  </a:lnTo>
                  <a:lnTo>
                    <a:pt x="1752" y="382"/>
                  </a:lnTo>
                  <a:lnTo>
                    <a:pt x="1754" y="380"/>
                  </a:lnTo>
                  <a:lnTo>
                    <a:pt x="1756" y="380"/>
                  </a:lnTo>
                  <a:lnTo>
                    <a:pt x="1758" y="376"/>
                  </a:lnTo>
                  <a:lnTo>
                    <a:pt x="1758" y="374"/>
                  </a:lnTo>
                  <a:lnTo>
                    <a:pt x="1752" y="368"/>
                  </a:lnTo>
                  <a:lnTo>
                    <a:pt x="1746" y="366"/>
                  </a:lnTo>
                  <a:lnTo>
                    <a:pt x="1744" y="366"/>
                  </a:lnTo>
                  <a:lnTo>
                    <a:pt x="1744" y="368"/>
                  </a:lnTo>
                  <a:close/>
                  <a:moveTo>
                    <a:pt x="1802" y="416"/>
                  </a:moveTo>
                  <a:lnTo>
                    <a:pt x="1802" y="416"/>
                  </a:lnTo>
                  <a:lnTo>
                    <a:pt x="1800" y="420"/>
                  </a:lnTo>
                  <a:lnTo>
                    <a:pt x="1800" y="424"/>
                  </a:lnTo>
                  <a:lnTo>
                    <a:pt x="1804" y="426"/>
                  </a:lnTo>
                  <a:lnTo>
                    <a:pt x="1810" y="424"/>
                  </a:lnTo>
                  <a:lnTo>
                    <a:pt x="1810" y="422"/>
                  </a:lnTo>
                  <a:lnTo>
                    <a:pt x="1812" y="420"/>
                  </a:lnTo>
                  <a:lnTo>
                    <a:pt x="1810" y="416"/>
                  </a:lnTo>
                  <a:lnTo>
                    <a:pt x="1806" y="414"/>
                  </a:lnTo>
                  <a:lnTo>
                    <a:pt x="1804" y="414"/>
                  </a:lnTo>
                  <a:lnTo>
                    <a:pt x="1802" y="416"/>
                  </a:lnTo>
                  <a:close/>
                  <a:moveTo>
                    <a:pt x="1858" y="386"/>
                  </a:moveTo>
                  <a:lnTo>
                    <a:pt x="1858" y="386"/>
                  </a:lnTo>
                  <a:lnTo>
                    <a:pt x="1848" y="382"/>
                  </a:lnTo>
                  <a:lnTo>
                    <a:pt x="1844" y="378"/>
                  </a:lnTo>
                  <a:lnTo>
                    <a:pt x="1840" y="374"/>
                  </a:lnTo>
                  <a:lnTo>
                    <a:pt x="1832" y="368"/>
                  </a:lnTo>
                  <a:lnTo>
                    <a:pt x="1828" y="366"/>
                  </a:lnTo>
                  <a:lnTo>
                    <a:pt x="1826" y="368"/>
                  </a:lnTo>
                  <a:lnTo>
                    <a:pt x="1828" y="378"/>
                  </a:lnTo>
                  <a:lnTo>
                    <a:pt x="1830" y="382"/>
                  </a:lnTo>
                  <a:lnTo>
                    <a:pt x="1834" y="386"/>
                  </a:lnTo>
                  <a:lnTo>
                    <a:pt x="1848" y="394"/>
                  </a:lnTo>
                  <a:lnTo>
                    <a:pt x="1864" y="404"/>
                  </a:lnTo>
                  <a:lnTo>
                    <a:pt x="1878" y="414"/>
                  </a:lnTo>
                  <a:lnTo>
                    <a:pt x="1880" y="416"/>
                  </a:lnTo>
                  <a:lnTo>
                    <a:pt x="1882" y="416"/>
                  </a:lnTo>
                  <a:lnTo>
                    <a:pt x="1878" y="408"/>
                  </a:lnTo>
                  <a:lnTo>
                    <a:pt x="1870" y="396"/>
                  </a:lnTo>
                  <a:lnTo>
                    <a:pt x="1864" y="390"/>
                  </a:lnTo>
                  <a:lnTo>
                    <a:pt x="1858" y="386"/>
                  </a:lnTo>
                  <a:close/>
                  <a:moveTo>
                    <a:pt x="1882" y="456"/>
                  </a:moveTo>
                  <a:lnTo>
                    <a:pt x="1882" y="456"/>
                  </a:lnTo>
                  <a:lnTo>
                    <a:pt x="1876" y="450"/>
                  </a:lnTo>
                  <a:lnTo>
                    <a:pt x="1872" y="450"/>
                  </a:lnTo>
                  <a:lnTo>
                    <a:pt x="1870" y="454"/>
                  </a:lnTo>
                  <a:lnTo>
                    <a:pt x="1870" y="462"/>
                  </a:lnTo>
                  <a:lnTo>
                    <a:pt x="1870" y="468"/>
                  </a:lnTo>
                  <a:lnTo>
                    <a:pt x="1876" y="474"/>
                  </a:lnTo>
                  <a:lnTo>
                    <a:pt x="1882" y="478"/>
                  </a:lnTo>
                  <a:lnTo>
                    <a:pt x="1892" y="478"/>
                  </a:lnTo>
                  <a:lnTo>
                    <a:pt x="1900" y="476"/>
                  </a:lnTo>
                  <a:lnTo>
                    <a:pt x="1900" y="478"/>
                  </a:lnTo>
                  <a:lnTo>
                    <a:pt x="1902" y="480"/>
                  </a:lnTo>
                  <a:lnTo>
                    <a:pt x="1912" y="482"/>
                  </a:lnTo>
                  <a:lnTo>
                    <a:pt x="1916" y="482"/>
                  </a:lnTo>
                  <a:lnTo>
                    <a:pt x="1920" y="482"/>
                  </a:lnTo>
                  <a:lnTo>
                    <a:pt x="1920" y="480"/>
                  </a:lnTo>
                  <a:lnTo>
                    <a:pt x="1918" y="476"/>
                  </a:lnTo>
                  <a:lnTo>
                    <a:pt x="1914" y="468"/>
                  </a:lnTo>
                  <a:lnTo>
                    <a:pt x="1906" y="460"/>
                  </a:lnTo>
                  <a:lnTo>
                    <a:pt x="1902" y="458"/>
                  </a:lnTo>
                  <a:lnTo>
                    <a:pt x="1900" y="456"/>
                  </a:lnTo>
                  <a:lnTo>
                    <a:pt x="1892" y="456"/>
                  </a:lnTo>
                  <a:lnTo>
                    <a:pt x="1886" y="458"/>
                  </a:lnTo>
                  <a:lnTo>
                    <a:pt x="1884" y="456"/>
                  </a:lnTo>
                  <a:lnTo>
                    <a:pt x="1882" y="456"/>
                  </a:lnTo>
                  <a:close/>
                  <a:moveTo>
                    <a:pt x="1884" y="560"/>
                  </a:moveTo>
                  <a:lnTo>
                    <a:pt x="1884" y="560"/>
                  </a:lnTo>
                  <a:lnTo>
                    <a:pt x="1886" y="564"/>
                  </a:lnTo>
                  <a:lnTo>
                    <a:pt x="1894" y="570"/>
                  </a:lnTo>
                  <a:lnTo>
                    <a:pt x="1902" y="576"/>
                  </a:lnTo>
                  <a:lnTo>
                    <a:pt x="1906" y="576"/>
                  </a:lnTo>
                  <a:lnTo>
                    <a:pt x="1910" y="576"/>
                  </a:lnTo>
                  <a:lnTo>
                    <a:pt x="1910" y="574"/>
                  </a:lnTo>
                  <a:lnTo>
                    <a:pt x="1908" y="570"/>
                  </a:lnTo>
                  <a:lnTo>
                    <a:pt x="1900" y="562"/>
                  </a:lnTo>
                  <a:lnTo>
                    <a:pt x="1890" y="558"/>
                  </a:lnTo>
                  <a:lnTo>
                    <a:pt x="1886" y="558"/>
                  </a:lnTo>
                  <a:lnTo>
                    <a:pt x="1884" y="560"/>
                  </a:lnTo>
                  <a:close/>
                  <a:moveTo>
                    <a:pt x="1966" y="508"/>
                  </a:moveTo>
                  <a:lnTo>
                    <a:pt x="1966" y="508"/>
                  </a:lnTo>
                  <a:lnTo>
                    <a:pt x="1958" y="506"/>
                  </a:lnTo>
                  <a:lnTo>
                    <a:pt x="1950" y="502"/>
                  </a:lnTo>
                  <a:lnTo>
                    <a:pt x="1942" y="498"/>
                  </a:lnTo>
                  <a:lnTo>
                    <a:pt x="1938" y="498"/>
                  </a:lnTo>
                  <a:lnTo>
                    <a:pt x="1936" y="500"/>
                  </a:lnTo>
                  <a:lnTo>
                    <a:pt x="1934" y="500"/>
                  </a:lnTo>
                  <a:lnTo>
                    <a:pt x="1934" y="502"/>
                  </a:lnTo>
                  <a:lnTo>
                    <a:pt x="1938" y="504"/>
                  </a:lnTo>
                  <a:lnTo>
                    <a:pt x="1942" y="506"/>
                  </a:lnTo>
                  <a:lnTo>
                    <a:pt x="1944" y="510"/>
                  </a:lnTo>
                  <a:lnTo>
                    <a:pt x="1944" y="512"/>
                  </a:lnTo>
                  <a:lnTo>
                    <a:pt x="1946" y="516"/>
                  </a:lnTo>
                  <a:lnTo>
                    <a:pt x="1948" y="518"/>
                  </a:lnTo>
                  <a:lnTo>
                    <a:pt x="1956" y="524"/>
                  </a:lnTo>
                  <a:lnTo>
                    <a:pt x="1966" y="528"/>
                  </a:lnTo>
                  <a:lnTo>
                    <a:pt x="1974" y="528"/>
                  </a:lnTo>
                  <a:lnTo>
                    <a:pt x="1976" y="528"/>
                  </a:lnTo>
                  <a:lnTo>
                    <a:pt x="1978" y="526"/>
                  </a:lnTo>
                  <a:lnTo>
                    <a:pt x="1976" y="518"/>
                  </a:lnTo>
                  <a:lnTo>
                    <a:pt x="1972" y="512"/>
                  </a:lnTo>
                  <a:lnTo>
                    <a:pt x="1968" y="510"/>
                  </a:lnTo>
                  <a:lnTo>
                    <a:pt x="1966" y="508"/>
                  </a:lnTo>
                  <a:close/>
                  <a:moveTo>
                    <a:pt x="2174" y="784"/>
                  </a:moveTo>
                  <a:lnTo>
                    <a:pt x="2174" y="784"/>
                  </a:lnTo>
                  <a:lnTo>
                    <a:pt x="2174" y="788"/>
                  </a:lnTo>
                  <a:lnTo>
                    <a:pt x="2180" y="792"/>
                  </a:lnTo>
                  <a:lnTo>
                    <a:pt x="2182" y="794"/>
                  </a:lnTo>
                  <a:lnTo>
                    <a:pt x="2184" y="798"/>
                  </a:lnTo>
                  <a:lnTo>
                    <a:pt x="2186" y="804"/>
                  </a:lnTo>
                  <a:lnTo>
                    <a:pt x="2188" y="808"/>
                  </a:lnTo>
                  <a:lnTo>
                    <a:pt x="2192" y="808"/>
                  </a:lnTo>
                  <a:lnTo>
                    <a:pt x="2196" y="808"/>
                  </a:lnTo>
                  <a:lnTo>
                    <a:pt x="2198" y="806"/>
                  </a:lnTo>
                  <a:lnTo>
                    <a:pt x="2198" y="800"/>
                  </a:lnTo>
                  <a:lnTo>
                    <a:pt x="2196" y="794"/>
                  </a:lnTo>
                  <a:lnTo>
                    <a:pt x="2190" y="788"/>
                  </a:lnTo>
                  <a:lnTo>
                    <a:pt x="2186" y="784"/>
                  </a:lnTo>
                  <a:lnTo>
                    <a:pt x="2180" y="780"/>
                  </a:lnTo>
                  <a:lnTo>
                    <a:pt x="2176" y="780"/>
                  </a:lnTo>
                  <a:lnTo>
                    <a:pt x="2174" y="784"/>
                  </a:lnTo>
                  <a:close/>
                  <a:moveTo>
                    <a:pt x="1938" y="458"/>
                  </a:moveTo>
                  <a:lnTo>
                    <a:pt x="1938" y="458"/>
                  </a:lnTo>
                  <a:lnTo>
                    <a:pt x="1938" y="454"/>
                  </a:lnTo>
                  <a:lnTo>
                    <a:pt x="1938" y="448"/>
                  </a:lnTo>
                  <a:lnTo>
                    <a:pt x="1936" y="444"/>
                  </a:lnTo>
                  <a:lnTo>
                    <a:pt x="1930" y="438"/>
                  </a:lnTo>
                  <a:lnTo>
                    <a:pt x="1928" y="434"/>
                  </a:lnTo>
                  <a:lnTo>
                    <a:pt x="1926" y="428"/>
                  </a:lnTo>
                  <a:lnTo>
                    <a:pt x="1922" y="420"/>
                  </a:lnTo>
                  <a:lnTo>
                    <a:pt x="1920" y="410"/>
                  </a:lnTo>
                  <a:lnTo>
                    <a:pt x="1916" y="408"/>
                  </a:lnTo>
                  <a:lnTo>
                    <a:pt x="1910" y="406"/>
                  </a:lnTo>
                  <a:lnTo>
                    <a:pt x="1908" y="404"/>
                  </a:lnTo>
                  <a:lnTo>
                    <a:pt x="1906" y="406"/>
                  </a:lnTo>
                  <a:lnTo>
                    <a:pt x="1906" y="412"/>
                  </a:lnTo>
                  <a:lnTo>
                    <a:pt x="1912" y="422"/>
                  </a:lnTo>
                  <a:lnTo>
                    <a:pt x="1916" y="440"/>
                  </a:lnTo>
                  <a:lnTo>
                    <a:pt x="1918" y="446"/>
                  </a:lnTo>
                  <a:lnTo>
                    <a:pt x="1920" y="448"/>
                  </a:lnTo>
                  <a:lnTo>
                    <a:pt x="1926" y="452"/>
                  </a:lnTo>
                  <a:lnTo>
                    <a:pt x="1930" y="460"/>
                  </a:lnTo>
                  <a:lnTo>
                    <a:pt x="1936" y="466"/>
                  </a:lnTo>
                  <a:lnTo>
                    <a:pt x="1940" y="470"/>
                  </a:lnTo>
                  <a:lnTo>
                    <a:pt x="1942" y="468"/>
                  </a:lnTo>
                  <a:lnTo>
                    <a:pt x="1938" y="458"/>
                  </a:lnTo>
                  <a:close/>
                  <a:moveTo>
                    <a:pt x="2456" y="2102"/>
                  </a:moveTo>
                  <a:lnTo>
                    <a:pt x="2456" y="2102"/>
                  </a:lnTo>
                  <a:lnTo>
                    <a:pt x="2460" y="2096"/>
                  </a:lnTo>
                  <a:lnTo>
                    <a:pt x="2460" y="2090"/>
                  </a:lnTo>
                  <a:lnTo>
                    <a:pt x="2458" y="2084"/>
                  </a:lnTo>
                  <a:lnTo>
                    <a:pt x="2456" y="2082"/>
                  </a:lnTo>
                  <a:lnTo>
                    <a:pt x="2450" y="2082"/>
                  </a:lnTo>
                  <a:lnTo>
                    <a:pt x="2442" y="2084"/>
                  </a:lnTo>
                  <a:lnTo>
                    <a:pt x="2434" y="2088"/>
                  </a:lnTo>
                  <a:lnTo>
                    <a:pt x="2426" y="2094"/>
                  </a:lnTo>
                  <a:lnTo>
                    <a:pt x="2418" y="2100"/>
                  </a:lnTo>
                  <a:lnTo>
                    <a:pt x="2412" y="2100"/>
                  </a:lnTo>
                  <a:lnTo>
                    <a:pt x="2410" y="2098"/>
                  </a:lnTo>
                  <a:lnTo>
                    <a:pt x="2410" y="2094"/>
                  </a:lnTo>
                  <a:lnTo>
                    <a:pt x="2410" y="2080"/>
                  </a:lnTo>
                  <a:lnTo>
                    <a:pt x="2410" y="2076"/>
                  </a:lnTo>
                  <a:lnTo>
                    <a:pt x="2408" y="2074"/>
                  </a:lnTo>
                  <a:lnTo>
                    <a:pt x="2400" y="2072"/>
                  </a:lnTo>
                  <a:lnTo>
                    <a:pt x="2398" y="2070"/>
                  </a:lnTo>
                  <a:lnTo>
                    <a:pt x="2398" y="2068"/>
                  </a:lnTo>
                  <a:lnTo>
                    <a:pt x="2404" y="2064"/>
                  </a:lnTo>
                  <a:lnTo>
                    <a:pt x="2408" y="2062"/>
                  </a:lnTo>
                  <a:lnTo>
                    <a:pt x="2408" y="2058"/>
                  </a:lnTo>
                  <a:lnTo>
                    <a:pt x="2408" y="2056"/>
                  </a:lnTo>
                  <a:lnTo>
                    <a:pt x="2404" y="2054"/>
                  </a:lnTo>
                  <a:lnTo>
                    <a:pt x="2400" y="2054"/>
                  </a:lnTo>
                  <a:lnTo>
                    <a:pt x="2396" y="2056"/>
                  </a:lnTo>
                  <a:lnTo>
                    <a:pt x="2388" y="2060"/>
                  </a:lnTo>
                  <a:lnTo>
                    <a:pt x="2380" y="2068"/>
                  </a:lnTo>
                  <a:lnTo>
                    <a:pt x="2376" y="2074"/>
                  </a:lnTo>
                  <a:lnTo>
                    <a:pt x="2374" y="2080"/>
                  </a:lnTo>
                  <a:lnTo>
                    <a:pt x="2374" y="2096"/>
                  </a:lnTo>
                  <a:lnTo>
                    <a:pt x="2372" y="2104"/>
                  </a:lnTo>
                  <a:lnTo>
                    <a:pt x="2370" y="2110"/>
                  </a:lnTo>
                  <a:lnTo>
                    <a:pt x="2366" y="2116"/>
                  </a:lnTo>
                  <a:lnTo>
                    <a:pt x="2358" y="2120"/>
                  </a:lnTo>
                  <a:lnTo>
                    <a:pt x="2352" y="2126"/>
                  </a:lnTo>
                  <a:lnTo>
                    <a:pt x="2346" y="2134"/>
                  </a:lnTo>
                  <a:lnTo>
                    <a:pt x="2336" y="2156"/>
                  </a:lnTo>
                  <a:lnTo>
                    <a:pt x="2324" y="2180"/>
                  </a:lnTo>
                  <a:lnTo>
                    <a:pt x="2318" y="2190"/>
                  </a:lnTo>
                  <a:lnTo>
                    <a:pt x="2310" y="2196"/>
                  </a:lnTo>
                  <a:lnTo>
                    <a:pt x="2298" y="2206"/>
                  </a:lnTo>
                  <a:lnTo>
                    <a:pt x="2286" y="2218"/>
                  </a:lnTo>
                  <a:lnTo>
                    <a:pt x="2274" y="2228"/>
                  </a:lnTo>
                  <a:lnTo>
                    <a:pt x="2270" y="2230"/>
                  </a:lnTo>
                  <a:lnTo>
                    <a:pt x="2264" y="2232"/>
                  </a:lnTo>
                  <a:lnTo>
                    <a:pt x="2260" y="2234"/>
                  </a:lnTo>
                  <a:lnTo>
                    <a:pt x="2256" y="2236"/>
                  </a:lnTo>
                  <a:lnTo>
                    <a:pt x="2250" y="2242"/>
                  </a:lnTo>
                  <a:lnTo>
                    <a:pt x="2246" y="2248"/>
                  </a:lnTo>
                  <a:lnTo>
                    <a:pt x="2242" y="2250"/>
                  </a:lnTo>
                  <a:lnTo>
                    <a:pt x="2236" y="2250"/>
                  </a:lnTo>
                  <a:lnTo>
                    <a:pt x="2228" y="2250"/>
                  </a:lnTo>
                  <a:lnTo>
                    <a:pt x="2222" y="2254"/>
                  </a:lnTo>
                  <a:lnTo>
                    <a:pt x="2216" y="2260"/>
                  </a:lnTo>
                  <a:lnTo>
                    <a:pt x="2210" y="2266"/>
                  </a:lnTo>
                  <a:lnTo>
                    <a:pt x="2200" y="2282"/>
                  </a:lnTo>
                  <a:lnTo>
                    <a:pt x="2186" y="2298"/>
                  </a:lnTo>
                  <a:lnTo>
                    <a:pt x="2174" y="2310"/>
                  </a:lnTo>
                  <a:lnTo>
                    <a:pt x="2162" y="2322"/>
                  </a:lnTo>
                  <a:lnTo>
                    <a:pt x="2160" y="2328"/>
                  </a:lnTo>
                  <a:lnTo>
                    <a:pt x="2156" y="2334"/>
                  </a:lnTo>
                  <a:lnTo>
                    <a:pt x="2156" y="2338"/>
                  </a:lnTo>
                  <a:lnTo>
                    <a:pt x="2158" y="2344"/>
                  </a:lnTo>
                  <a:lnTo>
                    <a:pt x="2160" y="2348"/>
                  </a:lnTo>
                  <a:lnTo>
                    <a:pt x="2158" y="2352"/>
                  </a:lnTo>
                  <a:lnTo>
                    <a:pt x="2152" y="2356"/>
                  </a:lnTo>
                  <a:lnTo>
                    <a:pt x="2146" y="2360"/>
                  </a:lnTo>
                  <a:lnTo>
                    <a:pt x="2146" y="2362"/>
                  </a:lnTo>
                  <a:lnTo>
                    <a:pt x="2146" y="2368"/>
                  </a:lnTo>
                  <a:lnTo>
                    <a:pt x="2152" y="2376"/>
                  </a:lnTo>
                  <a:lnTo>
                    <a:pt x="2162" y="2382"/>
                  </a:lnTo>
                  <a:lnTo>
                    <a:pt x="2168" y="2384"/>
                  </a:lnTo>
                  <a:lnTo>
                    <a:pt x="2172" y="2384"/>
                  </a:lnTo>
                  <a:lnTo>
                    <a:pt x="2178" y="2382"/>
                  </a:lnTo>
                  <a:lnTo>
                    <a:pt x="2184" y="2378"/>
                  </a:lnTo>
                  <a:lnTo>
                    <a:pt x="2190" y="2376"/>
                  </a:lnTo>
                  <a:lnTo>
                    <a:pt x="2192" y="2374"/>
                  </a:lnTo>
                  <a:lnTo>
                    <a:pt x="2194" y="2376"/>
                  </a:lnTo>
                  <a:lnTo>
                    <a:pt x="2196" y="2378"/>
                  </a:lnTo>
                  <a:lnTo>
                    <a:pt x="2200" y="2384"/>
                  </a:lnTo>
                  <a:lnTo>
                    <a:pt x="2202" y="2386"/>
                  </a:lnTo>
                  <a:lnTo>
                    <a:pt x="2208" y="2386"/>
                  </a:lnTo>
                  <a:lnTo>
                    <a:pt x="2212" y="2386"/>
                  </a:lnTo>
                  <a:lnTo>
                    <a:pt x="2216" y="2388"/>
                  </a:lnTo>
                  <a:lnTo>
                    <a:pt x="2218" y="2392"/>
                  </a:lnTo>
                  <a:lnTo>
                    <a:pt x="2218" y="2396"/>
                  </a:lnTo>
                  <a:lnTo>
                    <a:pt x="2220" y="2398"/>
                  </a:lnTo>
                  <a:lnTo>
                    <a:pt x="2224" y="2402"/>
                  </a:lnTo>
                  <a:lnTo>
                    <a:pt x="2232" y="2402"/>
                  </a:lnTo>
                  <a:lnTo>
                    <a:pt x="2248" y="2404"/>
                  </a:lnTo>
                  <a:lnTo>
                    <a:pt x="2256" y="2404"/>
                  </a:lnTo>
                  <a:lnTo>
                    <a:pt x="2262" y="2404"/>
                  </a:lnTo>
                  <a:lnTo>
                    <a:pt x="2268" y="2402"/>
                  </a:lnTo>
                  <a:lnTo>
                    <a:pt x="2276" y="2398"/>
                  </a:lnTo>
                  <a:lnTo>
                    <a:pt x="2282" y="2390"/>
                  </a:lnTo>
                  <a:lnTo>
                    <a:pt x="2288" y="2380"/>
                  </a:lnTo>
                  <a:lnTo>
                    <a:pt x="2296" y="2372"/>
                  </a:lnTo>
                  <a:lnTo>
                    <a:pt x="2302" y="2366"/>
                  </a:lnTo>
                  <a:lnTo>
                    <a:pt x="2308" y="2362"/>
                  </a:lnTo>
                  <a:lnTo>
                    <a:pt x="2314" y="2360"/>
                  </a:lnTo>
                  <a:lnTo>
                    <a:pt x="2320" y="2358"/>
                  </a:lnTo>
                  <a:lnTo>
                    <a:pt x="2320" y="2356"/>
                  </a:lnTo>
                  <a:lnTo>
                    <a:pt x="2318" y="2352"/>
                  </a:lnTo>
                  <a:lnTo>
                    <a:pt x="2318" y="2346"/>
                  </a:lnTo>
                  <a:lnTo>
                    <a:pt x="2318" y="2340"/>
                  </a:lnTo>
                  <a:lnTo>
                    <a:pt x="2324" y="2328"/>
                  </a:lnTo>
                  <a:lnTo>
                    <a:pt x="2332" y="2312"/>
                  </a:lnTo>
                  <a:lnTo>
                    <a:pt x="2336" y="2300"/>
                  </a:lnTo>
                  <a:lnTo>
                    <a:pt x="2336" y="2288"/>
                  </a:lnTo>
                  <a:lnTo>
                    <a:pt x="2340" y="2276"/>
                  </a:lnTo>
                  <a:lnTo>
                    <a:pt x="2346" y="2266"/>
                  </a:lnTo>
                  <a:lnTo>
                    <a:pt x="2354" y="2258"/>
                  </a:lnTo>
                  <a:lnTo>
                    <a:pt x="2364" y="2252"/>
                  </a:lnTo>
                  <a:lnTo>
                    <a:pt x="2376" y="2248"/>
                  </a:lnTo>
                  <a:lnTo>
                    <a:pt x="2386" y="2246"/>
                  </a:lnTo>
                  <a:lnTo>
                    <a:pt x="2394" y="2244"/>
                  </a:lnTo>
                  <a:lnTo>
                    <a:pt x="2400" y="2246"/>
                  </a:lnTo>
                  <a:lnTo>
                    <a:pt x="2406" y="2246"/>
                  </a:lnTo>
                  <a:lnTo>
                    <a:pt x="2410" y="2246"/>
                  </a:lnTo>
                  <a:lnTo>
                    <a:pt x="2414" y="2244"/>
                  </a:lnTo>
                  <a:lnTo>
                    <a:pt x="2416" y="2242"/>
                  </a:lnTo>
                  <a:lnTo>
                    <a:pt x="2418" y="2238"/>
                  </a:lnTo>
                  <a:lnTo>
                    <a:pt x="2418" y="2236"/>
                  </a:lnTo>
                  <a:lnTo>
                    <a:pt x="2416" y="2232"/>
                  </a:lnTo>
                  <a:lnTo>
                    <a:pt x="2410" y="2230"/>
                  </a:lnTo>
                  <a:lnTo>
                    <a:pt x="2404" y="2228"/>
                  </a:lnTo>
                  <a:lnTo>
                    <a:pt x="2402" y="2224"/>
                  </a:lnTo>
                  <a:lnTo>
                    <a:pt x="2400" y="2218"/>
                  </a:lnTo>
                  <a:lnTo>
                    <a:pt x="2400" y="2214"/>
                  </a:lnTo>
                  <a:lnTo>
                    <a:pt x="2400" y="2208"/>
                  </a:lnTo>
                  <a:lnTo>
                    <a:pt x="2402" y="2204"/>
                  </a:lnTo>
                  <a:lnTo>
                    <a:pt x="2406" y="2200"/>
                  </a:lnTo>
                  <a:lnTo>
                    <a:pt x="2410" y="2198"/>
                  </a:lnTo>
                  <a:lnTo>
                    <a:pt x="2416" y="2196"/>
                  </a:lnTo>
                  <a:lnTo>
                    <a:pt x="2420" y="2192"/>
                  </a:lnTo>
                  <a:lnTo>
                    <a:pt x="2430" y="2178"/>
                  </a:lnTo>
                  <a:lnTo>
                    <a:pt x="2440" y="2160"/>
                  </a:lnTo>
                  <a:lnTo>
                    <a:pt x="2454" y="2138"/>
                  </a:lnTo>
                  <a:lnTo>
                    <a:pt x="2460" y="2130"/>
                  </a:lnTo>
                  <a:lnTo>
                    <a:pt x="2462" y="2124"/>
                  </a:lnTo>
                  <a:lnTo>
                    <a:pt x="2462" y="2120"/>
                  </a:lnTo>
                  <a:lnTo>
                    <a:pt x="2460" y="2118"/>
                  </a:lnTo>
                  <a:lnTo>
                    <a:pt x="2456" y="2116"/>
                  </a:lnTo>
                  <a:lnTo>
                    <a:pt x="2454" y="2114"/>
                  </a:lnTo>
                  <a:lnTo>
                    <a:pt x="2454" y="2110"/>
                  </a:lnTo>
                  <a:lnTo>
                    <a:pt x="2456" y="2102"/>
                  </a:lnTo>
                  <a:close/>
                  <a:moveTo>
                    <a:pt x="2684" y="808"/>
                  </a:moveTo>
                  <a:lnTo>
                    <a:pt x="2684" y="808"/>
                  </a:lnTo>
                  <a:lnTo>
                    <a:pt x="2680" y="812"/>
                  </a:lnTo>
                  <a:lnTo>
                    <a:pt x="2678" y="810"/>
                  </a:lnTo>
                  <a:lnTo>
                    <a:pt x="2682" y="802"/>
                  </a:lnTo>
                  <a:lnTo>
                    <a:pt x="2688" y="794"/>
                  </a:lnTo>
                  <a:lnTo>
                    <a:pt x="2690" y="792"/>
                  </a:lnTo>
                  <a:lnTo>
                    <a:pt x="2690" y="790"/>
                  </a:lnTo>
                  <a:lnTo>
                    <a:pt x="2688" y="788"/>
                  </a:lnTo>
                  <a:lnTo>
                    <a:pt x="2684" y="790"/>
                  </a:lnTo>
                  <a:lnTo>
                    <a:pt x="2676" y="794"/>
                  </a:lnTo>
                  <a:lnTo>
                    <a:pt x="2664" y="800"/>
                  </a:lnTo>
                  <a:lnTo>
                    <a:pt x="2658" y="804"/>
                  </a:lnTo>
                  <a:lnTo>
                    <a:pt x="2652" y="806"/>
                  </a:lnTo>
                  <a:lnTo>
                    <a:pt x="2648" y="806"/>
                  </a:lnTo>
                  <a:lnTo>
                    <a:pt x="2646" y="812"/>
                  </a:lnTo>
                  <a:lnTo>
                    <a:pt x="2644" y="814"/>
                  </a:lnTo>
                  <a:lnTo>
                    <a:pt x="2642" y="816"/>
                  </a:lnTo>
                  <a:lnTo>
                    <a:pt x="2636" y="814"/>
                  </a:lnTo>
                  <a:lnTo>
                    <a:pt x="2634" y="814"/>
                  </a:lnTo>
                  <a:lnTo>
                    <a:pt x="2634" y="816"/>
                  </a:lnTo>
                  <a:lnTo>
                    <a:pt x="2636" y="826"/>
                  </a:lnTo>
                  <a:lnTo>
                    <a:pt x="2640" y="832"/>
                  </a:lnTo>
                  <a:lnTo>
                    <a:pt x="2642" y="832"/>
                  </a:lnTo>
                  <a:lnTo>
                    <a:pt x="2656" y="822"/>
                  </a:lnTo>
                  <a:lnTo>
                    <a:pt x="2660" y="820"/>
                  </a:lnTo>
                  <a:lnTo>
                    <a:pt x="2662" y="820"/>
                  </a:lnTo>
                  <a:lnTo>
                    <a:pt x="2664" y="820"/>
                  </a:lnTo>
                  <a:lnTo>
                    <a:pt x="2666" y="822"/>
                  </a:lnTo>
                  <a:lnTo>
                    <a:pt x="2666" y="824"/>
                  </a:lnTo>
                  <a:lnTo>
                    <a:pt x="2668" y="824"/>
                  </a:lnTo>
                  <a:lnTo>
                    <a:pt x="2670" y="824"/>
                  </a:lnTo>
                  <a:lnTo>
                    <a:pt x="2678" y="820"/>
                  </a:lnTo>
                  <a:lnTo>
                    <a:pt x="2684" y="820"/>
                  </a:lnTo>
                  <a:lnTo>
                    <a:pt x="2690" y="820"/>
                  </a:lnTo>
                  <a:lnTo>
                    <a:pt x="2688" y="816"/>
                  </a:lnTo>
                  <a:lnTo>
                    <a:pt x="2688" y="810"/>
                  </a:lnTo>
                  <a:lnTo>
                    <a:pt x="2688" y="806"/>
                  </a:lnTo>
                  <a:lnTo>
                    <a:pt x="2684" y="808"/>
                  </a:lnTo>
                  <a:close/>
                  <a:moveTo>
                    <a:pt x="2600" y="1904"/>
                  </a:moveTo>
                  <a:lnTo>
                    <a:pt x="2600" y="1904"/>
                  </a:lnTo>
                  <a:lnTo>
                    <a:pt x="2596" y="1910"/>
                  </a:lnTo>
                  <a:lnTo>
                    <a:pt x="2592" y="1916"/>
                  </a:lnTo>
                  <a:lnTo>
                    <a:pt x="2586" y="1918"/>
                  </a:lnTo>
                  <a:lnTo>
                    <a:pt x="2580" y="1918"/>
                  </a:lnTo>
                  <a:lnTo>
                    <a:pt x="2574" y="1918"/>
                  </a:lnTo>
                  <a:lnTo>
                    <a:pt x="2566" y="1914"/>
                  </a:lnTo>
                  <a:lnTo>
                    <a:pt x="2548" y="1906"/>
                  </a:lnTo>
                  <a:lnTo>
                    <a:pt x="2540" y="1900"/>
                  </a:lnTo>
                  <a:lnTo>
                    <a:pt x="2534" y="1892"/>
                  </a:lnTo>
                  <a:lnTo>
                    <a:pt x="2530" y="1884"/>
                  </a:lnTo>
                  <a:lnTo>
                    <a:pt x="2528" y="1876"/>
                  </a:lnTo>
                  <a:lnTo>
                    <a:pt x="2522" y="1856"/>
                  </a:lnTo>
                  <a:lnTo>
                    <a:pt x="2518" y="1848"/>
                  </a:lnTo>
                  <a:lnTo>
                    <a:pt x="2514" y="1840"/>
                  </a:lnTo>
                  <a:lnTo>
                    <a:pt x="2508" y="1834"/>
                  </a:lnTo>
                  <a:lnTo>
                    <a:pt x="2504" y="1832"/>
                  </a:lnTo>
                  <a:lnTo>
                    <a:pt x="2504" y="1834"/>
                  </a:lnTo>
                  <a:lnTo>
                    <a:pt x="2504" y="1838"/>
                  </a:lnTo>
                  <a:lnTo>
                    <a:pt x="2506" y="1850"/>
                  </a:lnTo>
                  <a:lnTo>
                    <a:pt x="2512" y="1868"/>
                  </a:lnTo>
                  <a:lnTo>
                    <a:pt x="2514" y="1874"/>
                  </a:lnTo>
                  <a:lnTo>
                    <a:pt x="2512" y="1876"/>
                  </a:lnTo>
                  <a:lnTo>
                    <a:pt x="2506" y="1874"/>
                  </a:lnTo>
                  <a:lnTo>
                    <a:pt x="2498" y="1868"/>
                  </a:lnTo>
                  <a:lnTo>
                    <a:pt x="2490" y="1862"/>
                  </a:lnTo>
                  <a:lnTo>
                    <a:pt x="2484" y="1854"/>
                  </a:lnTo>
                  <a:lnTo>
                    <a:pt x="2482" y="1844"/>
                  </a:lnTo>
                  <a:lnTo>
                    <a:pt x="2482" y="1836"/>
                  </a:lnTo>
                  <a:lnTo>
                    <a:pt x="2482" y="1830"/>
                  </a:lnTo>
                  <a:lnTo>
                    <a:pt x="2482" y="1826"/>
                  </a:lnTo>
                  <a:lnTo>
                    <a:pt x="2478" y="1818"/>
                  </a:lnTo>
                  <a:lnTo>
                    <a:pt x="2474" y="1810"/>
                  </a:lnTo>
                  <a:lnTo>
                    <a:pt x="2472" y="1806"/>
                  </a:lnTo>
                  <a:lnTo>
                    <a:pt x="2472" y="1802"/>
                  </a:lnTo>
                  <a:lnTo>
                    <a:pt x="2472" y="1792"/>
                  </a:lnTo>
                  <a:lnTo>
                    <a:pt x="2470" y="1786"/>
                  </a:lnTo>
                  <a:lnTo>
                    <a:pt x="2466" y="1780"/>
                  </a:lnTo>
                  <a:lnTo>
                    <a:pt x="2462" y="1770"/>
                  </a:lnTo>
                  <a:lnTo>
                    <a:pt x="2454" y="1762"/>
                  </a:lnTo>
                  <a:lnTo>
                    <a:pt x="2448" y="1758"/>
                  </a:lnTo>
                  <a:lnTo>
                    <a:pt x="2440" y="1754"/>
                  </a:lnTo>
                  <a:lnTo>
                    <a:pt x="2428" y="1752"/>
                  </a:lnTo>
                  <a:lnTo>
                    <a:pt x="2424" y="1750"/>
                  </a:lnTo>
                  <a:lnTo>
                    <a:pt x="2422" y="1748"/>
                  </a:lnTo>
                  <a:lnTo>
                    <a:pt x="2418" y="1738"/>
                  </a:lnTo>
                  <a:lnTo>
                    <a:pt x="2412" y="1730"/>
                  </a:lnTo>
                  <a:lnTo>
                    <a:pt x="2408" y="1726"/>
                  </a:lnTo>
                  <a:lnTo>
                    <a:pt x="2402" y="1726"/>
                  </a:lnTo>
                  <a:lnTo>
                    <a:pt x="2394" y="1726"/>
                  </a:lnTo>
                  <a:lnTo>
                    <a:pt x="2394" y="1728"/>
                  </a:lnTo>
                  <a:lnTo>
                    <a:pt x="2394" y="1730"/>
                  </a:lnTo>
                  <a:lnTo>
                    <a:pt x="2400" y="1736"/>
                  </a:lnTo>
                  <a:lnTo>
                    <a:pt x="2410" y="1748"/>
                  </a:lnTo>
                  <a:lnTo>
                    <a:pt x="2414" y="1754"/>
                  </a:lnTo>
                  <a:lnTo>
                    <a:pt x="2416" y="1758"/>
                  </a:lnTo>
                  <a:lnTo>
                    <a:pt x="2416" y="1762"/>
                  </a:lnTo>
                  <a:lnTo>
                    <a:pt x="2416" y="1764"/>
                  </a:lnTo>
                  <a:lnTo>
                    <a:pt x="2414" y="1768"/>
                  </a:lnTo>
                  <a:lnTo>
                    <a:pt x="2420" y="1776"/>
                  </a:lnTo>
                  <a:lnTo>
                    <a:pt x="2426" y="1784"/>
                  </a:lnTo>
                  <a:lnTo>
                    <a:pt x="2430" y="1794"/>
                  </a:lnTo>
                  <a:lnTo>
                    <a:pt x="2440" y="1814"/>
                  </a:lnTo>
                  <a:lnTo>
                    <a:pt x="2444" y="1822"/>
                  </a:lnTo>
                  <a:lnTo>
                    <a:pt x="2448" y="1828"/>
                  </a:lnTo>
                  <a:lnTo>
                    <a:pt x="2452" y="1830"/>
                  </a:lnTo>
                  <a:lnTo>
                    <a:pt x="2454" y="1826"/>
                  </a:lnTo>
                  <a:lnTo>
                    <a:pt x="2456" y="1822"/>
                  </a:lnTo>
                  <a:lnTo>
                    <a:pt x="2460" y="1822"/>
                  </a:lnTo>
                  <a:lnTo>
                    <a:pt x="2464" y="1830"/>
                  </a:lnTo>
                  <a:lnTo>
                    <a:pt x="2466" y="1840"/>
                  </a:lnTo>
                  <a:lnTo>
                    <a:pt x="2466" y="1842"/>
                  </a:lnTo>
                  <a:lnTo>
                    <a:pt x="2464" y="1842"/>
                  </a:lnTo>
                  <a:lnTo>
                    <a:pt x="2458" y="1838"/>
                  </a:lnTo>
                  <a:lnTo>
                    <a:pt x="2458" y="1842"/>
                  </a:lnTo>
                  <a:lnTo>
                    <a:pt x="2474" y="1878"/>
                  </a:lnTo>
                  <a:lnTo>
                    <a:pt x="2480" y="1892"/>
                  </a:lnTo>
                  <a:lnTo>
                    <a:pt x="2482" y="1902"/>
                  </a:lnTo>
                  <a:lnTo>
                    <a:pt x="2482" y="1910"/>
                  </a:lnTo>
                  <a:lnTo>
                    <a:pt x="2482" y="1916"/>
                  </a:lnTo>
                  <a:lnTo>
                    <a:pt x="2478" y="1928"/>
                  </a:lnTo>
                  <a:lnTo>
                    <a:pt x="2476" y="1936"/>
                  </a:lnTo>
                  <a:lnTo>
                    <a:pt x="2476" y="1946"/>
                  </a:lnTo>
                  <a:lnTo>
                    <a:pt x="2476" y="1954"/>
                  </a:lnTo>
                  <a:lnTo>
                    <a:pt x="2472" y="1962"/>
                  </a:lnTo>
                  <a:lnTo>
                    <a:pt x="2466" y="1968"/>
                  </a:lnTo>
                  <a:lnTo>
                    <a:pt x="2460" y="1972"/>
                  </a:lnTo>
                  <a:lnTo>
                    <a:pt x="2446" y="1980"/>
                  </a:lnTo>
                  <a:lnTo>
                    <a:pt x="2442" y="1984"/>
                  </a:lnTo>
                  <a:lnTo>
                    <a:pt x="2440" y="1988"/>
                  </a:lnTo>
                  <a:lnTo>
                    <a:pt x="2440" y="1994"/>
                  </a:lnTo>
                  <a:lnTo>
                    <a:pt x="2444" y="2000"/>
                  </a:lnTo>
                  <a:lnTo>
                    <a:pt x="2456" y="2010"/>
                  </a:lnTo>
                  <a:lnTo>
                    <a:pt x="2474" y="2020"/>
                  </a:lnTo>
                  <a:lnTo>
                    <a:pt x="2488" y="2028"/>
                  </a:lnTo>
                  <a:lnTo>
                    <a:pt x="2494" y="2032"/>
                  </a:lnTo>
                  <a:lnTo>
                    <a:pt x="2496" y="2040"/>
                  </a:lnTo>
                  <a:lnTo>
                    <a:pt x="2498" y="2048"/>
                  </a:lnTo>
                  <a:lnTo>
                    <a:pt x="2496" y="2058"/>
                  </a:lnTo>
                  <a:lnTo>
                    <a:pt x="2492" y="2076"/>
                  </a:lnTo>
                  <a:lnTo>
                    <a:pt x="2488" y="2082"/>
                  </a:lnTo>
                  <a:lnTo>
                    <a:pt x="2484" y="2088"/>
                  </a:lnTo>
                  <a:lnTo>
                    <a:pt x="2478" y="2092"/>
                  </a:lnTo>
                  <a:lnTo>
                    <a:pt x="2474" y="2098"/>
                  </a:lnTo>
                  <a:lnTo>
                    <a:pt x="2474" y="2100"/>
                  </a:lnTo>
                  <a:lnTo>
                    <a:pt x="2476" y="2100"/>
                  </a:lnTo>
                  <a:lnTo>
                    <a:pt x="2488" y="2106"/>
                  </a:lnTo>
                  <a:lnTo>
                    <a:pt x="2492" y="2108"/>
                  </a:lnTo>
                  <a:lnTo>
                    <a:pt x="2494" y="2110"/>
                  </a:lnTo>
                  <a:lnTo>
                    <a:pt x="2498" y="2116"/>
                  </a:lnTo>
                  <a:lnTo>
                    <a:pt x="2498" y="2120"/>
                  </a:lnTo>
                  <a:lnTo>
                    <a:pt x="2502" y="2120"/>
                  </a:lnTo>
                  <a:lnTo>
                    <a:pt x="2506" y="2118"/>
                  </a:lnTo>
                  <a:lnTo>
                    <a:pt x="2512" y="2114"/>
                  </a:lnTo>
                  <a:lnTo>
                    <a:pt x="2520" y="2108"/>
                  </a:lnTo>
                  <a:lnTo>
                    <a:pt x="2530" y="2094"/>
                  </a:lnTo>
                  <a:lnTo>
                    <a:pt x="2552" y="2062"/>
                  </a:lnTo>
                  <a:lnTo>
                    <a:pt x="2560" y="2044"/>
                  </a:lnTo>
                  <a:lnTo>
                    <a:pt x="2568" y="2028"/>
                  </a:lnTo>
                  <a:lnTo>
                    <a:pt x="2570" y="2016"/>
                  </a:lnTo>
                  <a:lnTo>
                    <a:pt x="2570" y="2010"/>
                  </a:lnTo>
                  <a:lnTo>
                    <a:pt x="2568" y="2006"/>
                  </a:lnTo>
                  <a:lnTo>
                    <a:pt x="2566" y="2002"/>
                  </a:lnTo>
                  <a:lnTo>
                    <a:pt x="2568" y="1998"/>
                  </a:lnTo>
                  <a:lnTo>
                    <a:pt x="2570" y="1992"/>
                  </a:lnTo>
                  <a:lnTo>
                    <a:pt x="2574" y="1986"/>
                  </a:lnTo>
                  <a:lnTo>
                    <a:pt x="2580" y="1982"/>
                  </a:lnTo>
                  <a:lnTo>
                    <a:pt x="2586" y="1980"/>
                  </a:lnTo>
                  <a:lnTo>
                    <a:pt x="2594" y="1982"/>
                  </a:lnTo>
                  <a:lnTo>
                    <a:pt x="2602" y="1986"/>
                  </a:lnTo>
                  <a:lnTo>
                    <a:pt x="2608" y="1990"/>
                  </a:lnTo>
                  <a:lnTo>
                    <a:pt x="2610" y="1990"/>
                  </a:lnTo>
                  <a:lnTo>
                    <a:pt x="2612" y="1988"/>
                  </a:lnTo>
                  <a:lnTo>
                    <a:pt x="2612" y="1984"/>
                  </a:lnTo>
                  <a:lnTo>
                    <a:pt x="2610" y="1978"/>
                  </a:lnTo>
                  <a:lnTo>
                    <a:pt x="2608" y="1970"/>
                  </a:lnTo>
                  <a:lnTo>
                    <a:pt x="2608" y="1964"/>
                  </a:lnTo>
                  <a:lnTo>
                    <a:pt x="2610" y="1958"/>
                  </a:lnTo>
                  <a:lnTo>
                    <a:pt x="2612" y="1956"/>
                  </a:lnTo>
                  <a:lnTo>
                    <a:pt x="2614" y="1954"/>
                  </a:lnTo>
                  <a:lnTo>
                    <a:pt x="2620" y="1952"/>
                  </a:lnTo>
                  <a:lnTo>
                    <a:pt x="2624" y="1948"/>
                  </a:lnTo>
                  <a:lnTo>
                    <a:pt x="2626" y="1942"/>
                  </a:lnTo>
                  <a:lnTo>
                    <a:pt x="2626" y="1934"/>
                  </a:lnTo>
                  <a:lnTo>
                    <a:pt x="2628" y="1920"/>
                  </a:lnTo>
                  <a:lnTo>
                    <a:pt x="2628" y="1912"/>
                  </a:lnTo>
                  <a:lnTo>
                    <a:pt x="2630" y="1908"/>
                  </a:lnTo>
                  <a:lnTo>
                    <a:pt x="2632" y="1904"/>
                  </a:lnTo>
                  <a:lnTo>
                    <a:pt x="2630" y="1900"/>
                  </a:lnTo>
                  <a:lnTo>
                    <a:pt x="2626" y="1896"/>
                  </a:lnTo>
                  <a:lnTo>
                    <a:pt x="2620" y="1894"/>
                  </a:lnTo>
                  <a:lnTo>
                    <a:pt x="2614" y="1894"/>
                  </a:lnTo>
                  <a:lnTo>
                    <a:pt x="2608" y="1896"/>
                  </a:lnTo>
                  <a:lnTo>
                    <a:pt x="2604" y="1900"/>
                  </a:lnTo>
                  <a:lnTo>
                    <a:pt x="2600" y="1904"/>
                  </a:lnTo>
                  <a:close/>
                  <a:moveTo>
                    <a:pt x="2636" y="868"/>
                  </a:moveTo>
                  <a:lnTo>
                    <a:pt x="2636" y="868"/>
                  </a:lnTo>
                  <a:lnTo>
                    <a:pt x="2636" y="864"/>
                  </a:lnTo>
                  <a:lnTo>
                    <a:pt x="2634" y="860"/>
                  </a:lnTo>
                  <a:lnTo>
                    <a:pt x="2630" y="856"/>
                  </a:lnTo>
                  <a:lnTo>
                    <a:pt x="2626" y="854"/>
                  </a:lnTo>
                  <a:lnTo>
                    <a:pt x="2616" y="850"/>
                  </a:lnTo>
                  <a:lnTo>
                    <a:pt x="2606" y="852"/>
                  </a:lnTo>
                  <a:lnTo>
                    <a:pt x="2596" y="858"/>
                  </a:lnTo>
                  <a:lnTo>
                    <a:pt x="2588" y="864"/>
                  </a:lnTo>
                  <a:lnTo>
                    <a:pt x="2582" y="870"/>
                  </a:lnTo>
                  <a:lnTo>
                    <a:pt x="2580" y="876"/>
                  </a:lnTo>
                  <a:lnTo>
                    <a:pt x="2580" y="880"/>
                  </a:lnTo>
                  <a:lnTo>
                    <a:pt x="2580" y="882"/>
                  </a:lnTo>
                  <a:lnTo>
                    <a:pt x="2582" y="886"/>
                  </a:lnTo>
                  <a:lnTo>
                    <a:pt x="2586" y="888"/>
                  </a:lnTo>
                  <a:lnTo>
                    <a:pt x="2600" y="892"/>
                  </a:lnTo>
                  <a:lnTo>
                    <a:pt x="2610" y="896"/>
                  </a:lnTo>
                  <a:lnTo>
                    <a:pt x="2616" y="894"/>
                  </a:lnTo>
                  <a:lnTo>
                    <a:pt x="2620" y="890"/>
                  </a:lnTo>
                  <a:lnTo>
                    <a:pt x="2624" y="888"/>
                  </a:lnTo>
                  <a:lnTo>
                    <a:pt x="2626" y="886"/>
                  </a:lnTo>
                  <a:lnTo>
                    <a:pt x="2630" y="888"/>
                  </a:lnTo>
                  <a:lnTo>
                    <a:pt x="2636" y="890"/>
                  </a:lnTo>
                  <a:lnTo>
                    <a:pt x="2638" y="890"/>
                  </a:lnTo>
                  <a:lnTo>
                    <a:pt x="2640" y="888"/>
                  </a:lnTo>
                  <a:lnTo>
                    <a:pt x="2642" y="886"/>
                  </a:lnTo>
                  <a:lnTo>
                    <a:pt x="2640" y="882"/>
                  </a:lnTo>
                  <a:lnTo>
                    <a:pt x="2636" y="876"/>
                  </a:lnTo>
                  <a:lnTo>
                    <a:pt x="2636" y="872"/>
                  </a:lnTo>
                  <a:lnTo>
                    <a:pt x="2636" y="868"/>
                  </a:lnTo>
                  <a:close/>
                  <a:moveTo>
                    <a:pt x="2260" y="930"/>
                  </a:moveTo>
                  <a:lnTo>
                    <a:pt x="2260" y="930"/>
                  </a:lnTo>
                  <a:lnTo>
                    <a:pt x="2260" y="928"/>
                  </a:lnTo>
                  <a:lnTo>
                    <a:pt x="2262" y="924"/>
                  </a:lnTo>
                  <a:lnTo>
                    <a:pt x="2258" y="918"/>
                  </a:lnTo>
                  <a:lnTo>
                    <a:pt x="2254" y="912"/>
                  </a:lnTo>
                  <a:lnTo>
                    <a:pt x="2252" y="912"/>
                  </a:lnTo>
                  <a:lnTo>
                    <a:pt x="2248" y="914"/>
                  </a:lnTo>
                  <a:lnTo>
                    <a:pt x="2248" y="918"/>
                  </a:lnTo>
                  <a:lnTo>
                    <a:pt x="2248" y="920"/>
                  </a:lnTo>
                  <a:lnTo>
                    <a:pt x="2250" y="926"/>
                  </a:lnTo>
                  <a:lnTo>
                    <a:pt x="2256" y="930"/>
                  </a:lnTo>
                  <a:lnTo>
                    <a:pt x="2258" y="930"/>
                  </a:lnTo>
                  <a:lnTo>
                    <a:pt x="2260" y="930"/>
                  </a:lnTo>
                  <a:close/>
                  <a:moveTo>
                    <a:pt x="2258" y="948"/>
                  </a:moveTo>
                  <a:lnTo>
                    <a:pt x="2258" y="948"/>
                  </a:lnTo>
                  <a:lnTo>
                    <a:pt x="2256" y="950"/>
                  </a:lnTo>
                  <a:lnTo>
                    <a:pt x="2256" y="954"/>
                  </a:lnTo>
                  <a:lnTo>
                    <a:pt x="2258" y="960"/>
                  </a:lnTo>
                  <a:lnTo>
                    <a:pt x="2262" y="964"/>
                  </a:lnTo>
                  <a:lnTo>
                    <a:pt x="2266" y="966"/>
                  </a:lnTo>
                  <a:lnTo>
                    <a:pt x="2268" y="964"/>
                  </a:lnTo>
                  <a:lnTo>
                    <a:pt x="2268" y="962"/>
                  </a:lnTo>
                  <a:lnTo>
                    <a:pt x="2266" y="954"/>
                  </a:lnTo>
                  <a:lnTo>
                    <a:pt x="2262" y="948"/>
                  </a:lnTo>
                  <a:lnTo>
                    <a:pt x="2260" y="948"/>
                  </a:lnTo>
                  <a:lnTo>
                    <a:pt x="2258" y="948"/>
                  </a:lnTo>
                  <a:close/>
                  <a:moveTo>
                    <a:pt x="1490" y="460"/>
                  </a:moveTo>
                  <a:lnTo>
                    <a:pt x="1490" y="460"/>
                  </a:lnTo>
                  <a:lnTo>
                    <a:pt x="1492" y="462"/>
                  </a:lnTo>
                  <a:lnTo>
                    <a:pt x="1494" y="464"/>
                  </a:lnTo>
                  <a:lnTo>
                    <a:pt x="1496" y="462"/>
                  </a:lnTo>
                  <a:lnTo>
                    <a:pt x="1496" y="460"/>
                  </a:lnTo>
                  <a:lnTo>
                    <a:pt x="1496" y="454"/>
                  </a:lnTo>
                  <a:lnTo>
                    <a:pt x="1494" y="448"/>
                  </a:lnTo>
                  <a:lnTo>
                    <a:pt x="1490" y="446"/>
                  </a:lnTo>
                  <a:lnTo>
                    <a:pt x="1486" y="448"/>
                  </a:lnTo>
                  <a:lnTo>
                    <a:pt x="1486" y="452"/>
                  </a:lnTo>
                  <a:lnTo>
                    <a:pt x="1490" y="460"/>
                  </a:lnTo>
                  <a:close/>
                  <a:moveTo>
                    <a:pt x="1532" y="492"/>
                  </a:moveTo>
                  <a:lnTo>
                    <a:pt x="1532" y="492"/>
                  </a:lnTo>
                  <a:lnTo>
                    <a:pt x="1534" y="486"/>
                  </a:lnTo>
                  <a:lnTo>
                    <a:pt x="1534" y="482"/>
                  </a:lnTo>
                  <a:lnTo>
                    <a:pt x="1532" y="482"/>
                  </a:lnTo>
                  <a:lnTo>
                    <a:pt x="1530" y="482"/>
                  </a:lnTo>
                  <a:lnTo>
                    <a:pt x="1528" y="484"/>
                  </a:lnTo>
                  <a:lnTo>
                    <a:pt x="1526" y="484"/>
                  </a:lnTo>
                  <a:lnTo>
                    <a:pt x="1522" y="480"/>
                  </a:lnTo>
                  <a:lnTo>
                    <a:pt x="1518" y="478"/>
                  </a:lnTo>
                  <a:lnTo>
                    <a:pt x="1516" y="478"/>
                  </a:lnTo>
                  <a:lnTo>
                    <a:pt x="1518" y="486"/>
                  </a:lnTo>
                  <a:lnTo>
                    <a:pt x="1522" y="492"/>
                  </a:lnTo>
                  <a:lnTo>
                    <a:pt x="1528" y="496"/>
                  </a:lnTo>
                  <a:lnTo>
                    <a:pt x="1532" y="496"/>
                  </a:lnTo>
                  <a:lnTo>
                    <a:pt x="1532" y="492"/>
                  </a:lnTo>
                  <a:close/>
                  <a:moveTo>
                    <a:pt x="1520" y="466"/>
                  </a:moveTo>
                  <a:lnTo>
                    <a:pt x="1520" y="466"/>
                  </a:lnTo>
                  <a:lnTo>
                    <a:pt x="1516" y="458"/>
                  </a:lnTo>
                  <a:lnTo>
                    <a:pt x="1512" y="454"/>
                  </a:lnTo>
                  <a:lnTo>
                    <a:pt x="1508" y="454"/>
                  </a:lnTo>
                  <a:lnTo>
                    <a:pt x="1506" y="454"/>
                  </a:lnTo>
                  <a:lnTo>
                    <a:pt x="1504" y="456"/>
                  </a:lnTo>
                  <a:lnTo>
                    <a:pt x="1502" y="460"/>
                  </a:lnTo>
                  <a:lnTo>
                    <a:pt x="1500" y="468"/>
                  </a:lnTo>
                  <a:lnTo>
                    <a:pt x="1500" y="470"/>
                  </a:lnTo>
                  <a:lnTo>
                    <a:pt x="1504" y="470"/>
                  </a:lnTo>
                  <a:lnTo>
                    <a:pt x="1514" y="472"/>
                  </a:lnTo>
                  <a:lnTo>
                    <a:pt x="1518" y="470"/>
                  </a:lnTo>
                  <a:lnTo>
                    <a:pt x="1520" y="466"/>
                  </a:lnTo>
                  <a:close/>
                  <a:moveTo>
                    <a:pt x="1400" y="268"/>
                  </a:moveTo>
                  <a:lnTo>
                    <a:pt x="1400" y="268"/>
                  </a:lnTo>
                  <a:lnTo>
                    <a:pt x="1394" y="264"/>
                  </a:lnTo>
                  <a:lnTo>
                    <a:pt x="1392" y="264"/>
                  </a:lnTo>
                  <a:lnTo>
                    <a:pt x="1390" y="266"/>
                  </a:lnTo>
                  <a:lnTo>
                    <a:pt x="1392" y="272"/>
                  </a:lnTo>
                  <a:lnTo>
                    <a:pt x="1396" y="280"/>
                  </a:lnTo>
                  <a:lnTo>
                    <a:pt x="1398" y="282"/>
                  </a:lnTo>
                  <a:lnTo>
                    <a:pt x="1400" y="284"/>
                  </a:lnTo>
                  <a:lnTo>
                    <a:pt x="1402" y="282"/>
                  </a:lnTo>
                  <a:lnTo>
                    <a:pt x="1404" y="280"/>
                  </a:lnTo>
                  <a:lnTo>
                    <a:pt x="1404" y="274"/>
                  </a:lnTo>
                  <a:lnTo>
                    <a:pt x="1402" y="272"/>
                  </a:lnTo>
                  <a:lnTo>
                    <a:pt x="1400" y="268"/>
                  </a:lnTo>
                  <a:close/>
                  <a:moveTo>
                    <a:pt x="1360" y="254"/>
                  </a:moveTo>
                  <a:lnTo>
                    <a:pt x="1360" y="254"/>
                  </a:lnTo>
                  <a:lnTo>
                    <a:pt x="1360" y="256"/>
                  </a:lnTo>
                  <a:lnTo>
                    <a:pt x="1360" y="260"/>
                  </a:lnTo>
                  <a:lnTo>
                    <a:pt x="1362" y="264"/>
                  </a:lnTo>
                  <a:lnTo>
                    <a:pt x="1368" y="266"/>
                  </a:lnTo>
                  <a:lnTo>
                    <a:pt x="1372" y="264"/>
                  </a:lnTo>
                  <a:lnTo>
                    <a:pt x="1372" y="262"/>
                  </a:lnTo>
                  <a:lnTo>
                    <a:pt x="1372" y="260"/>
                  </a:lnTo>
                  <a:lnTo>
                    <a:pt x="1370" y="254"/>
                  </a:lnTo>
                  <a:lnTo>
                    <a:pt x="1366" y="252"/>
                  </a:lnTo>
                  <a:lnTo>
                    <a:pt x="1364" y="252"/>
                  </a:lnTo>
                  <a:lnTo>
                    <a:pt x="1360" y="254"/>
                  </a:lnTo>
                  <a:close/>
                  <a:moveTo>
                    <a:pt x="1320" y="218"/>
                  </a:moveTo>
                  <a:lnTo>
                    <a:pt x="1320" y="218"/>
                  </a:lnTo>
                  <a:lnTo>
                    <a:pt x="1318" y="216"/>
                  </a:lnTo>
                  <a:lnTo>
                    <a:pt x="1316" y="218"/>
                  </a:lnTo>
                  <a:lnTo>
                    <a:pt x="1314" y="220"/>
                  </a:lnTo>
                  <a:lnTo>
                    <a:pt x="1314" y="226"/>
                  </a:lnTo>
                  <a:lnTo>
                    <a:pt x="1316" y="232"/>
                  </a:lnTo>
                  <a:lnTo>
                    <a:pt x="1318" y="232"/>
                  </a:lnTo>
                  <a:lnTo>
                    <a:pt x="1320" y="232"/>
                  </a:lnTo>
                  <a:lnTo>
                    <a:pt x="1324" y="228"/>
                  </a:lnTo>
                  <a:lnTo>
                    <a:pt x="1324" y="224"/>
                  </a:lnTo>
                  <a:lnTo>
                    <a:pt x="1324" y="220"/>
                  </a:lnTo>
                  <a:lnTo>
                    <a:pt x="1320" y="218"/>
                  </a:lnTo>
                  <a:close/>
                  <a:moveTo>
                    <a:pt x="1360" y="106"/>
                  </a:moveTo>
                  <a:lnTo>
                    <a:pt x="1360" y="106"/>
                  </a:lnTo>
                  <a:lnTo>
                    <a:pt x="1370" y="106"/>
                  </a:lnTo>
                  <a:lnTo>
                    <a:pt x="1376" y="102"/>
                  </a:lnTo>
                  <a:lnTo>
                    <a:pt x="1376" y="100"/>
                  </a:lnTo>
                  <a:lnTo>
                    <a:pt x="1376" y="98"/>
                  </a:lnTo>
                  <a:lnTo>
                    <a:pt x="1374" y="98"/>
                  </a:lnTo>
                  <a:lnTo>
                    <a:pt x="1370" y="96"/>
                  </a:lnTo>
                  <a:lnTo>
                    <a:pt x="1362" y="94"/>
                  </a:lnTo>
                  <a:lnTo>
                    <a:pt x="1352" y="94"/>
                  </a:lnTo>
                  <a:lnTo>
                    <a:pt x="1344" y="96"/>
                  </a:lnTo>
                  <a:lnTo>
                    <a:pt x="1342" y="100"/>
                  </a:lnTo>
                  <a:lnTo>
                    <a:pt x="1340" y="102"/>
                  </a:lnTo>
                  <a:lnTo>
                    <a:pt x="1340" y="108"/>
                  </a:lnTo>
                  <a:lnTo>
                    <a:pt x="1344" y="108"/>
                  </a:lnTo>
                  <a:lnTo>
                    <a:pt x="1352" y="108"/>
                  </a:lnTo>
                  <a:lnTo>
                    <a:pt x="1360" y="106"/>
                  </a:lnTo>
                  <a:close/>
                  <a:moveTo>
                    <a:pt x="918" y="88"/>
                  </a:moveTo>
                  <a:lnTo>
                    <a:pt x="918" y="88"/>
                  </a:lnTo>
                  <a:lnTo>
                    <a:pt x="922" y="90"/>
                  </a:lnTo>
                  <a:lnTo>
                    <a:pt x="926" y="92"/>
                  </a:lnTo>
                  <a:lnTo>
                    <a:pt x="948" y="88"/>
                  </a:lnTo>
                  <a:lnTo>
                    <a:pt x="958" y="84"/>
                  </a:lnTo>
                  <a:lnTo>
                    <a:pt x="954" y="82"/>
                  </a:lnTo>
                  <a:lnTo>
                    <a:pt x="920" y="78"/>
                  </a:lnTo>
                  <a:lnTo>
                    <a:pt x="906" y="76"/>
                  </a:lnTo>
                  <a:lnTo>
                    <a:pt x="902" y="78"/>
                  </a:lnTo>
                  <a:lnTo>
                    <a:pt x="908" y="80"/>
                  </a:lnTo>
                  <a:lnTo>
                    <a:pt x="918" y="88"/>
                  </a:lnTo>
                  <a:close/>
                  <a:moveTo>
                    <a:pt x="910" y="44"/>
                  </a:moveTo>
                  <a:lnTo>
                    <a:pt x="910" y="44"/>
                  </a:lnTo>
                  <a:lnTo>
                    <a:pt x="912" y="46"/>
                  </a:lnTo>
                  <a:lnTo>
                    <a:pt x="914" y="48"/>
                  </a:lnTo>
                  <a:lnTo>
                    <a:pt x="914" y="54"/>
                  </a:lnTo>
                  <a:lnTo>
                    <a:pt x="916" y="56"/>
                  </a:lnTo>
                  <a:lnTo>
                    <a:pt x="918" y="56"/>
                  </a:lnTo>
                  <a:lnTo>
                    <a:pt x="922" y="58"/>
                  </a:lnTo>
                  <a:lnTo>
                    <a:pt x="930" y="56"/>
                  </a:lnTo>
                  <a:lnTo>
                    <a:pt x="936" y="54"/>
                  </a:lnTo>
                  <a:lnTo>
                    <a:pt x="938" y="52"/>
                  </a:lnTo>
                  <a:lnTo>
                    <a:pt x="936" y="50"/>
                  </a:lnTo>
                  <a:lnTo>
                    <a:pt x="928" y="46"/>
                  </a:lnTo>
                  <a:lnTo>
                    <a:pt x="924" y="44"/>
                  </a:lnTo>
                  <a:lnTo>
                    <a:pt x="920" y="38"/>
                  </a:lnTo>
                  <a:lnTo>
                    <a:pt x="916" y="34"/>
                  </a:lnTo>
                  <a:lnTo>
                    <a:pt x="906" y="30"/>
                  </a:lnTo>
                  <a:lnTo>
                    <a:pt x="896" y="30"/>
                  </a:lnTo>
                  <a:lnTo>
                    <a:pt x="894" y="30"/>
                  </a:lnTo>
                  <a:lnTo>
                    <a:pt x="896" y="32"/>
                  </a:lnTo>
                  <a:lnTo>
                    <a:pt x="902" y="38"/>
                  </a:lnTo>
                  <a:lnTo>
                    <a:pt x="910" y="44"/>
                  </a:lnTo>
                  <a:close/>
                  <a:moveTo>
                    <a:pt x="868" y="284"/>
                  </a:moveTo>
                  <a:lnTo>
                    <a:pt x="868" y="284"/>
                  </a:lnTo>
                  <a:lnTo>
                    <a:pt x="866" y="272"/>
                  </a:lnTo>
                  <a:lnTo>
                    <a:pt x="862" y="266"/>
                  </a:lnTo>
                  <a:lnTo>
                    <a:pt x="860" y="264"/>
                  </a:lnTo>
                  <a:lnTo>
                    <a:pt x="858" y="264"/>
                  </a:lnTo>
                  <a:lnTo>
                    <a:pt x="856" y="270"/>
                  </a:lnTo>
                  <a:lnTo>
                    <a:pt x="852" y="276"/>
                  </a:lnTo>
                  <a:lnTo>
                    <a:pt x="850" y="276"/>
                  </a:lnTo>
                  <a:lnTo>
                    <a:pt x="848" y="276"/>
                  </a:lnTo>
                  <a:lnTo>
                    <a:pt x="846" y="278"/>
                  </a:lnTo>
                  <a:lnTo>
                    <a:pt x="848" y="280"/>
                  </a:lnTo>
                  <a:lnTo>
                    <a:pt x="848" y="282"/>
                  </a:lnTo>
                  <a:lnTo>
                    <a:pt x="850" y="284"/>
                  </a:lnTo>
                  <a:lnTo>
                    <a:pt x="850" y="288"/>
                  </a:lnTo>
                  <a:lnTo>
                    <a:pt x="850" y="296"/>
                  </a:lnTo>
                  <a:lnTo>
                    <a:pt x="852" y="300"/>
                  </a:lnTo>
                  <a:lnTo>
                    <a:pt x="860" y="308"/>
                  </a:lnTo>
                  <a:lnTo>
                    <a:pt x="864" y="310"/>
                  </a:lnTo>
                  <a:lnTo>
                    <a:pt x="866" y="306"/>
                  </a:lnTo>
                  <a:lnTo>
                    <a:pt x="868" y="298"/>
                  </a:lnTo>
                  <a:lnTo>
                    <a:pt x="868" y="284"/>
                  </a:lnTo>
                  <a:close/>
                  <a:moveTo>
                    <a:pt x="852" y="306"/>
                  </a:moveTo>
                  <a:lnTo>
                    <a:pt x="852" y="306"/>
                  </a:lnTo>
                  <a:lnTo>
                    <a:pt x="848" y="302"/>
                  </a:lnTo>
                  <a:lnTo>
                    <a:pt x="846" y="298"/>
                  </a:lnTo>
                  <a:lnTo>
                    <a:pt x="844" y="296"/>
                  </a:lnTo>
                  <a:lnTo>
                    <a:pt x="844" y="302"/>
                  </a:lnTo>
                  <a:lnTo>
                    <a:pt x="846" y="304"/>
                  </a:lnTo>
                  <a:lnTo>
                    <a:pt x="852" y="310"/>
                  </a:lnTo>
                  <a:lnTo>
                    <a:pt x="858" y="318"/>
                  </a:lnTo>
                  <a:lnTo>
                    <a:pt x="858" y="314"/>
                  </a:lnTo>
                  <a:lnTo>
                    <a:pt x="856" y="310"/>
                  </a:lnTo>
                  <a:lnTo>
                    <a:pt x="852" y="306"/>
                  </a:lnTo>
                  <a:close/>
                  <a:moveTo>
                    <a:pt x="1028" y="396"/>
                  </a:moveTo>
                  <a:lnTo>
                    <a:pt x="1028" y="396"/>
                  </a:lnTo>
                  <a:lnTo>
                    <a:pt x="1032" y="394"/>
                  </a:lnTo>
                  <a:lnTo>
                    <a:pt x="1032" y="392"/>
                  </a:lnTo>
                  <a:lnTo>
                    <a:pt x="1036" y="380"/>
                  </a:lnTo>
                  <a:lnTo>
                    <a:pt x="1040" y="372"/>
                  </a:lnTo>
                  <a:lnTo>
                    <a:pt x="1040" y="370"/>
                  </a:lnTo>
                  <a:lnTo>
                    <a:pt x="1036" y="368"/>
                  </a:lnTo>
                  <a:lnTo>
                    <a:pt x="1034" y="366"/>
                  </a:lnTo>
                  <a:lnTo>
                    <a:pt x="1032" y="364"/>
                  </a:lnTo>
                  <a:lnTo>
                    <a:pt x="1032" y="362"/>
                  </a:lnTo>
                  <a:lnTo>
                    <a:pt x="1028" y="360"/>
                  </a:lnTo>
                  <a:lnTo>
                    <a:pt x="1024" y="358"/>
                  </a:lnTo>
                  <a:lnTo>
                    <a:pt x="1018" y="360"/>
                  </a:lnTo>
                  <a:lnTo>
                    <a:pt x="1008" y="366"/>
                  </a:lnTo>
                  <a:lnTo>
                    <a:pt x="998" y="374"/>
                  </a:lnTo>
                  <a:lnTo>
                    <a:pt x="994" y="378"/>
                  </a:lnTo>
                  <a:lnTo>
                    <a:pt x="994" y="384"/>
                  </a:lnTo>
                  <a:lnTo>
                    <a:pt x="992" y="388"/>
                  </a:lnTo>
                  <a:lnTo>
                    <a:pt x="988" y="396"/>
                  </a:lnTo>
                  <a:lnTo>
                    <a:pt x="984" y="402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4" y="412"/>
                  </a:lnTo>
                  <a:lnTo>
                    <a:pt x="988" y="410"/>
                  </a:lnTo>
                  <a:lnTo>
                    <a:pt x="996" y="408"/>
                  </a:lnTo>
                  <a:lnTo>
                    <a:pt x="1000" y="408"/>
                  </a:lnTo>
                  <a:lnTo>
                    <a:pt x="1006" y="410"/>
                  </a:lnTo>
                  <a:lnTo>
                    <a:pt x="1012" y="410"/>
                  </a:lnTo>
                  <a:lnTo>
                    <a:pt x="1016" y="410"/>
                  </a:lnTo>
                  <a:lnTo>
                    <a:pt x="1020" y="406"/>
                  </a:lnTo>
                  <a:lnTo>
                    <a:pt x="1024" y="400"/>
                  </a:lnTo>
                  <a:lnTo>
                    <a:pt x="1028" y="396"/>
                  </a:lnTo>
                  <a:close/>
                  <a:moveTo>
                    <a:pt x="1032" y="410"/>
                  </a:moveTo>
                  <a:lnTo>
                    <a:pt x="1032" y="410"/>
                  </a:lnTo>
                  <a:lnTo>
                    <a:pt x="1036" y="410"/>
                  </a:lnTo>
                  <a:lnTo>
                    <a:pt x="1036" y="406"/>
                  </a:lnTo>
                  <a:lnTo>
                    <a:pt x="1034" y="402"/>
                  </a:lnTo>
                  <a:lnTo>
                    <a:pt x="1032" y="400"/>
                  </a:lnTo>
                  <a:lnTo>
                    <a:pt x="1032" y="398"/>
                  </a:lnTo>
                  <a:lnTo>
                    <a:pt x="1030" y="398"/>
                  </a:lnTo>
                  <a:lnTo>
                    <a:pt x="1026" y="400"/>
                  </a:lnTo>
                  <a:lnTo>
                    <a:pt x="1024" y="404"/>
                  </a:lnTo>
                  <a:lnTo>
                    <a:pt x="1024" y="408"/>
                  </a:lnTo>
                  <a:lnTo>
                    <a:pt x="1024" y="410"/>
                  </a:lnTo>
                  <a:lnTo>
                    <a:pt x="1032" y="410"/>
                  </a:lnTo>
                  <a:close/>
                  <a:moveTo>
                    <a:pt x="1044" y="820"/>
                  </a:moveTo>
                  <a:lnTo>
                    <a:pt x="1044" y="820"/>
                  </a:lnTo>
                  <a:lnTo>
                    <a:pt x="1046" y="820"/>
                  </a:lnTo>
                  <a:lnTo>
                    <a:pt x="1050" y="820"/>
                  </a:lnTo>
                  <a:lnTo>
                    <a:pt x="1054" y="816"/>
                  </a:lnTo>
                  <a:lnTo>
                    <a:pt x="1056" y="812"/>
                  </a:lnTo>
                  <a:lnTo>
                    <a:pt x="1060" y="812"/>
                  </a:lnTo>
                  <a:lnTo>
                    <a:pt x="1064" y="810"/>
                  </a:lnTo>
                  <a:lnTo>
                    <a:pt x="1068" y="808"/>
                  </a:lnTo>
                  <a:lnTo>
                    <a:pt x="1068" y="806"/>
                  </a:lnTo>
                  <a:lnTo>
                    <a:pt x="1066" y="804"/>
                  </a:lnTo>
                  <a:lnTo>
                    <a:pt x="1064" y="802"/>
                  </a:lnTo>
                  <a:lnTo>
                    <a:pt x="1060" y="804"/>
                  </a:lnTo>
                  <a:lnTo>
                    <a:pt x="1052" y="808"/>
                  </a:lnTo>
                  <a:lnTo>
                    <a:pt x="1046" y="814"/>
                  </a:lnTo>
                  <a:lnTo>
                    <a:pt x="1044" y="818"/>
                  </a:lnTo>
                  <a:lnTo>
                    <a:pt x="1044" y="820"/>
                  </a:lnTo>
                  <a:close/>
                  <a:moveTo>
                    <a:pt x="844" y="336"/>
                  </a:moveTo>
                  <a:lnTo>
                    <a:pt x="844" y="336"/>
                  </a:lnTo>
                  <a:lnTo>
                    <a:pt x="852" y="332"/>
                  </a:lnTo>
                  <a:lnTo>
                    <a:pt x="856" y="326"/>
                  </a:lnTo>
                  <a:lnTo>
                    <a:pt x="854" y="320"/>
                  </a:lnTo>
                  <a:lnTo>
                    <a:pt x="850" y="312"/>
                  </a:lnTo>
                  <a:lnTo>
                    <a:pt x="846" y="306"/>
                  </a:lnTo>
                  <a:lnTo>
                    <a:pt x="842" y="306"/>
                  </a:lnTo>
                  <a:lnTo>
                    <a:pt x="840" y="310"/>
                  </a:lnTo>
                  <a:lnTo>
                    <a:pt x="840" y="316"/>
                  </a:lnTo>
                  <a:lnTo>
                    <a:pt x="840" y="330"/>
                  </a:lnTo>
                  <a:lnTo>
                    <a:pt x="842" y="336"/>
                  </a:lnTo>
                  <a:lnTo>
                    <a:pt x="844" y="336"/>
                  </a:lnTo>
                  <a:close/>
                  <a:moveTo>
                    <a:pt x="794" y="292"/>
                  </a:moveTo>
                  <a:lnTo>
                    <a:pt x="794" y="292"/>
                  </a:lnTo>
                  <a:lnTo>
                    <a:pt x="800" y="276"/>
                  </a:lnTo>
                  <a:lnTo>
                    <a:pt x="804" y="264"/>
                  </a:lnTo>
                  <a:lnTo>
                    <a:pt x="806" y="256"/>
                  </a:lnTo>
                  <a:lnTo>
                    <a:pt x="804" y="256"/>
                  </a:lnTo>
                  <a:lnTo>
                    <a:pt x="798" y="264"/>
                  </a:lnTo>
                  <a:lnTo>
                    <a:pt x="794" y="278"/>
                  </a:lnTo>
                  <a:lnTo>
                    <a:pt x="794" y="292"/>
                  </a:lnTo>
                  <a:close/>
                  <a:moveTo>
                    <a:pt x="1118" y="446"/>
                  </a:moveTo>
                  <a:lnTo>
                    <a:pt x="1118" y="446"/>
                  </a:lnTo>
                  <a:lnTo>
                    <a:pt x="1122" y="448"/>
                  </a:lnTo>
                  <a:lnTo>
                    <a:pt x="1128" y="450"/>
                  </a:lnTo>
                  <a:lnTo>
                    <a:pt x="1142" y="448"/>
                  </a:lnTo>
                  <a:lnTo>
                    <a:pt x="1158" y="448"/>
                  </a:lnTo>
                  <a:lnTo>
                    <a:pt x="1166" y="450"/>
                  </a:lnTo>
                  <a:lnTo>
                    <a:pt x="1172" y="452"/>
                  </a:lnTo>
                  <a:lnTo>
                    <a:pt x="1180" y="454"/>
                  </a:lnTo>
                  <a:lnTo>
                    <a:pt x="1186" y="454"/>
                  </a:lnTo>
                  <a:lnTo>
                    <a:pt x="1190" y="452"/>
                  </a:lnTo>
                  <a:lnTo>
                    <a:pt x="1194" y="450"/>
                  </a:lnTo>
                  <a:lnTo>
                    <a:pt x="1204" y="442"/>
                  </a:lnTo>
                  <a:lnTo>
                    <a:pt x="1208" y="440"/>
                  </a:lnTo>
                  <a:lnTo>
                    <a:pt x="1212" y="440"/>
                  </a:lnTo>
                  <a:lnTo>
                    <a:pt x="1216" y="440"/>
                  </a:lnTo>
                  <a:lnTo>
                    <a:pt x="1218" y="438"/>
                  </a:lnTo>
                  <a:lnTo>
                    <a:pt x="1218" y="434"/>
                  </a:lnTo>
                  <a:lnTo>
                    <a:pt x="1218" y="430"/>
                  </a:lnTo>
                  <a:lnTo>
                    <a:pt x="1214" y="420"/>
                  </a:lnTo>
                  <a:lnTo>
                    <a:pt x="1206" y="414"/>
                  </a:lnTo>
                  <a:lnTo>
                    <a:pt x="1200" y="410"/>
                  </a:lnTo>
                  <a:lnTo>
                    <a:pt x="1198" y="406"/>
                  </a:lnTo>
                  <a:lnTo>
                    <a:pt x="1200" y="406"/>
                  </a:lnTo>
                  <a:lnTo>
                    <a:pt x="1206" y="404"/>
                  </a:lnTo>
                  <a:lnTo>
                    <a:pt x="1218" y="402"/>
                  </a:lnTo>
                  <a:lnTo>
                    <a:pt x="1222" y="398"/>
                  </a:lnTo>
                  <a:lnTo>
                    <a:pt x="1222" y="394"/>
                  </a:lnTo>
                  <a:lnTo>
                    <a:pt x="1222" y="392"/>
                  </a:lnTo>
                  <a:lnTo>
                    <a:pt x="1224" y="390"/>
                  </a:lnTo>
                  <a:lnTo>
                    <a:pt x="1230" y="388"/>
                  </a:lnTo>
                  <a:lnTo>
                    <a:pt x="1232" y="388"/>
                  </a:lnTo>
                  <a:lnTo>
                    <a:pt x="1232" y="384"/>
                  </a:lnTo>
                  <a:lnTo>
                    <a:pt x="1232" y="376"/>
                  </a:lnTo>
                  <a:lnTo>
                    <a:pt x="1228" y="364"/>
                  </a:lnTo>
                  <a:lnTo>
                    <a:pt x="1234" y="372"/>
                  </a:lnTo>
                  <a:lnTo>
                    <a:pt x="1240" y="376"/>
                  </a:lnTo>
                  <a:lnTo>
                    <a:pt x="1246" y="378"/>
                  </a:lnTo>
                  <a:lnTo>
                    <a:pt x="1256" y="376"/>
                  </a:lnTo>
                  <a:lnTo>
                    <a:pt x="1268" y="372"/>
                  </a:lnTo>
                  <a:lnTo>
                    <a:pt x="1272" y="374"/>
                  </a:lnTo>
                  <a:lnTo>
                    <a:pt x="1272" y="376"/>
                  </a:lnTo>
                  <a:lnTo>
                    <a:pt x="1274" y="378"/>
                  </a:lnTo>
                  <a:lnTo>
                    <a:pt x="1278" y="382"/>
                  </a:lnTo>
                  <a:lnTo>
                    <a:pt x="1284" y="384"/>
                  </a:lnTo>
                  <a:lnTo>
                    <a:pt x="1296" y="386"/>
                  </a:lnTo>
                  <a:lnTo>
                    <a:pt x="1308" y="388"/>
                  </a:lnTo>
                  <a:lnTo>
                    <a:pt x="1316" y="392"/>
                  </a:lnTo>
                  <a:lnTo>
                    <a:pt x="1324" y="398"/>
                  </a:lnTo>
                  <a:lnTo>
                    <a:pt x="1330" y="406"/>
                  </a:lnTo>
                  <a:lnTo>
                    <a:pt x="1340" y="426"/>
                  </a:lnTo>
                  <a:lnTo>
                    <a:pt x="1348" y="438"/>
                  </a:lnTo>
                  <a:lnTo>
                    <a:pt x="1358" y="450"/>
                  </a:lnTo>
                  <a:lnTo>
                    <a:pt x="1374" y="472"/>
                  </a:lnTo>
                  <a:lnTo>
                    <a:pt x="1380" y="480"/>
                  </a:lnTo>
                  <a:lnTo>
                    <a:pt x="1384" y="486"/>
                  </a:lnTo>
                  <a:lnTo>
                    <a:pt x="1392" y="488"/>
                  </a:lnTo>
                  <a:lnTo>
                    <a:pt x="1400" y="492"/>
                  </a:lnTo>
                  <a:lnTo>
                    <a:pt x="1432" y="498"/>
                  </a:lnTo>
                  <a:lnTo>
                    <a:pt x="1450" y="502"/>
                  </a:lnTo>
                  <a:lnTo>
                    <a:pt x="1462" y="506"/>
                  </a:lnTo>
                  <a:lnTo>
                    <a:pt x="1470" y="510"/>
                  </a:lnTo>
                  <a:lnTo>
                    <a:pt x="1476" y="512"/>
                  </a:lnTo>
                  <a:lnTo>
                    <a:pt x="1482" y="518"/>
                  </a:lnTo>
                  <a:lnTo>
                    <a:pt x="1488" y="520"/>
                  </a:lnTo>
                  <a:lnTo>
                    <a:pt x="1492" y="520"/>
                  </a:lnTo>
                  <a:lnTo>
                    <a:pt x="1500" y="520"/>
                  </a:lnTo>
                  <a:lnTo>
                    <a:pt x="1506" y="518"/>
                  </a:lnTo>
                  <a:lnTo>
                    <a:pt x="1512" y="514"/>
                  </a:lnTo>
                  <a:lnTo>
                    <a:pt x="1514" y="510"/>
                  </a:lnTo>
                  <a:lnTo>
                    <a:pt x="1514" y="506"/>
                  </a:lnTo>
                  <a:lnTo>
                    <a:pt x="1512" y="502"/>
                  </a:lnTo>
                  <a:lnTo>
                    <a:pt x="1508" y="498"/>
                  </a:lnTo>
                  <a:lnTo>
                    <a:pt x="1498" y="494"/>
                  </a:lnTo>
                  <a:lnTo>
                    <a:pt x="1482" y="490"/>
                  </a:lnTo>
                  <a:lnTo>
                    <a:pt x="1474" y="484"/>
                  </a:lnTo>
                  <a:lnTo>
                    <a:pt x="1472" y="482"/>
                  </a:lnTo>
                  <a:lnTo>
                    <a:pt x="1472" y="480"/>
                  </a:lnTo>
                  <a:lnTo>
                    <a:pt x="1474" y="476"/>
                  </a:lnTo>
                  <a:lnTo>
                    <a:pt x="1478" y="472"/>
                  </a:lnTo>
                  <a:lnTo>
                    <a:pt x="1478" y="470"/>
                  </a:lnTo>
                  <a:lnTo>
                    <a:pt x="1476" y="468"/>
                  </a:lnTo>
                  <a:lnTo>
                    <a:pt x="1464" y="466"/>
                  </a:lnTo>
                  <a:lnTo>
                    <a:pt x="1454" y="464"/>
                  </a:lnTo>
                  <a:lnTo>
                    <a:pt x="1450" y="462"/>
                  </a:lnTo>
                  <a:lnTo>
                    <a:pt x="1448" y="458"/>
                  </a:lnTo>
                  <a:lnTo>
                    <a:pt x="1448" y="454"/>
                  </a:lnTo>
                  <a:lnTo>
                    <a:pt x="1450" y="448"/>
                  </a:lnTo>
                  <a:lnTo>
                    <a:pt x="1454" y="442"/>
                  </a:lnTo>
                  <a:lnTo>
                    <a:pt x="1454" y="438"/>
                  </a:lnTo>
                  <a:lnTo>
                    <a:pt x="1448" y="438"/>
                  </a:lnTo>
                  <a:lnTo>
                    <a:pt x="1436" y="440"/>
                  </a:lnTo>
                  <a:lnTo>
                    <a:pt x="1432" y="440"/>
                  </a:lnTo>
                  <a:lnTo>
                    <a:pt x="1428" y="440"/>
                  </a:lnTo>
                  <a:lnTo>
                    <a:pt x="1422" y="436"/>
                  </a:lnTo>
                  <a:lnTo>
                    <a:pt x="1416" y="428"/>
                  </a:lnTo>
                  <a:lnTo>
                    <a:pt x="1412" y="420"/>
                  </a:lnTo>
                  <a:lnTo>
                    <a:pt x="1408" y="400"/>
                  </a:lnTo>
                  <a:lnTo>
                    <a:pt x="1404" y="394"/>
                  </a:lnTo>
                  <a:lnTo>
                    <a:pt x="1400" y="390"/>
                  </a:lnTo>
                  <a:lnTo>
                    <a:pt x="1394" y="386"/>
                  </a:lnTo>
                  <a:lnTo>
                    <a:pt x="1386" y="378"/>
                  </a:lnTo>
                  <a:lnTo>
                    <a:pt x="1370" y="360"/>
                  </a:lnTo>
                  <a:lnTo>
                    <a:pt x="1364" y="350"/>
                  </a:lnTo>
                  <a:lnTo>
                    <a:pt x="1358" y="340"/>
                  </a:lnTo>
                  <a:lnTo>
                    <a:pt x="1356" y="334"/>
                  </a:lnTo>
                  <a:lnTo>
                    <a:pt x="1356" y="332"/>
                  </a:lnTo>
                  <a:lnTo>
                    <a:pt x="1358" y="330"/>
                  </a:lnTo>
                  <a:lnTo>
                    <a:pt x="1362" y="328"/>
                  </a:lnTo>
                  <a:lnTo>
                    <a:pt x="1366" y="326"/>
                  </a:lnTo>
                  <a:lnTo>
                    <a:pt x="1376" y="328"/>
                  </a:lnTo>
                  <a:lnTo>
                    <a:pt x="1388" y="328"/>
                  </a:lnTo>
                  <a:lnTo>
                    <a:pt x="1392" y="326"/>
                  </a:lnTo>
                  <a:lnTo>
                    <a:pt x="1394" y="324"/>
                  </a:lnTo>
                  <a:lnTo>
                    <a:pt x="1396" y="320"/>
                  </a:lnTo>
                  <a:lnTo>
                    <a:pt x="1396" y="314"/>
                  </a:lnTo>
                  <a:lnTo>
                    <a:pt x="1390" y="302"/>
                  </a:lnTo>
                  <a:lnTo>
                    <a:pt x="1386" y="296"/>
                  </a:lnTo>
                  <a:lnTo>
                    <a:pt x="1380" y="292"/>
                  </a:lnTo>
                  <a:lnTo>
                    <a:pt x="1374" y="290"/>
                  </a:lnTo>
                  <a:lnTo>
                    <a:pt x="1370" y="290"/>
                  </a:lnTo>
                  <a:lnTo>
                    <a:pt x="1364" y="290"/>
                  </a:lnTo>
                  <a:lnTo>
                    <a:pt x="1360" y="290"/>
                  </a:lnTo>
                  <a:lnTo>
                    <a:pt x="1354" y="284"/>
                  </a:lnTo>
                  <a:lnTo>
                    <a:pt x="1344" y="276"/>
                  </a:lnTo>
                  <a:lnTo>
                    <a:pt x="1338" y="272"/>
                  </a:lnTo>
                  <a:lnTo>
                    <a:pt x="1328" y="270"/>
                  </a:lnTo>
                  <a:lnTo>
                    <a:pt x="1312" y="264"/>
                  </a:lnTo>
                  <a:lnTo>
                    <a:pt x="1310" y="262"/>
                  </a:lnTo>
                  <a:lnTo>
                    <a:pt x="1308" y="260"/>
                  </a:lnTo>
                  <a:lnTo>
                    <a:pt x="1310" y="256"/>
                  </a:lnTo>
                  <a:lnTo>
                    <a:pt x="1312" y="246"/>
                  </a:lnTo>
                  <a:lnTo>
                    <a:pt x="1312" y="238"/>
                  </a:lnTo>
                  <a:lnTo>
                    <a:pt x="1306" y="230"/>
                  </a:lnTo>
                  <a:lnTo>
                    <a:pt x="1298" y="220"/>
                  </a:lnTo>
                  <a:lnTo>
                    <a:pt x="1288" y="210"/>
                  </a:lnTo>
                  <a:lnTo>
                    <a:pt x="1278" y="200"/>
                  </a:lnTo>
                  <a:lnTo>
                    <a:pt x="1266" y="192"/>
                  </a:lnTo>
                  <a:lnTo>
                    <a:pt x="1256" y="188"/>
                  </a:lnTo>
                  <a:lnTo>
                    <a:pt x="1248" y="186"/>
                  </a:lnTo>
                  <a:lnTo>
                    <a:pt x="1242" y="186"/>
                  </a:lnTo>
                  <a:lnTo>
                    <a:pt x="1238" y="184"/>
                  </a:lnTo>
                  <a:lnTo>
                    <a:pt x="1230" y="178"/>
                  </a:lnTo>
                  <a:lnTo>
                    <a:pt x="1220" y="170"/>
                  </a:lnTo>
                  <a:lnTo>
                    <a:pt x="1214" y="166"/>
                  </a:lnTo>
                  <a:lnTo>
                    <a:pt x="1202" y="162"/>
                  </a:lnTo>
                  <a:lnTo>
                    <a:pt x="1190" y="158"/>
                  </a:lnTo>
                  <a:lnTo>
                    <a:pt x="1174" y="152"/>
                  </a:lnTo>
                  <a:lnTo>
                    <a:pt x="1140" y="134"/>
                  </a:lnTo>
                  <a:lnTo>
                    <a:pt x="1106" y="120"/>
                  </a:lnTo>
                  <a:lnTo>
                    <a:pt x="1092" y="116"/>
                  </a:lnTo>
                  <a:lnTo>
                    <a:pt x="1078" y="116"/>
                  </a:lnTo>
                  <a:lnTo>
                    <a:pt x="1080" y="404"/>
                  </a:lnTo>
                  <a:lnTo>
                    <a:pt x="1094" y="414"/>
                  </a:lnTo>
                  <a:lnTo>
                    <a:pt x="1104" y="426"/>
                  </a:lnTo>
                  <a:lnTo>
                    <a:pt x="1118" y="446"/>
                  </a:lnTo>
                  <a:close/>
                  <a:moveTo>
                    <a:pt x="784" y="288"/>
                  </a:moveTo>
                  <a:lnTo>
                    <a:pt x="784" y="288"/>
                  </a:lnTo>
                  <a:lnTo>
                    <a:pt x="786" y="290"/>
                  </a:lnTo>
                  <a:lnTo>
                    <a:pt x="788" y="288"/>
                  </a:lnTo>
                  <a:lnTo>
                    <a:pt x="790" y="286"/>
                  </a:lnTo>
                  <a:lnTo>
                    <a:pt x="790" y="282"/>
                  </a:lnTo>
                  <a:lnTo>
                    <a:pt x="788" y="278"/>
                  </a:lnTo>
                  <a:lnTo>
                    <a:pt x="784" y="274"/>
                  </a:lnTo>
                  <a:lnTo>
                    <a:pt x="782" y="276"/>
                  </a:lnTo>
                  <a:lnTo>
                    <a:pt x="784" y="288"/>
                  </a:lnTo>
                  <a:close/>
                  <a:moveTo>
                    <a:pt x="1474" y="80"/>
                  </a:moveTo>
                  <a:lnTo>
                    <a:pt x="1474" y="80"/>
                  </a:lnTo>
                  <a:lnTo>
                    <a:pt x="1476" y="80"/>
                  </a:lnTo>
                  <a:lnTo>
                    <a:pt x="1476" y="78"/>
                  </a:lnTo>
                  <a:lnTo>
                    <a:pt x="1474" y="72"/>
                  </a:lnTo>
                  <a:lnTo>
                    <a:pt x="1468" y="68"/>
                  </a:lnTo>
                  <a:lnTo>
                    <a:pt x="1466" y="68"/>
                  </a:lnTo>
                  <a:lnTo>
                    <a:pt x="1464" y="68"/>
                  </a:lnTo>
                  <a:lnTo>
                    <a:pt x="1464" y="72"/>
                  </a:lnTo>
                  <a:lnTo>
                    <a:pt x="1464" y="76"/>
                  </a:lnTo>
                  <a:lnTo>
                    <a:pt x="1468" y="78"/>
                  </a:lnTo>
                  <a:lnTo>
                    <a:pt x="1474" y="80"/>
                  </a:lnTo>
                  <a:close/>
                  <a:moveTo>
                    <a:pt x="1436" y="292"/>
                  </a:moveTo>
                  <a:lnTo>
                    <a:pt x="1436" y="292"/>
                  </a:lnTo>
                  <a:lnTo>
                    <a:pt x="1442" y="296"/>
                  </a:lnTo>
                  <a:lnTo>
                    <a:pt x="1446" y="298"/>
                  </a:lnTo>
                  <a:lnTo>
                    <a:pt x="1448" y="298"/>
                  </a:lnTo>
                  <a:lnTo>
                    <a:pt x="1450" y="298"/>
                  </a:lnTo>
                  <a:lnTo>
                    <a:pt x="1452" y="296"/>
                  </a:lnTo>
                  <a:lnTo>
                    <a:pt x="1454" y="296"/>
                  </a:lnTo>
                  <a:lnTo>
                    <a:pt x="1458" y="298"/>
                  </a:lnTo>
                  <a:lnTo>
                    <a:pt x="1462" y="302"/>
                  </a:lnTo>
                  <a:lnTo>
                    <a:pt x="1468" y="306"/>
                  </a:lnTo>
                  <a:lnTo>
                    <a:pt x="1478" y="308"/>
                  </a:lnTo>
                  <a:lnTo>
                    <a:pt x="1490" y="306"/>
                  </a:lnTo>
                  <a:lnTo>
                    <a:pt x="1502" y="302"/>
                  </a:lnTo>
                  <a:lnTo>
                    <a:pt x="1514" y="298"/>
                  </a:lnTo>
                  <a:lnTo>
                    <a:pt x="1524" y="292"/>
                  </a:lnTo>
                  <a:lnTo>
                    <a:pt x="1534" y="284"/>
                  </a:lnTo>
                  <a:lnTo>
                    <a:pt x="1538" y="278"/>
                  </a:lnTo>
                  <a:lnTo>
                    <a:pt x="1542" y="272"/>
                  </a:lnTo>
                  <a:lnTo>
                    <a:pt x="1544" y="270"/>
                  </a:lnTo>
                  <a:lnTo>
                    <a:pt x="1548" y="270"/>
                  </a:lnTo>
                  <a:lnTo>
                    <a:pt x="1550" y="270"/>
                  </a:lnTo>
                  <a:lnTo>
                    <a:pt x="1556" y="272"/>
                  </a:lnTo>
                  <a:lnTo>
                    <a:pt x="1560" y="270"/>
                  </a:lnTo>
                  <a:lnTo>
                    <a:pt x="1566" y="268"/>
                  </a:lnTo>
                  <a:lnTo>
                    <a:pt x="1568" y="264"/>
                  </a:lnTo>
                  <a:lnTo>
                    <a:pt x="1570" y="260"/>
                  </a:lnTo>
                  <a:lnTo>
                    <a:pt x="1566" y="252"/>
                  </a:lnTo>
                  <a:lnTo>
                    <a:pt x="1564" y="246"/>
                  </a:lnTo>
                  <a:lnTo>
                    <a:pt x="1564" y="244"/>
                  </a:lnTo>
                  <a:lnTo>
                    <a:pt x="1566" y="242"/>
                  </a:lnTo>
                  <a:lnTo>
                    <a:pt x="1572" y="240"/>
                  </a:lnTo>
                  <a:lnTo>
                    <a:pt x="1574" y="238"/>
                  </a:lnTo>
                  <a:lnTo>
                    <a:pt x="1580" y="228"/>
                  </a:lnTo>
                  <a:lnTo>
                    <a:pt x="1580" y="216"/>
                  </a:lnTo>
                  <a:lnTo>
                    <a:pt x="1578" y="212"/>
                  </a:lnTo>
                  <a:lnTo>
                    <a:pt x="1576" y="208"/>
                  </a:lnTo>
                  <a:lnTo>
                    <a:pt x="1572" y="202"/>
                  </a:lnTo>
                  <a:lnTo>
                    <a:pt x="1566" y="202"/>
                  </a:lnTo>
                  <a:lnTo>
                    <a:pt x="1548" y="202"/>
                  </a:lnTo>
                  <a:lnTo>
                    <a:pt x="1546" y="204"/>
                  </a:lnTo>
                  <a:lnTo>
                    <a:pt x="1544" y="206"/>
                  </a:lnTo>
                  <a:lnTo>
                    <a:pt x="1542" y="210"/>
                  </a:lnTo>
                  <a:lnTo>
                    <a:pt x="1546" y="224"/>
                  </a:lnTo>
                  <a:lnTo>
                    <a:pt x="1550" y="236"/>
                  </a:lnTo>
                  <a:lnTo>
                    <a:pt x="1548" y="240"/>
                  </a:lnTo>
                  <a:lnTo>
                    <a:pt x="1542" y="240"/>
                  </a:lnTo>
                  <a:lnTo>
                    <a:pt x="1536" y="238"/>
                  </a:lnTo>
                  <a:lnTo>
                    <a:pt x="1530" y="242"/>
                  </a:lnTo>
                  <a:lnTo>
                    <a:pt x="1526" y="248"/>
                  </a:lnTo>
                  <a:lnTo>
                    <a:pt x="1522" y="254"/>
                  </a:lnTo>
                  <a:lnTo>
                    <a:pt x="1518" y="262"/>
                  </a:lnTo>
                  <a:lnTo>
                    <a:pt x="1514" y="266"/>
                  </a:lnTo>
                  <a:lnTo>
                    <a:pt x="1510" y="268"/>
                  </a:lnTo>
                  <a:lnTo>
                    <a:pt x="1504" y="266"/>
                  </a:lnTo>
                  <a:lnTo>
                    <a:pt x="1500" y="264"/>
                  </a:lnTo>
                  <a:lnTo>
                    <a:pt x="1498" y="264"/>
                  </a:lnTo>
                  <a:lnTo>
                    <a:pt x="1494" y="268"/>
                  </a:lnTo>
                  <a:lnTo>
                    <a:pt x="1490" y="270"/>
                  </a:lnTo>
                  <a:lnTo>
                    <a:pt x="1488" y="264"/>
                  </a:lnTo>
                  <a:lnTo>
                    <a:pt x="1486" y="256"/>
                  </a:lnTo>
                  <a:lnTo>
                    <a:pt x="1488" y="250"/>
                  </a:lnTo>
                  <a:lnTo>
                    <a:pt x="1490" y="248"/>
                  </a:lnTo>
                  <a:lnTo>
                    <a:pt x="1490" y="244"/>
                  </a:lnTo>
                  <a:lnTo>
                    <a:pt x="1488" y="242"/>
                  </a:lnTo>
                  <a:lnTo>
                    <a:pt x="1484" y="244"/>
                  </a:lnTo>
                  <a:lnTo>
                    <a:pt x="1480" y="250"/>
                  </a:lnTo>
                  <a:lnTo>
                    <a:pt x="1480" y="262"/>
                  </a:lnTo>
                  <a:lnTo>
                    <a:pt x="1478" y="266"/>
                  </a:lnTo>
                  <a:lnTo>
                    <a:pt x="1476" y="268"/>
                  </a:lnTo>
                  <a:lnTo>
                    <a:pt x="1470" y="270"/>
                  </a:lnTo>
                  <a:lnTo>
                    <a:pt x="1460" y="268"/>
                  </a:lnTo>
                  <a:lnTo>
                    <a:pt x="1448" y="266"/>
                  </a:lnTo>
                  <a:lnTo>
                    <a:pt x="1434" y="266"/>
                  </a:lnTo>
                  <a:lnTo>
                    <a:pt x="1424" y="264"/>
                  </a:lnTo>
                  <a:lnTo>
                    <a:pt x="1416" y="266"/>
                  </a:lnTo>
                  <a:lnTo>
                    <a:pt x="1414" y="268"/>
                  </a:lnTo>
                  <a:lnTo>
                    <a:pt x="1414" y="270"/>
                  </a:lnTo>
                  <a:lnTo>
                    <a:pt x="1416" y="278"/>
                  </a:lnTo>
                  <a:lnTo>
                    <a:pt x="1420" y="280"/>
                  </a:lnTo>
                  <a:lnTo>
                    <a:pt x="1428" y="284"/>
                  </a:lnTo>
                  <a:lnTo>
                    <a:pt x="1436" y="292"/>
                  </a:lnTo>
                  <a:close/>
                  <a:moveTo>
                    <a:pt x="1546" y="156"/>
                  </a:moveTo>
                  <a:lnTo>
                    <a:pt x="1546" y="156"/>
                  </a:lnTo>
                  <a:lnTo>
                    <a:pt x="1552" y="162"/>
                  </a:lnTo>
                  <a:lnTo>
                    <a:pt x="1562" y="170"/>
                  </a:lnTo>
                  <a:lnTo>
                    <a:pt x="1572" y="178"/>
                  </a:lnTo>
                  <a:lnTo>
                    <a:pt x="1582" y="190"/>
                  </a:lnTo>
                  <a:lnTo>
                    <a:pt x="1586" y="196"/>
                  </a:lnTo>
                  <a:lnTo>
                    <a:pt x="1588" y="202"/>
                  </a:lnTo>
                  <a:lnTo>
                    <a:pt x="1590" y="210"/>
                  </a:lnTo>
                  <a:lnTo>
                    <a:pt x="1590" y="220"/>
                  </a:lnTo>
                  <a:lnTo>
                    <a:pt x="1592" y="224"/>
                  </a:lnTo>
                  <a:lnTo>
                    <a:pt x="1594" y="232"/>
                  </a:lnTo>
                  <a:lnTo>
                    <a:pt x="1598" y="236"/>
                  </a:lnTo>
                  <a:lnTo>
                    <a:pt x="1602" y="234"/>
                  </a:lnTo>
                  <a:lnTo>
                    <a:pt x="1604" y="230"/>
                  </a:lnTo>
                  <a:lnTo>
                    <a:pt x="1608" y="222"/>
                  </a:lnTo>
                  <a:lnTo>
                    <a:pt x="1608" y="214"/>
                  </a:lnTo>
                  <a:lnTo>
                    <a:pt x="1608" y="206"/>
                  </a:lnTo>
                  <a:lnTo>
                    <a:pt x="1604" y="196"/>
                  </a:lnTo>
                  <a:lnTo>
                    <a:pt x="1596" y="190"/>
                  </a:lnTo>
                  <a:lnTo>
                    <a:pt x="1582" y="178"/>
                  </a:lnTo>
                  <a:lnTo>
                    <a:pt x="1574" y="168"/>
                  </a:lnTo>
                  <a:lnTo>
                    <a:pt x="1566" y="160"/>
                  </a:lnTo>
                  <a:lnTo>
                    <a:pt x="1556" y="154"/>
                  </a:lnTo>
                  <a:lnTo>
                    <a:pt x="1538" y="142"/>
                  </a:lnTo>
                  <a:lnTo>
                    <a:pt x="1526" y="132"/>
                  </a:lnTo>
                  <a:lnTo>
                    <a:pt x="1518" y="126"/>
                  </a:lnTo>
                  <a:lnTo>
                    <a:pt x="1516" y="126"/>
                  </a:lnTo>
                  <a:lnTo>
                    <a:pt x="1514" y="128"/>
                  </a:lnTo>
                  <a:lnTo>
                    <a:pt x="1510" y="132"/>
                  </a:lnTo>
                  <a:lnTo>
                    <a:pt x="1508" y="134"/>
                  </a:lnTo>
                  <a:lnTo>
                    <a:pt x="1510" y="136"/>
                  </a:lnTo>
                  <a:lnTo>
                    <a:pt x="1516" y="138"/>
                  </a:lnTo>
                  <a:lnTo>
                    <a:pt x="1530" y="144"/>
                  </a:lnTo>
                  <a:lnTo>
                    <a:pt x="1538" y="150"/>
                  </a:lnTo>
                  <a:lnTo>
                    <a:pt x="1546" y="156"/>
                  </a:lnTo>
                  <a:close/>
                  <a:moveTo>
                    <a:pt x="1500" y="128"/>
                  </a:moveTo>
                  <a:lnTo>
                    <a:pt x="1500" y="128"/>
                  </a:lnTo>
                  <a:lnTo>
                    <a:pt x="1502" y="126"/>
                  </a:lnTo>
                  <a:lnTo>
                    <a:pt x="1502" y="122"/>
                  </a:lnTo>
                  <a:lnTo>
                    <a:pt x="1496" y="116"/>
                  </a:lnTo>
                  <a:lnTo>
                    <a:pt x="1492" y="114"/>
                  </a:lnTo>
                  <a:lnTo>
                    <a:pt x="1490" y="114"/>
                  </a:lnTo>
                  <a:lnTo>
                    <a:pt x="1486" y="114"/>
                  </a:lnTo>
                  <a:lnTo>
                    <a:pt x="1484" y="118"/>
                  </a:lnTo>
                  <a:lnTo>
                    <a:pt x="1484" y="120"/>
                  </a:lnTo>
                  <a:lnTo>
                    <a:pt x="1484" y="124"/>
                  </a:lnTo>
                  <a:lnTo>
                    <a:pt x="1488" y="128"/>
                  </a:lnTo>
                  <a:lnTo>
                    <a:pt x="1494" y="130"/>
                  </a:lnTo>
                  <a:lnTo>
                    <a:pt x="1498" y="130"/>
                  </a:lnTo>
                  <a:lnTo>
                    <a:pt x="1500" y="128"/>
                  </a:lnTo>
                  <a:close/>
                  <a:moveTo>
                    <a:pt x="726" y="46"/>
                  </a:moveTo>
                  <a:lnTo>
                    <a:pt x="726" y="46"/>
                  </a:lnTo>
                  <a:lnTo>
                    <a:pt x="726" y="50"/>
                  </a:lnTo>
                  <a:lnTo>
                    <a:pt x="724" y="54"/>
                  </a:lnTo>
                  <a:lnTo>
                    <a:pt x="716" y="62"/>
                  </a:lnTo>
                  <a:lnTo>
                    <a:pt x="714" y="66"/>
                  </a:lnTo>
                  <a:lnTo>
                    <a:pt x="716" y="70"/>
                  </a:lnTo>
                  <a:lnTo>
                    <a:pt x="718" y="72"/>
                  </a:lnTo>
                  <a:lnTo>
                    <a:pt x="726" y="72"/>
                  </a:lnTo>
                  <a:lnTo>
                    <a:pt x="738" y="72"/>
                  </a:lnTo>
                  <a:lnTo>
                    <a:pt x="742" y="74"/>
                  </a:lnTo>
                  <a:lnTo>
                    <a:pt x="746" y="78"/>
                  </a:lnTo>
                  <a:lnTo>
                    <a:pt x="752" y="88"/>
                  </a:lnTo>
                  <a:lnTo>
                    <a:pt x="758" y="104"/>
                  </a:lnTo>
                  <a:lnTo>
                    <a:pt x="762" y="106"/>
                  </a:lnTo>
                  <a:lnTo>
                    <a:pt x="764" y="108"/>
                  </a:lnTo>
                  <a:lnTo>
                    <a:pt x="774" y="110"/>
                  </a:lnTo>
                  <a:lnTo>
                    <a:pt x="786" y="110"/>
                  </a:lnTo>
                  <a:lnTo>
                    <a:pt x="798" y="110"/>
                  </a:lnTo>
                  <a:lnTo>
                    <a:pt x="810" y="108"/>
                  </a:lnTo>
                  <a:lnTo>
                    <a:pt x="820" y="108"/>
                  </a:lnTo>
                  <a:lnTo>
                    <a:pt x="828" y="110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20"/>
                  </a:lnTo>
                  <a:lnTo>
                    <a:pt x="826" y="122"/>
                  </a:lnTo>
                  <a:lnTo>
                    <a:pt x="822" y="122"/>
                  </a:lnTo>
                  <a:lnTo>
                    <a:pt x="816" y="120"/>
                  </a:lnTo>
                  <a:lnTo>
                    <a:pt x="808" y="120"/>
                  </a:lnTo>
                  <a:lnTo>
                    <a:pt x="802" y="118"/>
                  </a:lnTo>
                  <a:lnTo>
                    <a:pt x="798" y="120"/>
                  </a:lnTo>
                  <a:lnTo>
                    <a:pt x="794" y="124"/>
                  </a:lnTo>
                  <a:lnTo>
                    <a:pt x="790" y="130"/>
                  </a:lnTo>
                  <a:lnTo>
                    <a:pt x="784" y="134"/>
                  </a:lnTo>
                  <a:lnTo>
                    <a:pt x="778" y="134"/>
                  </a:lnTo>
                  <a:lnTo>
                    <a:pt x="772" y="132"/>
                  </a:lnTo>
                  <a:lnTo>
                    <a:pt x="766" y="130"/>
                  </a:lnTo>
                  <a:lnTo>
                    <a:pt x="760" y="130"/>
                  </a:lnTo>
                  <a:lnTo>
                    <a:pt x="756" y="132"/>
                  </a:lnTo>
                  <a:lnTo>
                    <a:pt x="756" y="138"/>
                  </a:lnTo>
                  <a:lnTo>
                    <a:pt x="756" y="142"/>
                  </a:lnTo>
                  <a:lnTo>
                    <a:pt x="760" y="144"/>
                  </a:lnTo>
                  <a:lnTo>
                    <a:pt x="768" y="146"/>
                  </a:lnTo>
                  <a:lnTo>
                    <a:pt x="780" y="156"/>
                  </a:lnTo>
                  <a:lnTo>
                    <a:pt x="786" y="164"/>
                  </a:lnTo>
                  <a:lnTo>
                    <a:pt x="790" y="170"/>
                  </a:lnTo>
                  <a:lnTo>
                    <a:pt x="790" y="174"/>
                  </a:lnTo>
                  <a:lnTo>
                    <a:pt x="788" y="176"/>
                  </a:lnTo>
                  <a:lnTo>
                    <a:pt x="784" y="180"/>
                  </a:lnTo>
                  <a:lnTo>
                    <a:pt x="784" y="184"/>
                  </a:lnTo>
                  <a:lnTo>
                    <a:pt x="784" y="188"/>
                  </a:lnTo>
                  <a:lnTo>
                    <a:pt x="788" y="194"/>
                  </a:lnTo>
                  <a:lnTo>
                    <a:pt x="792" y="196"/>
                  </a:lnTo>
                  <a:lnTo>
                    <a:pt x="796" y="198"/>
                  </a:lnTo>
                  <a:lnTo>
                    <a:pt x="802" y="198"/>
                  </a:lnTo>
                  <a:lnTo>
                    <a:pt x="806" y="196"/>
                  </a:lnTo>
                  <a:lnTo>
                    <a:pt x="810" y="192"/>
                  </a:lnTo>
                  <a:lnTo>
                    <a:pt x="814" y="186"/>
                  </a:lnTo>
                  <a:lnTo>
                    <a:pt x="816" y="178"/>
                  </a:lnTo>
                  <a:lnTo>
                    <a:pt x="822" y="158"/>
                  </a:lnTo>
                  <a:lnTo>
                    <a:pt x="826" y="150"/>
                  </a:lnTo>
                  <a:lnTo>
                    <a:pt x="828" y="150"/>
                  </a:lnTo>
                  <a:lnTo>
                    <a:pt x="828" y="154"/>
                  </a:lnTo>
                  <a:lnTo>
                    <a:pt x="824" y="168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8" y="180"/>
                  </a:lnTo>
                  <a:lnTo>
                    <a:pt x="832" y="184"/>
                  </a:lnTo>
                  <a:lnTo>
                    <a:pt x="844" y="188"/>
                  </a:lnTo>
                  <a:lnTo>
                    <a:pt x="852" y="192"/>
                  </a:lnTo>
                  <a:lnTo>
                    <a:pt x="860" y="198"/>
                  </a:lnTo>
                  <a:lnTo>
                    <a:pt x="870" y="206"/>
                  </a:lnTo>
                  <a:lnTo>
                    <a:pt x="878" y="212"/>
                  </a:lnTo>
                  <a:lnTo>
                    <a:pt x="886" y="214"/>
                  </a:lnTo>
                  <a:lnTo>
                    <a:pt x="892" y="216"/>
                  </a:lnTo>
                  <a:lnTo>
                    <a:pt x="906" y="218"/>
                  </a:lnTo>
                  <a:lnTo>
                    <a:pt x="916" y="220"/>
                  </a:lnTo>
                  <a:lnTo>
                    <a:pt x="926" y="226"/>
                  </a:lnTo>
                  <a:lnTo>
                    <a:pt x="940" y="232"/>
                  </a:lnTo>
                  <a:lnTo>
                    <a:pt x="954" y="238"/>
                  </a:lnTo>
                  <a:lnTo>
                    <a:pt x="966" y="242"/>
                  </a:lnTo>
                  <a:lnTo>
                    <a:pt x="980" y="252"/>
                  </a:lnTo>
                  <a:lnTo>
                    <a:pt x="988" y="258"/>
                  </a:lnTo>
                  <a:lnTo>
                    <a:pt x="994" y="266"/>
                  </a:lnTo>
                  <a:lnTo>
                    <a:pt x="1004" y="284"/>
                  </a:lnTo>
                  <a:lnTo>
                    <a:pt x="1014" y="302"/>
                  </a:lnTo>
                  <a:lnTo>
                    <a:pt x="1024" y="318"/>
                  </a:lnTo>
                  <a:lnTo>
                    <a:pt x="1028" y="324"/>
                  </a:lnTo>
                  <a:lnTo>
                    <a:pt x="1030" y="328"/>
                  </a:lnTo>
                  <a:lnTo>
                    <a:pt x="1028" y="330"/>
                  </a:lnTo>
                  <a:lnTo>
                    <a:pt x="1026" y="332"/>
                  </a:lnTo>
                  <a:lnTo>
                    <a:pt x="1022" y="336"/>
                  </a:lnTo>
                  <a:lnTo>
                    <a:pt x="1020" y="338"/>
                  </a:lnTo>
                  <a:lnTo>
                    <a:pt x="1020" y="344"/>
                  </a:lnTo>
                  <a:lnTo>
                    <a:pt x="1024" y="350"/>
                  </a:lnTo>
                  <a:lnTo>
                    <a:pt x="1028" y="354"/>
                  </a:lnTo>
                  <a:lnTo>
                    <a:pt x="1036" y="360"/>
                  </a:lnTo>
                  <a:lnTo>
                    <a:pt x="1040" y="364"/>
                  </a:lnTo>
                  <a:lnTo>
                    <a:pt x="1044" y="368"/>
                  </a:lnTo>
                  <a:lnTo>
                    <a:pt x="1044" y="372"/>
                  </a:lnTo>
                  <a:lnTo>
                    <a:pt x="1040" y="380"/>
                  </a:lnTo>
                  <a:lnTo>
                    <a:pt x="1036" y="394"/>
                  </a:lnTo>
                  <a:lnTo>
                    <a:pt x="1036" y="396"/>
                  </a:lnTo>
                  <a:lnTo>
                    <a:pt x="1038" y="398"/>
                  </a:lnTo>
                  <a:lnTo>
                    <a:pt x="1044" y="396"/>
                  </a:lnTo>
                  <a:lnTo>
                    <a:pt x="1046" y="396"/>
                  </a:lnTo>
                  <a:lnTo>
                    <a:pt x="1050" y="396"/>
                  </a:lnTo>
                  <a:lnTo>
                    <a:pt x="1052" y="398"/>
                  </a:lnTo>
                  <a:lnTo>
                    <a:pt x="1054" y="398"/>
                  </a:lnTo>
                  <a:lnTo>
                    <a:pt x="1060" y="398"/>
                  </a:lnTo>
                  <a:lnTo>
                    <a:pt x="1068" y="398"/>
                  </a:lnTo>
                  <a:lnTo>
                    <a:pt x="1074" y="400"/>
                  </a:lnTo>
                  <a:lnTo>
                    <a:pt x="1080" y="404"/>
                  </a:lnTo>
                  <a:lnTo>
                    <a:pt x="1078" y="116"/>
                  </a:lnTo>
                  <a:lnTo>
                    <a:pt x="1070" y="114"/>
                  </a:lnTo>
                  <a:lnTo>
                    <a:pt x="1060" y="110"/>
                  </a:lnTo>
                  <a:lnTo>
                    <a:pt x="1038" y="100"/>
                  </a:lnTo>
                  <a:lnTo>
                    <a:pt x="1002" y="76"/>
                  </a:lnTo>
                  <a:lnTo>
                    <a:pt x="996" y="72"/>
                  </a:lnTo>
                  <a:lnTo>
                    <a:pt x="988" y="72"/>
                  </a:lnTo>
                  <a:lnTo>
                    <a:pt x="982" y="74"/>
                  </a:lnTo>
                  <a:lnTo>
                    <a:pt x="976" y="76"/>
                  </a:lnTo>
                  <a:lnTo>
                    <a:pt x="970" y="80"/>
                  </a:lnTo>
                  <a:lnTo>
                    <a:pt x="966" y="84"/>
                  </a:lnTo>
                  <a:lnTo>
                    <a:pt x="964" y="88"/>
                  </a:lnTo>
                  <a:lnTo>
                    <a:pt x="964" y="92"/>
                  </a:lnTo>
                  <a:lnTo>
                    <a:pt x="966" y="96"/>
                  </a:lnTo>
                  <a:lnTo>
                    <a:pt x="964" y="100"/>
                  </a:lnTo>
                  <a:lnTo>
                    <a:pt x="956" y="106"/>
                  </a:lnTo>
                  <a:lnTo>
                    <a:pt x="946" y="110"/>
                  </a:lnTo>
                  <a:lnTo>
                    <a:pt x="942" y="110"/>
                  </a:lnTo>
                  <a:lnTo>
                    <a:pt x="938" y="108"/>
                  </a:lnTo>
                  <a:lnTo>
                    <a:pt x="936" y="108"/>
                  </a:lnTo>
                  <a:lnTo>
                    <a:pt x="934" y="110"/>
                  </a:lnTo>
                  <a:lnTo>
                    <a:pt x="928" y="116"/>
                  </a:lnTo>
                  <a:lnTo>
                    <a:pt x="914" y="138"/>
                  </a:lnTo>
                  <a:lnTo>
                    <a:pt x="906" y="148"/>
                  </a:lnTo>
                  <a:lnTo>
                    <a:pt x="898" y="158"/>
                  </a:lnTo>
                  <a:lnTo>
                    <a:pt x="890" y="164"/>
                  </a:lnTo>
                  <a:lnTo>
                    <a:pt x="886" y="164"/>
                  </a:lnTo>
                  <a:lnTo>
                    <a:pt x="882" y="164"/>
                  </a:lnTo>
                  <a:lnTo>
                    <a:pt x="876" y="160"/>
                  </a:lnTo>
                  <a:lnTo>
                    <a:pt x="872" y="156"/>
                  </a:lnTo>
                  <a:lnTo>
                    <a:pt x="870" y="150"/>
                  </a:lnTo>
                  <a:lnTo>
                    <a:pt x="868" y="144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60" y="120"/>
                  </a:lnTo>
                  <a:lnTo>
                    <a:pt x="856" y="118"/>
                  </a:lnTo>
                  <a:lnTo>
                    <a:pt x="854" y="118"/>
                  </a:lnTo>
                  <a:lnTo>
                    <a:pt x="852" y="124"/>
                  </a:lnTo>
                  <a:lnTo>
                    <a:pt x="852" y="126"/>
                  </a:lnTo>
                  <a:lnTo>
                    <a:pt x="846" y="114"/>
                  </a:lnTo>
                  <a:lnTo>
                    <a:pt x="842" y="102"/>
                  </a:lnTo>
                  <a:lnTo>
                    <a:pt x="842" y="94"/>
                  </a:lnTo>
                  <a:lnTo>
                    <a:pt x="842" y="86"/>
                  </a:lnTo>
                  <a:lnTo>
                    <a:pt x="844" y="80"/>
                  </a:lnTo>
                  <a:lnTo>
                    <a:pt x="846" y="66"/>
                  </a:lnTo>
                  <a:lnTo>
                    <a:pt x="846" y="58"/>
                  </a:lnTo>
                  <a:lnTo>
                    <a:pt x="844" y="48"/>
                  </a:lnTo>
                  <a:lnTo>
                    <a:pt x="840" y="40"/>
                  </a:lnTo>
                  <a:lnTo>
                    <a:pt x="838" y="36"/>
                  </a:lnTo>
                  <a:lnTo>
                    <a:pt x="834" y="36"/>
                  </a:lnTo>
                  <a:lnTo>
                    <a:pt x="830" y="36"/>
                  </a:lnTo>
                  <a:lnTo>
                    <a:pt x="826" y="36"/>
                  </a:lnTo>
                  <a:lnTo>
                    <a:pt x="818" y="36"/>
                  </a:lnTo>
                  <a:lnTo>
                    <a:pt x="810" y="32"/>
                  </a:lnTo>
                  <a:lnTo>
                    <a:pt x="798" y="26"/>
                  </a:lnTo>
                  <a:lnTo>
                    <a:pt x="786" y="18"/>
                  </a:lnTo>
                  <a:lnTo>
                    <a:pt x="776" y="16"/>
                  </a:lnTo>
                  <a:lnTo>
                    <a:pt x="770" y="16"/>
                  </a:lnTo>
                  <a:lnTo>
                    <a:pt x="764" y="20"/>
                  </a:lnTo>
                  <a:lnTo>
                    <a:pt x="756" y="28"/>
                  </a:lnTo>
                  <a:lnTo>
                    <a:pt x="752" y="32"/>
                  </a:lnTo>
                  <a:lnTo>
                    <a:pt x="748" y="34"/>
                  </a:lnTo>
                  <a:lnTo>
                    <a:pt x="740" y="36"/>
                  </a:lnTo>
                  <a:lnTo>
                    <a:pt x="732" y="38"/>
                  </a:lnTo>
                  <a:lnTo>
                    <a:pt x="728" y="40"/>
                  </a:lnTo>
                  <a:lnTo>
                    <a:pt x="726" y="42"/>
                  </a:lnTo>
                  <a:lnTo>
                    <a:pt x="726" y="46"/>
                  </a:lnTo>
                  <a:close/>
                  <a:moveTo>
                    <a:pt x="1600" y="438"/>
                  </a:moveTo>
                  <a:lnTo>
                    <a:pt x="1600" y="438"/>
                  </a:lnTo>
                  <a:lnTo>
                    <a:pt x="1594" y="436"/>
                  </a:lnTo>
                  <a:lnTo>
                    <a:pt x="1588" y="434"/>
                  </a:lnTo>
                  <a:lnTo>
                    <a:pt x="1586" y="436"/>
                  </a:lnTo>
                  <a:lnTo>
                    <a:pt x="1588" y="438"/>
                  </a:lnTo>
                  <a:lnTo>
                    <a:pt x="1590" y="442"/>
                  </a:lnTo>
                  <a:lnTo>
                    <a:pt x="1590" y="444"/>
                  </a:lnTo>
                  <a:lnTo>
                    <a:pt x="1592" y="446"/>
                  </a:lnTo>
                  <a:lnTo>
                    <a:pt x="1596" y="448"/>
                  </a:lnTo>
                  <a:lnTo>
                    <a:pt x="1600" y="448"/>
                  </a:lnTo>
                  <a:lnTo>
                    <a:pt x="1604" y="446"/>
                  </a:lnTo>
                  <a:lnTo>
                    <a:pt x="1604" y="444"/>
                  </a:lnTo>
                  <a:lnTo>
                    <a:pt x="1600" y="438"/>
                  </a:lnTo>
                  <a:close/>
                  <a:moveTo>
                    <a:pt x="1606" y="1248"/>
                  </a:moveTo>
                  <a:lnTo>
                    <a:pt x="1606" y="1248"/>
                  </a:lnTo>
                  <a:lnTo>
                    <a:pt x="1606" y="1252"/>
                  </a:lnTo>
                  <a:lnTo>
                    <a:pt x="1604" y="1260"/>
                  </a:lnTo>
                  <a:lnTo>
                    <a:pt x="1604" y="1268"/>
                  </a:lnTo>
                  <a:lnTo>
                    <a:pt x="1604" y="1272"/>
                  </a:lnTo>
                  <a:lnTo>
                    <a:pt x="1606" y="1274"/>
                  </a:lnTo>
                  <a:lnTo>
                    <a:pt x="1608" y="1274"/>
                  </a:lnTo>
                  <a:lnTo>
                    <a:pt x="1610" y="1270"/>
                  </a:lnTo>
                  <a:lnTo>
                    <a:pt x="1610" y="1260"/>
                  </a:lnTo>
                  <a:lnTo>
                    <a:pt x="1614" y="1250"/>
                  </a:lnTo>
                  <a:lnTo>
                    <a:pt x="1620" y="1240"/>
                  </a:lnTo>
                  <a:lnTo>
                    <a:pt x="1620" y="1236"/>
                  </a:lnTo>
                  <a:lnTo>
                    <a:pt x="1618" y="1232"/>
                  </a:lnTo>
                  <a:lnTo>
                    <a:pt x="1618" y="1228"/>
                  </a:lnTo>
                  <a:lnTo>
                    <a:pt x="1616" y="1224"/>
                  </a:lnTo>
                  <a:lnTo>
                    <a:pt x="1616" y="1220"/>
                  </a:lnTo>
                  <a:lnTo>
                    <a:pt x="1614" y="1220"/>
                  </a:lnTo>
                  <a:lnTo>
                    <a:pt x="1612" y="1224"/>
                  </a:lnTo>
                  <a:lnTo>
                    <a:pt x="1612" y="1230"/>
                  </a:lnTo>
                  <a:lnTo>
                    <a:pt x="1612" y="1234"/>
                  </a:lnTo>
                  <a:lnTo>
                    <a:pt x="1612" y="1236"/>
                  </a:lnTo>
                  <a:lnTo>
                    <a:pt x="1608" y="1240"/>
                  </a:lnTo>
                  <a:lnTo>
                    <a:pt x="1606" y="1244"/>
                  </a:lnTo>
                  <a:lnTo>
                    <a:pt x="1604" y="1246"/>
                  </a:lnTo>
                  <a:lnTo>
                    <a:pt x="1606" y="124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  <p:sp>
          <p:nvSpPr>
            <p:cNvPr id="123" name="Полилиния 6153">
              <a:extLst>
                <a:ext uri="{FF2B5EF4-FFF2-40B4-BE49-F238E27FC236}">
                  <a16:creationId xmlns:a16="http://schemas.microsoft.com/office/drawing/2014/main" xmlns="" id="{25E7CF2E-8766-4345-94BE-E6EA2DBA82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1075" y="2755632"/>
              <a:ext cx="1762208" cy="2303241"/>
            </a:xfrm>
            <a:custGeom>
              <a:avLst/>
              <a:gdLst>
                <a:gd name="T0" fmla="*/ 1666909 w 2776"/>
                <a:gd name="T1" fmla="*/ 1643154 h 3628"/>
                <a:gd name="T2" fmla="*/ 1572963 w 2776"/>
                <a:gd name="T3" fmla="*/ 1734581 h 3628"/>
                <a:gd name="T4" fmla="*/ 1567885 w 2776"/>
                <a:gd name="T5" fmla="*/ 1859024 h 3628"/>
                <a:gd name="T6" fmla="*/ 1595815 w 2776"/>
                <a:gd name="T7" fmla="*/ 1991086 h 3628"/>
                <a:gd name="T8" fmla="*/ 1712613 w 2776"/>
                <a:gd name="T9" fmla="*/ 1728232 h 3628"/>
                <a:gd name="T10" fmla="*/ 1736734 w 2776"/>
                <a:gd name="T11" fmla="*/ 1666011 h 3628"/>
                <a:gd name="T12" fmla="*/ 1698648 w 2776"/>
                <a:gd name="T13" fmla="*/ 844434 h 3628"/>
                <a:gd name="T14" fmla="*/ 1576772 w 2776"/>
                <a:gd name="T15" fmla="*/ 868560 h 3628"/>
                <a:gd name="T16" fmla="*/ 1533607 w 2776"/>
                <a:gd name="T17" fmla="*/ 784752 h 3628"/>
                <a:gd name="T18" fmla="*/ 1484095 w 2776"/>
                <a:gd name="T19" fmla="*/ 730150 h 3628"/>
                <a:gd name="T20" fmla="*/ 1434583 w 2776"/>
                <a:gd name="T21" fmla="*/ 633643 h 3628"/>
                <a:gd name="T22" fmla="*/ 1401575 w 2776"/>
                <a:gd name="T23" fmla="*/ 539676 h 3628"/>
                <a:gd name="T24" fmla="*/ 1353332 w 2776"/>
                <a:gd name="T25" fmla="*/ 454597 h 3628"/>
                <a:gd name="T26" fmla="*/ 1301281 w 2776"/>
                <a:gd name="T27" fmla="*/ 313647 h 3628"/>
                <a:gd name="T28" fmla="*/ 1263195 w 2776"/>
                <a:gd name="T29" fmla="*/ 199363 h 3628"/>
                <a:gd name="T30" fmla="*/ 1197179 w 2776"/>
                <a:gd name="T31" fmla="*/ 219680 h 3628"/>
                <a:gd name="T32" fmla="*/ 1090537 w 2776"/>
                <a:gd name="T33" fmla="*/ 195553 h 3628"/>
                <a:gd name="T34" fmla="*/ 983895 w 2776"/>
                <a:gd name="T35" fmla="*/ 156189 h 3628"/>
                <a:gd name="T36" fmla="*/ 873445 w 2776"/>
                <a:gd name="T37" fmla="*/ 208251 h 3628"/>
                <a:gd name="T38" fmla="*/ 743952 w 2776"/>
                <a:gd name="T39" fmla="*/ 142220 h 3628"/>
                <a:gd name="T40" fmla="*/ 731256 w 2776"/>
                <a:gd name="T41" fmla="*/ 69840 h 3628"/>
                <a:gd name="T42" fmla="*/ 712213 w 2776"/>
                <a:gd name="T43" fmla="*/ 20317 h 3628"/>
                <a:gd name="T44" fmla="*/ 633502 w 2776"/>
                <a:gd name="T45" fmla="*/ 8889 h 3628"/>
                <a:gd name="T46" fmla="*/ 534477 w 2776"/>
                <a:gd name="T47" fmla="*/ 17778 h 3628"/>
                <a:gd name="T48" fmla="*/ 424027 w 2776"/>
                <a:gd name="T49" fmla="*/ 54602 h 3628"/>
                <a:gd name="T50" fmla="*/ 344046 w 2776"/>
                <a:gd name="T51" fmla="*/ 72380 h 3628"/>
                <a:gd name="T52" fmla="*/ 210744 w 2776"/>
                <a:gd name="T53" fmla="*/ 162538 h 3628"/>
                <a:gd name="T54" fmla="*/ 124415 w 2776"/>
                <a:gd name="T55" fmla="*/ 312377 h 3628"/>
                <a:gd name="T56" fmla="*/ 38086 w 2776"/>
                <a:gd name="T57" fmla="*/ 453328 h 3628"/>
                <a:gd name="T58" fmla="*/ 15235 w 2776"/>
                <a:gd name="T59" fmla="*/ 537136 h 3628"/>
                <a:gd name="T60" fmla="*/ 38086 w 2776"/>
                <a:gd name="T61" fmla="*/ 626024 h 3628"/>
                <a:gd name="T62" fmla="*/ 25391 w 2776"/>
                <a:gd name="T63" fmla="*/ 775863 h 3628"/>
                <a:gd name="T64" fmla="*/ 34278 w 2776"/>
                <a:gd name="T65" fmla="*/ 802530 h 3628"/>
                <a:gd name="T66" fmla="*/ 34278 w 2776"/>
                <a:gd name="T67" fmla="*/ 825386 h 3628"/>
                <a:gd name="T68" fmla="*/ 54590 w 2776"/>
                <a:gd name="T69" fmla="*/ 848243 h 3628"/>
                <a:gd name="T70" fmla="*/ 71094 w 2776"/>
                <a:gd name="T71" fmla="*/ 863481 h 3628"/>
                <a:gd name="T72" fmla="*/ 106642 w 2776"/>
                <a:gd name="T73" fmla="*/ 909195 h 3628"/>
                <a:gd name="T74" fmla="*/ 115528 w 2776"/>
                <a:gd name="T75" fmla="*/ 940941 h 3628"/>
                <a:gd name="T76" fmla="*/ 171388 w 2776"/>
                <a:gd name="T77" fmla="*/ 996813 h 3628"/>
                <a:gd name="T78" fmla="*/ 319925 w 2776"/>
                <a:gd name="T79" fmla="*/ 1036177 h 3628"/>
                <a:gd name="T80" fmla="*/ 411332 w 2776"/>
                <a:gd name="T81" fmla="*/ 1038717 h 3628"/>
                <a:gd name="T82" fmla="*/ 535747 w 2776"/>
                <a:gd name="T83" fmla="*/ 993003 h 3628"/>
                <a:gd name="T84" fmla="*/ 632232 w 2776"/>
                <a:gd name="T85" fmla="*/ 1052685 h 3628"/>
                <a:gd name="T86" fmla="*/ 690631 w 2776"/>
                <a:gd name="T87" fmla="*/ 1069193 h 3628"/>
                <a:gd name="T88" fmla="*/ 686822 w 2776"/>
                <a:gd name="T89" fmla="*/ 1158081 h 3628"/>
                <a:gd name="T90" fmla="*/ 700787 w 2776"/>
                <a:gd name="T91" fmla="*/ 1193636 h 3628"/>
                <a:gd name="T92" fmla="*/ 690631 w 2776"/>
                <a:gd name="T93" fmla="*/ 1262206 h 3628"/>
                <a:gd name="T94" fmla="*/ 766804 w 2776"/>
                <a:gd name="T95" fmla="*/ 1376491 h 3628"/>
                <a:gd name="T96" fmla="*/ 797273 w 2776"/>
                <a:gd name="T97" fmla="*/ 1521251 h 3628"/>
                <a:gd name="T98" fmla="*/ 746491 w 2776"/>
                <a:gd name="T99" fmla="*/ 1737121 h 3628"/>
                <a:gd name="T100" fmla="*/ 846785 w 2776"/>
                <a:gd name="T101" fmla="*/ 2073625 h 3628"/>
                <a:gd name="T102" fmla="*/ 903914 w 2776"/>
                <a:gd name="T103" fmla="*/ 2242511 h 3628"/>
                <a:gd name="T104" fmla="*/ 934383 w 2776"/>
                <a:gd name="T105" fmla="*/ 2289495 h 3628"/>
                <a:gd name="T106" fmla="*/ 1009286 w 2776"/>
                <a:gd name="T107" fmla="*/ 2284416 h 3628"/>
                <a:gd name="T108" fmla="*/ 1104502 w 2776"/>
                <a:gd name="T109" fmla="*/ 2269178 h 3628"/>
                <a:gd name="T110" fmla="*/ 1280968 w 2776"/>
                <a:gd name="T111" fmla="*/ 2079974 h 3628"/>
                <a:gd name="T112" fmla="*/ 1354602 w 2776"/>
                <a:gd name="T113" fmla="*/ 1940293 h 3628"/>
                <a:gd name="T114" fmla="*/ 1338098 w 2776"/>
                <a:gd name="T115" fmla="*/ 1812041 h 3628"/>
                <a:gd name="T116" fmla="*/ 1482826 w 2776"/>
                <a:gd name="T117" fmla="*/ 1673630 h 3628"/>
                <a:gd name="T118" fmla="*/ 1475208 w 2776"/>
                <a:gd name="T119" fmla="*/ 1513632 h 3628"/>
                <a:gd name="T120" fmla="*/ 1448548 w 2776"/>
                <a:gd name="T121" fmla="*/ 1400617 h 3628"/>
                <a:gd name="T122" fmla="*/ 1491712 w 2776"/>
                <a:gd name="T123" fmla="*/ 1268555 h 3628"/>
                <a:gd name="T124" fmla="*/ 1679605 w 2776"/>
                <a:gd name="T125" fmla="*/ 1045066 h 36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76"/>
                <a:gd name="T190" fmla="*/ 0 h 3628"/>
                <a:gd name="T191" fmla="*/ 2776 w 2776"/>
                <a:gd name="T192" fmla="*/ 3628 h 36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76" h="3628">
                  <a:moveTo>
                    <a:pt x="2710" y="2504"/>
                  </a:moveTo>
                  <a:lnTo>
                    <a:pt x="2710" y="2504"/>
                  </a:lnTo>
                  <a:lnTo>
                    <a:pt x="2706" y="2498"/>
                  </a:lnTo>
                  <a:lnTo>
                    <a:pt x="2702" y="2492"/>
                  </a:lnTo>
                  <a:lnTo>
                    <a:pt x="2698" y="2476"/>
                  </a:lnTo>
                  <a:lnTo>
                    <a:pt x="2696" y="2470"/>
                  </a:lnTo>
                  <a:lnTo>
                    <a:pt x="2692" y="2466"/>
                  </a:lnTo>
                  <a:lnTo>
                    <a:pt x="2690" y="2468"/>
                  </a:lnTo>
                  <a:lnTo>
                    <a:pt x="2684" y="2472"/>
                  </a:lnTo>
                  <a:lnTo>
                    <a:pt x="2680" y="2480"/>
                  </a:lnTo>
                  <a:lnTo>
                    <a:pt x="2678" y="2486"/>
                  </a:lnTo>
                  <a:lnTo>
                    <a:pt x="2676" y="2508"/>
                  </a:lnTo>
                  <a:lnTo>
                    <a:pt x="2674" y="2518"/>
                  </a:lnTo>
                  <a:lnTo>
                    <a:pt x="2672" y="2526"/>
                  </a:lnTo>
                  <a:lnTo>
                    <a:pt x="2668" y="2532"/>
                  </a:lnTo>
                  <a:lnTo>
                    <a:pt x="2664" y="2536"/>
                  </a:lnTo>
                  <a:lnTo>
                    <a:pt x="2656" y="2542"/>
                  </a:lnTo>
                  <a:lnTo>
                    <a:pt x="2648" y="2544"/>
                  </a:lnTo>
                  <a:lnTo>
                    <a:pt x="2634" y="2546"/>
                  </a:lnTo>
                  <a:lnTo>
                    <a:pt x="2632" y="2548"/>
                  </a:lnTo>
                  <a:lnTo>
                    <a:pt x="2632" y="2554"/>
                  </a:lnTo>
                  <a:lnTo>
                    <a:pt x="2638" y="2566"/>
                  </a:lnTo>
                  <a:lnTo>
                    <a:pt x="2636" y="2572"/>
                  </a:lnTo>
                  <a:lnTo>
                    <a:pt x="2636" y="2576"/>
                  </a:lnTo>
                  <a:lnTo>
                    <a:pt x="2626" y="2588"/>
                  </a:lnTo>
                  <a:lnTo>
                    <a:pt x="2606" y="2608"/>
                  </a:lnTo>
                  <a:lnTo>
                    <a:pt x="2596" y="2618"/>
                  </a:lnTo>
                  <a:lnTo>
                    <a:pt x="2588" y="2628"/>
                  </a:lnTo>
                  <a:lnTo>
                    <a:pt x="2578" y="2640"/>
                  </a:lnTo>
                  <a:lnTo>
                    <a:pt x="2572" y="2646"/>
                  </a:lnTo>
                  <a:lnTo>
                    <a:pt x="2564" y="2650"/>
                  </a:lnTo>
                  <a:lnTo>
                    <a:pt x="2554" y="2652"/>
                  </a:lnTo>
                  <a:lnTo>
                    <a:pt x="2538" y="2656"/>
                  </a:lnTo>
                  <a:lnTo>
                    <a:pt x="2530" y="2658"/>
                  </a:lnTo>
                  <a:lnTo>
                    <a:pt x="2526" y="2660"/>
                  </a:lnTo>
                  <a:lnTo>
                    <a:pt x="2522" y="2664"/>
                  </a:lnTo>
                  <a:lnTo>
                    <a:pt x="2520" y="2668"/>
                  </a:lnTo>
                  <a:lnTo>
                    <a:pt x="2516" y="2670"/>
                  </a:lnTo>
                  <a:lnTo>
                    <a:pt x="2512" y="2670"/>
                  </a:lnTo>
                  <a:lnTo>
                    <a:pt x="2506" y="2670"/>
                  </a:lnTo>
                  <a:lnTo>
                    <a:pt x="2500" y="2670"/>
                  </a:lnTo>
                  <a:lnTo>
                    <a:pt x="2496" y="2670"/>
                  </a:lnTo>
                  <a:lnTo>
                    <a:pt x="2496" y="2672"/>
                  </a:lnTo>
                  <a:lnTo>
                    <a:pt x="2496" y="2676"/>
                  </a:lnTo>
                  <a:lnTo>
                    <a:pt x="2494" y="2690"/>
                  </a:lnTo>
                  <a:lnTo>
                    <a:pt x="2492" y="2700"/>
                  </a:lnTo>
                  <a:lnTo>
                    <a:pt x="2486" y="2712"/>
                  </a:lnTo>
                  <a:lnTo>
                    <a:pt x="2480" y="2724"/>
                  </a:lnTo>
                  <a:lnTo>
                    <a:pt x="2478" y="2732"/>
                  </a:lnTo>
                  <a:lnTo>
                    <a:pt x="2478" y="2738"/>
                  </a:lnTo>
                  <a:lnTo>
                    <a:pt x="2478" y="2742"/>
                  </a:lnTo>
                  <a:lnTo>
                    <a:pt x="2482" y="2750"/>
                  </a:lnTo>
                  <a:lnTo>
                    <a:pt x="2482" y="2754"/>
                  </a:lnTo>
                  <a:lnTo>
                    <a:pt x="2482" y="2762"/>
                  </a:lnTo>
                  <a:lnTo>
                    <a:pt x="2480" y="2772"/>
                  </a:lnTo>
                  <a:lnTo>
                    <a:pt x="2480" y="2778"/>
                  </a:lnTo>
                  <a:lnTo>
                    <a:pt x="2484" y="2790"/>
                  </a:lnTo>
                  <a:lnTo>
                    <a:pt x="2488" y="2798"/>
                  </a:lnTo>
                  <a:lnTo>
                    <a:pt x="2488" y="2802"/>
                  </a:lnTo>
                  <a:lnTo>
                    <a:pt x="2488" y="2806"/>
                  </a:lnTo>
                  <a:lnTo>
                    <a:pt x="2488" y="2814"/>
                  </a:lnTo>
                  <a:lnTo>
                    <a:pt x="2490" y="2820"/>
                  </a:lnTo>
                  <a:lnTo>
                    <a:pt x="2494" y="2832"/>
                  </a:lnTo>
                  <a:lnTo>
                    <a:pt x="2498" y="2848"/>
                  </a:lnTo>
                  <a:lnTo>
                    <a:pt x="2498" y="2860"/>
                  </a:lnTo>
                  <a:lnTo>
                    <a:pt x="2496" y="2868"/>
                  </a:lnTo>
                  <a:lnTo>
                    <a:pt x="2492" y="2876"/>
                  </a:lnTo>
                  <a:lnTo>
                    <a:pt x="2488" y="2884"/>
                  </a:lnTo>
                  <a:lnTo>
                    <a:pt x="2480" y="2900"/>
                  </a:lnTo>
                  <a:lnTo>
                    <a:pt x="2476" y="2908"/>
                  </a:lnTo>
                  <a:lnTo>
                    <a:pt x="2474" y="2916"/>
                  </a:lnTo>
                  <a:lnTo>
                    <a:pt x="2472" y="2924"/>
                  </a:lnTo>
                  <a:lnTo>
                    <a:pt x="2470" y="2928"/>
                  </a:lnTo>
                  <a:lnTo>
                    <a:pt x="2466" y="2928"/>
                  </a:lnTo>
                  <a:lnTo>
                    <a:pt x="2464" y="2928"/>
                  </a:lnTo>
                  <a:lnTo>
                    <a:pt x="2462" y="2930"/>
                  </a:lnTo>
                  <a:lnTo>
                    <a:pt x="2458" y="2934"/>
                  </a:lnTo>
                  <a:lnTo>
                    <a:pt x="2454" y="2942"/>
                  </a:lnTo>
                  <a:lnTo>
                    <a:pt x="2450" y="2954"/>
                  </a:lnTo>
                  <a:lnTo>
                    <a:pt x="2448" y="2968"/>
                  </a:lnTo>
                  <a:lnTo>
                    <a:pt x="2446" y="2980"/>
                  </a:lnTo>
                  <a:lnTo>
                    <a:pt x="2448" y="2990"/>
                  </a:lnTo>
                  <a:lnTo>
                    <a:pt x="2448" y="2998"/>
                  </a:lnTo>
                  <a:lnTo>
                    <a:pt x="2456" y="3012"/>
                  </a:lnTo>
                  <a:lnTo>
                    <a:pt x="2464" y="3026"/>
                  </a:lnTo>
                  <a:lnTo>
                    <a:pt x="2466" y="3034"/>
                  </a:lnTo>
                  <a:lnTo>
                    <a:pt x="2466" y="3040"/>
                  </a:lnTo>
                  <a:lnTo>
                    <a:pt x="2466" y="3054"/>
                  </a:lnTo>
                  <a:lnTo>
                    <a:pt x="2464" y="3062"/>
                  </a:lnTo>
                  <a:lnTo>
                    <a:pt x="2466" y="3072"/>
                  </a:lnTo>
                  <a:lnTo>
                    <a:pt x="2468" y="3084"/>
                  </a:lnTo>
                  <a:lnTo>
                    <a:pt x="2474" y="3100"/>
                  </a:lnTo>
                  <a:lnTo>
                    <a:pt x="2480" y="3114"/>
                  </a:lnTo>
                  <a:lnTo>
                    <a:pt x="2486" y="3122"/>
                  </a:lnTo>
                  <a:lnTo>
                    <a:pt x="2492" y="3126"/>
                  </a:lnTo>
                  <a:lnTo>
                    <a:pt x="2498" y="3130"/>
                  </a:lnTo>
                  <a:lnTo>
                    <a:pt x="2510" y="3134"/>
                  </a:lnTo>
                  <a:lnTo>
                    <a:pt x="2514" y="3136"/>
                  </a:lnTo>
                  <a:lnTo>
                    <a:pt x="2520" y="3142"/>
                  </a:lnTo>
                  <a:lnTo>
                    <a:pt x="2522" y="3144"/>
                  </a:lnTo>
                  <a:lnTo>
                    <a:pt x="2526" y="3146"/>
                  </a:lnTo>
                  <a:lnTo>
                    <a:pt x="2534" y="3146"/>
                  </a:lnTo>
                  <a:lnTo>
                    <a:pt x="2544" y="3144"/>
                  </a:lnTo>
                  <a:lnTo>
                    <a:pt x="2554" y="3140"/>
                  </a:lnTo>
                  <a:lnTo>
                    <a:pt x="2574" y="3128"/>
                  </a:lnTo>
                  <a:lnTo>
                    <a:pt x="2584" y="3124"/>
                  </a:lnTo>
                  <a:lnTo>
                    <a:pt x="2594" y="3122"/>
                  </a:lnTo>
                  <a:lnTo>
                    <a:pt x="2598" y="3120"/>
                  </a:lnTo>
                  <a:lnTo>
                    <a:pt x="2602" y="3116"/>
                  </a:lnTo>
                  <a:lnTo>
                    <a:pt x="2610" y="3096"/>
                  </a:lnTo>
                  <a:lnTo>
                    <a:pt x="2620" y="3068"/>
                  </a:lnTo>
                  <a:lnTo>
                    <a:pt x="2628" y="3034"/>
                  </a:lnTo>
                  <a:lnTo>
                    <a:pt x="2648" y="2952"/>
                  </a:lnTo>
                  <a:lnTo>
                    <a:pt x="2668" y="2870"/>
                  </a:lnTo>
                  <a:lnTo>
                    <a:pt x="2682" y="2822"/>
                  </a:lnTo>
                  <a:lnTo>
                    <a:pt x="2694" y="2792"/>
                  </a:lnTo>
                  <a:lnTo>
                    <a:pt x="2696" y="2780"/>
                  </a:lnTo>
                  <a:lnTo>
                    <a:pt x="2700" y="2768"/>
                  </a:lnTo>
                  <a:lnTo>
                    <a:pt x="2700" y="2756"/>
                  </a:lnTo>
                  <a:lnTo>
                    <a:pt x="2698" y="2742"/>
                  </a:lnTo>
                  <a:lnTo>
                    <a:pt x="2698" y="2730"/>
                  </a:lnTo>
                  <a:lnTo>
                    <a:pt x="2698" y="2722"/>
                  </a:lnTo>
                  <a:lnTo>
                    <a:pt x="2700" y="2718"/>
                  </a:lnTo>
                  <a:lnTo>
                    <a:pt x="2704" y="2714"/>
                  </a:lnTo>
                  <a:lnTo>
                    <a:pt x="2710" y="2710"/>
                  </a:lnTo>
                  <a:lnTo>
                    <a:pt x="2712" y="2706"/>
                  </a:lnTo>
                  <a:lnTo>
                    <a:pt x="2710" y="2700"/>
                  </a:lnTo>
                  <a:lnTo>
                    <a:pt x="2710" y="2690"/>
                  </a:lnTo>
                  <a:lnTo>
                    <a:pt x="2712" y="2684"/>
                  </a:lnTo>
                  <a:lnTo>
                    <a:pt x="2712" y="2674"/>
                  </a:lnTo>
                  <a:lnTo>
                    <a:pt x="2712" y="2670"/>
                  </a:lnTo>
                  <a:lnTo>
                    <a:pt x="2710" y="2662"/>
                  </a:lnTo>
                  <a:lnTo>
                    <a:pt x="2706" y="2654"/>
                  </a:lnTo>
                  <a:lnTo>
                    <a:pt x="2706" y="2648"/>
                  </a:lnTo>
                  <a:lnTo>
                    <a:pt x="2706" y="2642"/>
                  </a:lnTo>
                  <a:lnTo>
                    <a:pt x="2708" y="2638"/>
                  </a:lnTo>
                  <a:lnTo>
                    <a:pt x="2710" y="2636"/>
                  </a:lnTo>
                  <a:lnTo>
                    <a:pt x="2714" y="2640"/>
                  </a:lnTo>
                  <a:lnTo>
                    <a:pt x="2718" y="2646"/>
                  </a:lnTo>
                  <a:lnTo>
                    <a:pt x="2722" y="2658"/>
                  </a:lnTo>
                  <a:lnTo>
                    <a:pt x="2724" y="2662"/>
                  </a:lnTo>
                  <a:lnTo>
                    <a:pt x="2728" y="2662"/>
                  </a:lnTo>
                  <a:lnTo>
                    <a:pt x="2732" y="2658"/>
                  </a:lnTo>
                  <a:lnTo>
                    <a:pt x="2734" y="2652"/>
                  </a:lnTo>
                  <a:lnTo>
                    <a:pt x="2736" y="2644"/>
                  </a:lnTo>
                  <a:lnTo>
                    <a:pt x="2738" y="2634"/>
                  </a:lnTo>
                  <a:lnTo>
                    <a:pt x="2736" y="2624"/>
                  </a:lnTo>
                  <a:lnTo>
                    <a:pt x="2734" y="2614"/>
                  </a:lnTo>
                  <a:lnTo>
                    <a:pt x="2732" y="2604"/>
                  </a:lnTo>
                  <a:lnTo>
                    <a:pt x="2730" y="2590"/>
                  </a:lnTo>
                  <a:lnTo>
                    <a:pt x="2724" y="2556"/>
                  </a:lnTo>
                  <a:lnTo>
                    <a:pt x="2720" y="2522"/>
                  </a:lnTo>
                  <a:lnTo>
                    <a:pt x="2716" y="2510"/>
                  </a:lnTo>
                  <a:lnTo>
                    <a:pt x="2710" y="2504"/>
                  </a:lnTo>
                  <a:close/>
                  <a:moveTo>
                    <a:pt x="2770" y="1364"/>
                  </a:moveTo>
                  <a:lnTo>
                    <a:pt x="2770" y="1364"/>
                  </a:lnTo>
                  <a:lnTo>
                    <a:pt x="2764" y="1352"/>
                  </a:lnTo>
                  <a:lnTo>
                    <a:pt x="2762" y="1342"/>
                  </a:lnTo>
                  <a:lnTo>
                    <a:pt x="2764" y="1332"/>
                  </a:lnTo>
                  <a:lnTo>
                    <a:pt x="2766" y="1322"/>
                  </a:lnTo>
                  <a:lnTo>
                    <a:pt x="2770" y="1316"/>
                  </a:lnTo>
                  <a:lnTo>
                    <a:pt x="2770" y="1308"/>
                  </a:lnTo>
                  <a:lnTo>
                    <a:pt x="2768" y="1304"/>
                  </a:lnTo>
                  <a:lnTo>
                    <a:pt x="2762" y="1300"/>
                  </a:lnTo>
                  <a:lnTo>
                    <a:pt x="2752" y="1300"/>
                  </a:lnTo>
                  <a:lnTo>
                    <a:pt x="2746" y="1302"/>
                  </a:lnTo>
                  <a:lnTo>
                    <a:pt x="2730" y="1314"/>
                  </a:lnTo>
                  <a:lnTo>
                    <a:pt x="2720" y="1320"/>
                  </a:lnTo>
                  <a:lnTo>
                    <a:pt x="2708" y="1326"/>
                  </a:lnTo>
                  <a:lnTo>
                    <a:pt x="2694" y="1330"/>
                  </a:lnTo>
                  <a:lnTo>
                    <a:pt x="2676" y="1330"/>
                  </a:lnTo>
                  <a:lnTo>
                    <a:pt x="2660" y="1332"/>
                  </a:lnTo>
                  <a:lnTo>
                    <a:pt x="2650" y="1332"/>
                  </a:lnTo>
                  <a:lnTo>
                    <a:pt x="2646" y="1334"/>
                  </a:lnTo>
                  <a:lnTo>
                    <a:pt x="2646" y="1336"/>
                  </a:lnTo>
                  <a:lnTo>
                    <a:pt x="2646" y="1338"/>
                  </a:lnTo>
                  <a:lnTo>
                    <a:pt x="2644" y="1340"/>
                  </a:lnTo>
                  <a:lnTo>
                    <a:pt x="2640" y="1340"/>
                  </a:lnTo>
                  <a:lnTo>
                    <a:pt x="2630" y="1340"/>
                  </a:lnTo>
                  <a:lnTo>
                    <a:pt x="2618" y="1340"/>
                  </a:lnTo>
                  <a:lnTo>
                    <a:pt x="2608" y="1342"/>
                  </a:lnTo>
                  <a:lnTo>
                    <a:pt x="2602" y="1346"/>
                  </a:lnTo>
                  <a:lnTo>
                    <a:pt x="2596" y="1352"/>
                  </a:lnTo>
                  <a:lnTo>
                    <a:pt x="2590" y="1356"/>
                  </a:lnTo>
                  <a:lnTo>
                    <a:pt x="2584" y="1360"/>
                  </a:lnTo>
                  <a:lnTo>
                    <a:pt x="2574" y="1360"/>
                  </a:lnTo>
                  <a:lnTo>
                    <a:pt x="2564" y="1358"/>
                  </a:lnTo>
                  <a:lnTo>
                    <a:pt x="2552" y="1356"/>
                  </a:lnTo>
                  <a:lnTo>
                    <a:pt x="2542" y="1356"/>
                  </a:lnTo>
                  <a:lnTo>
                    <a:pt x="2534" y="1360"/>
                  </a:lnTo>
                  <a:lnTo>
                    <a:pt x="2528" y="1366"/>
                  </a:lnTo>
                  <a:lnTo>
                    <a:pt x="2520" y="1370"/>
                  </a:lnTo>
                  <a:lnTo>
                    <a:pt x="2512" y="1374"/>
                  </a:lnTo>
                  <a:lnTo>
                    <a:pt x="2504" y="1376"/>
                  </a:lnTo>
                  <a:lnTo>
                    <a:pt x="2494" y="1374"/>
                  </a:lnTo>
                  <a:lnTo>
                    <a:pt x="2484" y="1368"/>
                  </a:lnTo>
                  <a:lnTo>
                    <a:pt x="2476" y="1362"/>
                  </a:lnTo>
                  <a:lnTo>
                    <a:pt x="2470" y="1356"/>
                  </a:lnTo>
                  <a:lnTo>
                    <a:pt x="2466" y="1350"/>
                  </a:lnTo>
                  <a:lnTo>
                    <a:pt x="2458" y="1334"/>
                  </a:lnTo>
                  <a:lnTo>
                    <a:pt x="2454" y="1328"/>
                  </a:lnTo>
                  <a:lnTo>
                    <a:pt x="2448" y="1320"/>
                  </a:lnTo>
                  <a:lnTo>
                    <a:pt x="2444" y="1318"/>
                  </a:lnTo>
                  <a:lnTo>
                    <a:pt x="2438" y="1316"/>
                  </a:lnTo>
                  <a:lnTo>
                    <a:pt x="2428" y="1316"/>
                  </a:lnTo>
                  <a:lnTo>
                    <a:pt x="2426" y="1316"/>
                  </a:lnTo>
                  <a:lnTo>
                    <a:pt x="2428" y="1314"/>
                  </a:lnTo>
                  <a:lnTo>
                    <a:pt x="2444" y="1302"/>
                  </a:lnTo>
                  <a:lnTo>
                    <a:pt x="2450" y="1298"/>
                  </a:lnTo>
                  <a:lnTo>
                    <a:pt x="2452" y="1294"/>
                  </a:lnTo>
                  <a:lnTo>
                    <a:pt x="2452" y="1288"/>
                  </a:lnTo>
                  <a:lnTo>
                    <a:pt x="2452" y="1284"/>
                  </a:lnTo>
                  <a:lnTo>
                    <a:pt x="2448" y="1272"/>
                  </a:lnTo>
                  <a:lnTo>
                    <a:pt x="2440" y="1260"/>
                  </a:lnTo>
                  <a:lnTo>
                    <a:pt x="2436" y="1256"/>
                  </a:lnTo>
                  <a:lnTo>
                    <a:pt x="2432" y="1254"/>
                  </a:lnTo>
                  <a:lnTo>
                    <a:pt x="2426" y="1252"/>
                  </a:lnTo>
                  <a:lnTo>
                    <a:pt x="2422" y="1244"/>
                  </a:lnTo>
                  <a:lnTo>
                    <a:pt x="2418" y="1238"/>
                  </a:lnTo>
                  <a:lnTo>
                    <a:pt x="2416" y="1236"/>
                  </a:lnTo>
                  <a:lnTo>
                    <a:pt x="2414" y="1232"/>
                  </a:lnTo>
                  <a:lnTo>
                    <a:pt x="2410" y="1224"/>
                  </a:lnTo>
                  <a:lnTo>
                    <a:pt x="2404" y="1214"/>
                  </a:lnTo>
                  <a:lnTo>
                    <a:pt x="2402" y="1214"/>
                  </a:lnTo>
                  <a:lnTo>
                    <a:pt x="2402" y="1216"/>
                  </a:lnTo>
                  <a:lnTo>
                    <a:pt x="2396" y="1208"/>
                  </a:lnTo>
                  <a:lnTo>
                    <a:pt x="2394" y="1204"/>
                  </a:lnTo>
                  <a:lnTo>
                    <a:pt x="2392" y="1202"/>
                  </a:lnTo>
                  <a:lnTo>
                    <a:pt x="2388" y="1202"/>
                  </a:lnTo>
                  <a:lnTo>
                    <a:pt x="2384" y="1202"/>
                  </a:lnTo>
                  <a:lnTo>
                    <a:pt x="2382" y="1198"/>
                  </a:lnTo>
                  <a:lnTo>
                    <a:pt x="2378" y="1192"/>
                  </a:lnTo>
                  <a:lnTo>
                    <a:pt x="2372" y="1182"/>
                  </a:lnTo>
                  <a:lnTo>
                    <a:pt x="2366" y="1172"/>
                  </a:lnTo>
                  <a:lnTo>
                    <a:pt x="2362" y="1166"/>
                  </a:lnTo>
                  <a:lnTo>
                    <a:pt x="2358" y="1164"/>
                  </a:lnTo>
                  <a:lnTo>
                    <a:pt x="2356" y="1164"/>
                  </a:lnTo>
                  <a:lnTo>
                    <a:pt x="2354" y="1166"/>
                  </a:lnTo>
                  <a:lnTo>
                    <a:pt x="2352" y="1166"/>
                  </a:lnTo>
                  <a:lnTo>
                    <a:pt x="2348" y="1162"/>
                  </a:lnTo>
                  <a:lnTo>
                    <a:pt x="2344" y="1156"/>
                  </a:lnTo>
                  <a:lnTo>
                    <a:pt x="2340" y="1150"/>
                  </a:lnTo>
                  <a:lnTo>
                    <a:pt x="2338" y="1150"/>
                  </a:lnTo>
                  <a:lnTo>
                    <a:pt x="2334" y="1150"/>
                  </a:lnTo>
                  <a:lnTo>
                    <a:pt x="2332" y="1152"/>
                  </a:lnTo>
                  <a:lnTo>
                    <a:pt x="2330" y="1152"/>
                  </a:lnTo>
                  <a:lnTo>
                    <a:pt x="2326" y="1150"/>
                  </a:lnTo>
                  <a:lnTo>
                    <a:pt x="2322" y="1144"/>
                  </a:lnTo>
                  <a:lnTo>
                    <a:pt x="2316" y="1132"/>
                  </a:lnTo>
                  <a:lnTo>
                    <a:pt x="2312" y="1124"/>
                  </a:lnTo>
                  <a:lnTo>
                    <a:pt x="2310" y="1122"/>
                  </a:lnTo>
                  <a:lnTo>
                    <a:pt x="2308" y="1124"/>
                  </a:lnTo>
                  <a:lnTo>
                    <a:pt x="2308" y="1128"/>
                  </a:lnTo>
                  <a:lnTo>
                    <a:pt x="2308" y="1140"/>
                  </a:lnTo>
                  <a:lnTo>
                    <a:pt x="2308" y="1144"/>
                  </a:lnTo>
                  <a:lnTo>
                    <a:pt x="2306" y="1146"/>
                  </a:lnTo>
                  <a:lnTo>
                    <a:pt x="2304" y="1142"/>
                  </a:lnTo>
                  <a:lnTo>
                    <a:pt x="2300" y="1136"/>
                  </a:lnTo>
                  <a:lnTo>
                    <a:pt x="2298" y="1126"/>
                  </a:lnTo>
                  <a:lnTo>
                    <a:pt x="2290" y="1110"/>
                  </a:lnTo>
                  <a:lnTo>
                    <a:pt x="2286" y="1100"/>
                  </a:lnTo>
                  <a:lnTo>
                    <a:pt x="2284" y="1086"/>
                  </a:lnTo>
                  <a:lnTo>
                    <a:pt x="2280" y="1058"/>
                  </a:lnTo>
                  <a:lnTo>
                    <a:pt x="2276" y="1042"/>
                  </a:lnTo>
                  <a:lnTo>
                    <a:pt x="2272" y="1026"/>
                  </a:lnTo>
                  <a:lnTo>
                    <a:pt x="2268" y="1012"/>
                  </a:lnTo>
                  <a:lnTo>
                    <a:pt x="2260" y="998"/>
                  </a:lnTo>
                  <a:lnTo>
                    <a:pt x="2252" y="988"/>
                  </a:lnTo>
                  <a:lnTo>
                    <a:pt x="2248" y="984"/>
                  </a:lnTo>
                  <a:lnTo>
                    <a:pt x="2244" y="986"/>
                  </a:lnTo>
                  <a:lnTo>
                    <a:pt x="2242" y="986"/>
                  </a:lnTo>
                  <a:lnTo>
                    <a:pt x="2240" y="984"/>
                  </a:lnTo>
                  <a:lnTo>
                    <a:pt x="2236" y="976"/>
                  </a:lnTo>
                  <a:lnTo>
                    <a:pt x="2230" y="968"/>
                  </a:lnTo>
                  <a:lnTo>
                    <a:pt x="2226" y="966"/>
                  </a:lnTo>
                  <a:lnTo>
                    <a:pt x="2222" y="966"/>
                  </a:lnTo>
                  <a:lnTo>
                    <a:pt x="2220" y="966"/>
                  </a:lnTo>
                  <a:lnTo>
                    <a:pt x="2218" y="964"/>
                  </a:lnTo>
                  <a:lnTo>
                    <a:pt x="2212" y="956"/>
                  </a:lnTo>
                  <a:lnTo>
                    <a:pt x="2208" y="944"/>
                  </a:lnTo>
                  <a:lnTo>
                    <a:pt x="2206" y="928"/>
                  </a:lnTo>
                  <a:lnTo>
                    <a:pt x="2202" y="900"/>
                  </a:lnTo>
                  <a:lnTo>
                    <a:pt x="2200" y="890"/>
                  </a:lnTo>
                  <a:lnTo>
                    <a:pt x="2202" y="884"/>
                  </a:lnTo>
                  <a:lnTo>
                    <a:pt x="2204" y="876"/>
                  </a:lnTo>
                  <a:lnTo>
                    <a:pt x="2204" y="870"/>
                  </a:lnTo>
                  <a:lnTo>
                    <a:pt x="2200" y="858"/>
                  </a:lnTo>
                  <a:lnTo>
                    <a:pt x="2198" y="850"/>
                  </a:lnTo>
                  <a:lnTo>
                    <a:pt x="2200" y="848"/>
                  </a:lnTo>
                  <a:lnTo>
                    <a:pt x="2204" y="850"/>
                  </a:lnTo>
                  <a:lnTo>
                    <a:pt x="2208" y="850"/>
                  </a:lnTo>
                  <a:lnTo>
                    <a:pt x="2210" y="848"/>
                  </a:lnTo>
                  <a:lnTo>
                    <a:pt x="2204" y="842"/>
                  </a:lnTo>
                  <a:lnTo>
                    <a:pt x="2198" y="826"/>
                  </a:lnTo>
                  <a:lnTo>
                    <a:pt x="2194" y="816"/>
                  </a:lnTo>
                  <a:lnTo>
                    <a:pt x="2192" y="802"/>
                  </a:lnTo>
                  <a:lnTo>
                    <a:pt x="2190" y="794"/>
                  </a:lnTo>
                  <a:lnTo>
                    <a:pt x="2188" y="790"/>
                  </a:lnTo>
                  <a:lnTo>
                    <a:pt x="2184" y="786"/>
                  </a:lnTo>
                  <a:lnTo>
                    <a:pt x="2176" y="784"/>
                  </a:lnTo>
                  <a:lnTo>
                    <a:pt x="2174" y="782"/>
                  </a:lnTo>
                  <a:lnTo>
                    <a:pt x="2170" y="780"/>
                  </a:lnTo>
                  <a:lnTo>
                    <a:pt x="2166" y="772"/>
                  </a:lnTo>
                  <a:lnTo>
                    <a:pt x="2162" y="766"/>
                  </a:lnTo>
                  <a:lnTo>
                    <a:pt x="2160" y="764"/>
                  </a:lnTo>
                  <a:lnTo>
                    <a:pt x="2154" y="764"/>
                  </a:lnTo>
                  <a:lnTo>
                    <a:pt x="2150" y="762"/>
                  </a:lnTo>
                  <a:lnTo>
                    <a:pt x="2146" y="758"/>
                  </a:lnTo>
                  <a:lnTo>
                    <a:pt x="2138" y="746"/>
                  </a:lnTo>
                  <a:lnTo>
                    <a:pt x="2134" y="752"/>
                  </a:lnTo>
                  <a:lnTo>
                    <a:pt x="2138" y="746"/>
                  </a:lnTo>
                  <a:lnTo>
                    <a:pt x="2134" y="732"/>
                  </a:lnTo>
                  <a:lnTo>
                    <a:pt x="2132" y="716"/>
                  </a:lnTo>
                  <a:lnTo>
                    <a:pt x="2132" y="710"/>
                  </a:lnTo>
                  <a:lnTo>
                    <a:pt x="2134" y="706"/>
                  </a:lnTo>
                  <a:lnTo>
                    <a:pt x="2136" y="702"/>
                  </a:lnTo>
                  <a:lnTo>
                    <a:pt x="2142" y="702"/>
                  </a:lnTo>
                  <a:lnTo>
                    <a:pt x="2144" y="702"/>
                  </a:lnTo>
                  <a:lnTo>
                    <a:pt x="2138" y="698"/>
                  </a:lnTo>
                  <a:lnTo>
                    <a:pt x="2134" y="692"/>
                  </a:lnTo>
                  <a:lnTo>
                    <a:pt x="2128" y="684"/>
                  </a:lnTo>
                  <a:lnTo>
                    <a:pt x="2120" y="674"/>
                  </a:lnTo>
                  <a:lnTo>
                    <a:pt x="2116" y="662"/>
                  </a:lnTo>
                  <a:lnTo>
                    <a:pt x="2108" y="642"/>
                  </a:lnTo>
                  <a:lnTo>
                    <a:pt x="2098" y="624"/>
                  </a:lnTo>
                  <a:lnTo>
                    <a:pt x="2082" y="594"/>
                  </a:lnTo>
                  <a:lnTo>
                    <a:pt x="2072" y="572"/>
                  </a:lnTo>
                  <a:lnTo>
                    <a:pt x="2070" y="564"/>
                  </a:lnTo>
                  <a:lnTo>
                    <a:pt x="2070" y="556"/>
                  </a:lnTo>
                  <a:lnTo>
                    <a:pt x="2070" y="550"/>
                  </a:lnTo>
                  <a:lnTo>
                    <a:pt x="2070" y="544"/>
                  </a:lnTo>
                  <a:lnTo>
                    <a:pt x="2064" y="534"/>
                  </a:lnTo>
                  <a:lnTo>
                    <a:pt x="2058" y="526"/>
                  </a:lnTo>
                  <a:lnTo>
                    <a:pt x="2056" y="520"/>
                  </a:lnTo>
                  <a:lnTo>
                    <a:pt x="2056" y="512"/>
                  </a:lnTo>
                  <a:lnTo>
                    <a:pt x="2054" y="504"/>
                  </a:lnTo>
                  <a:lnTo>
                    <a:pt x="2050" y="494"/>
                  </a:lnTo>
                  <a:lnTo>
                    <a:pt x="2036" y="474"/>
                  </a:lnTo>
                  <a:lnTo>
                    <a:pt x="2022" y="452"/>
                  </a:lnTo>
                  <a:lnTo>
                    <a:pt x="2018" y="442"/>
                  </a:lnTo>
                  <a:lnTo>
                    <a:pt x="2016" y="434"/>
                  </a:lnTo>
                  <a:lnTo>
                    <a:pt x="2016" y="426"/>
                  </a:lnTo>
                  <a:lnTo>
                    <a:pt x="2014" y="422"/>
                  </a:lnTo>
                  <a:lnTo>
                    <a:pt x="2010" y="416"/>
                  </a:lnTo>
                  <a:lnTo>
                    <a:pt x="2008" y="412"/>
                  </a:lnTo>
                  <a:lnTo>
                    <a:pt x="2008" y="408"/>
                  </a:lnTo>
                  <a:lnTo>
                    <a:pt x="2010" y="402"/>
                  </a:lnTo>
                  <a:lnTo>
                    <a:pt x="2014" y="394"/>
                  </a:lnTo>
                  <a:lnTo>
                    <a:pt x="2000" y="332"/>
                  </a:lnTo>
                  <a:lnTo>
                    <a:pt x="1998" y="332"/>
                  </a:lnTo>
                  <a:lnTo>
                    <a:pt x="1996" y="328"/>
                  </a:lnTo>
                  <a:lnTo>
                    <a:pt x="1992" y="326"/>
                  </a:lnTo>
                  <a:lnTo>
                    <a:pt x="1990" y="326"/>
                  </a:lnTo>
                  <a:lnTo>
                    <a:pt x="1986" y="326"/>
                  </a:lnTo>
                  <a:lnTo>
                    <a:pt x="1984" y="324"/>
                  </a:lnTo>
                  <a:lnTo>
                    <a:pt x="1984" y="322"/>
                  </a:lnTo>
                  <a:lnTo>
                    <a:pt x="1984" y="320"/>
                  </a:lnTo>
                  <a:lnTo>
                    <a:pt x="1986" y="318"/>
                  </a:lnTo>
                  <a:lnTo>
                    <a:pt x="1988" y="316"/>
                  </a:lnTo>
                  <a:lnTo>
                    <a:pt x="1990" y="314"/>
                  </a:lnTo>
                  <a:lnTo>
                    <a:pt x="1992" y="316"/>
                  </a:lnTo>
                  <a:lnTo>
                    <a:pt x="1998" y="320"/>
                  </a:lnTo>
                  <a:lnTo>
                    <a:pt x="1996" y="316"/>
                  </a:lnTo>
                  <a:lnTo>
                    <a:pt x="1990" y="310"/>
                  </a:lnTo>
                  <a:lnTo>
                    <a:pt x="1988" y="308"/>
                  </a:lnTo>
                  <a:lnTo>
                    <a:pt x="1986" y="308"/>
                  </a:lnTo>
                  <a:lnTo>
                    <a:pt x="1980" y="312"/>
                  </a:lnTo>
                  <a:lnTo>
                    <a:pt x="1976" y="314"/>
                  </a:lnTo>
                  <a:lnTo>
                    <a:pt x="1974" y="314"/>
                  </a:lnTo>
                  <a:lnTo>
                    <a:pt x="1966" y="310"/>
                  </a:lnTo>
                  <a:lnTo>
                    <a:pt x="1958" y="306"/>
                  </a:lnTo>
                  <a:lnTo>
                    <a:pt x="1954" y="306"/>
                  </a:lnTo>
                  <a:lnTo>
                    <a:pt x="1948" y="308"/>
                  </a:lnTo>
                  <a:lnTo>
                    <a:pt x="1938" y="312"/>
                  </a:lnTo>
                  <a:lnTo>
                    <a:pt x="1932" y="312"/>
                  </a:lnTo>
                  <a:lnTo>
                    <a:pt x="1928" y="312"/>
                  </a:lnTo>
                  <a:lnTo>
                    <a:pt x="1922" y="318"/>
                  </a:lnTo>
                  <a:lnTo>
                    <a:pt x="1920" y="320"/>
                  </a:lnTo>
                  <a:lnTo>
                    <a:pt x="1916" y="322"/>
                  </a:lnTo>
                  <a:lnTo>
                    <a:pt x="1908" y="326"/>
                  </a:lnTo>
                  <a:lnTo>
                    <a:pt x="1892" y="340"/>
                  </a:lnTo>
                  <a:lnTo>
                    <a:pt x="1886" y="346"/>
                  </a:lnTo>
                  <a:lnTo>
                    <a:pt x="1880" y="346"/>
                  </a:lnTo>
                  <a:lnTo>
                    <a:pt x="1874" y="346"/>
                  </a:lnTo>
                  <a:lnTo>
                    <a:pt x="1866" y="344"/>
                  </a:lnTo>
                  <a:lnTo>
                    <a:pt x="1854" y="336"/>
                  </a:lnTo>
                  <a:lnTo>
                    <a:pt x="1848" y="334"/>
                  </a:lnTo>
                  <a:lnTo>
                    <a:pt x="1844" y="334"/>
                  </a:lnTo>
                  <a:lnTo>
                    <a:pt x="1836" y="332"/>
                  </a:lnTo>
                  <a:lnTo>
                    <a:pt x="1830" y="330"/>
                  </a:lnTo>
                  <a:lnTo>
                    <a:pt x="1826" y="326"/>
                  </a:lnTo>
                  <a:lnTo>
                    <a:pt x="1822" y="326"/>
                  </a:lnTo>
                  <a:lnTo>
                    <a:pt x="1818" y="326"/>
                  </a:lnTo>
                  <a:lnTo>
                    <a:pt x="1812" y="326"/>
                  </a:lnTo>
                  <a:lnTo>
                    <a:pt x="1812" y="324"/>
                  </a:lnTo>
                  <a:lnTo>
                    <a:pt x="1808" y="322"/>
                  </a:lnTo>
                  <a:lnTo>
                    <a:pt x="1804" y="318"/>
                  </a:lnTo>
                  <a:lnTo>
                    <a:pt x="1794" y="314"/>
                  </a:lnTo>
                  <a:lnTo>
                    <a:pt x="1778" y="310"/>
                  </a:lnTo>
                  <a:lnTo>
                    <a:pt x="1762" y="308"/>
                  </a:lnTo>
                  <a:lnTo>
                    <a:pt x="1750" y="306"/>
                  </a:lnTo>
                  <a:lnTo>
                    <a:pt x="1734" y="308"/>
                  </a:lnTo>
                  <a:lnTo>
                    <a:pt x="1724" y="310"/>
                  </a:lnTo>
                  <a:lnTo>
                    <a:pt x="1718" y="310"/>
                  </a:lnTo>
                  <a:lnTo>
                    <a:pt x="1718" y="308"/>
                  </a:lnTo>
                  <a:lnTo>
                    <a:pt x="1716" y="302"/>
                  </a:lnTo>
                  <a:lnTo>
                    <a:pt x="1714" y="292"/>
                  </a:lnTo>
                  <a:lnTo>
                    <a:pt x="1710" y="288"/>
                  </a:lnTo>
                  <a:lnTo>
                    <a:pt x="1706" y="286"/>
                  </a:lnTo>
                  <a:lnTo>
                    <a:pt x="1700" y="284"/>
                  </a:lnTo>
                  <a:lnTo>
                    <a:pt x="1692" y="284"/>
                  </a:lnTo>
                  <a:lnTo>
                    <a:pt x="1678" y="284"/>
                  </a:lnTo>
                  <a:lnTo>
                    <a:pt x="1672" y="282"/>
                  </a:lnTo>
                  <a:lnTo>
                    <a:pt x="1666" y="280"/>
                  </a:lnTo>
                  <a:lnTo>
                    <a:pt x="1654" y="278"/>
                  </a:lnTo>
                  <a:lnTo>
                    <a:pt x="1648" y="276"/>
                  </a:lnTo>
                  <a:lnTo>
                    <a:pt x="1644" y="274"/>
                  </a:lnTo>
                  <a:lnTo>
                    <a:pt x="1640" y="266"/>
                  </a:lnTo>
                  <a:lnTo>
                    <a:pt x="1638" y="262"/>
                  </a:lnTo>
                  <a:lnTo>
                    <a:pt x="1632" y="256"/>
                  </a:lnTo>
                  <a:lnTo>
                    <a:pt x="1624" y="250"/>
                  </a:lnTo>
                  <a:lnTo>
                    <a:pt x="1612" y="242"/>
                  </a:lnTo>
                  <a:lnTo>
                    <a:pt x="1596" y="236"/>
                  </a:lnTo>
                  <a:lnTo>
                    <a:pt x="1584" y="236"/>
                  </a:lnTo>
                  <a:lnTo>
                    <a:pt x="1574" y="238"/>
                  </a:lnTo>
                  <a:lnTo>
                    <a:pt x="1568" y="242"/>
                  </a:lnTo>
                  <a:lnTo>
                    <a:pt x="1564" y="244"/>
                  </a:lnTo>
                  <a:lnTo>
                    <a:pt x="1560" y="246"/>
                  </a:lnTo>
                  <a:lnTo>
                    <a:pt x="1550" y="246"/>
                  </a:lnTo>
                  <a:lnTo>
                    <a:pt x="1544" y="248"/>
                  </a:lnTo>
                  <a:lnTo>
                    <a:pt x="1536" y="252"/>
                  </a:lnTo>
                  <a:lnTo>
                    <a:pt x="1528" y="260"/>
                  </a:lnTo>
                  <a:lnTo>
                    <a:pt x="1516" y="274"/>
                  </a:lnTo>
                  <a:lnTo>
                    <a:pt x="1510" y="284"/>
                  </a:lnTo>
                  <a:lnTo>
                    <a:pt x="1508" y="292"/>
                  </a:lnTo>
                  <a:lnTo>
                    <a:pt x="1508" y="302"/>
                  </a:lnTo>
                  <a:lnTo>
                    <a:pt x="1510" y="314"/>
                  </a:lnTo>
                  <a:lnTo>
                    <a:pt x="1512" y="324"/>
                  </a:lnTo>
                  <a:lnTo>
                    <a:pt x="1514" y="334"/>
                  </a:lnTo>
                  <a:lnTo>
                    <a:pt x="1512" y="344"/>
                  </a:lnTo>
                  <a:lnTo>
                    <a:pt x="1506" y="354"/>
                  </a:lnTo>
                  <a:lnTo>
                    <a:pt x="1498" y="362"/>
                  </a:lnTo>
                  <a:lnTo>
                    <a:pt x="1492" y="368"/>
                  </a:lnTo>
                  <a:lnTo>
                    <a:pt x="1484" y="374"/>
                  </a:lnTo>
                  <a:lnTo>
                    <a:pt x="1478" y="376"/>
                  </a:lnTo>
                  <a:lnTo>
                    <a:pt x="1470" y="376"/>
                  </a:lnTo>
                  <a:lnTo>
                    <a:pt x="1464" y="374"/>
                  </a:lnTo>
                  <a:lnTo>
                    <a:pt x="1458" y="368"/>
                  </a:lnTo>
                  <a:lnTo>
                    <a:pt x="1452" y="362"/>
                  </a:lnTo>
                  <a:lnTo>
                    <a:pt x="1446" y="356"/>
                  </a:lnTo>
                  <a:lnTo>
                    <a:pt x="1438" y="350"/>
                  </a:lnTo>
                  <a:lnTo>
                    <a:pt x="1418" y="338"/>
                  </a:lnTo>
                  <a:lnTo>
                    <a:pt x="1398" y="330"/>
                  </a:lnTo>
                  <a:lnTo>
                    <a:pt x="1376" y="328"/>
                  </a:lnTo>
                  <a:lnTo>
                    <a:pt x="1358" y="326"/>
                  </a:lnTo>
                  <a:lnTo>
                    <a:pt x="1350" y="324"/>
                  </a:lnTo>
                  <a:lnTo>
                    <a:pt x="1344" y="320"/>
                  </a:lnTo>
                  <a:lnTo>
                    <a:pt x="1338" y="316"/>
                  </a:lnTo>
                  <a:lnTo>
                    <a:pt x="1334" y="310"/>
                  </a:lnTo>
                  <a:lnTo>
                    <a:pt x="1330" y="300"/>
                  </a:lnTo>
                  <a:lnTo>
                    <a:pt x="1326" y="288"/>
                  </a:lnTo>
                  <a:lnTo>
                    <a:pt x="1324" y="276"/>
                  </a:lnTo>
                  <a:lnTo>
                    <a:pt x="1320" y="268"/>
                  </a:lnTo>
                  <a:lnTo>
                    <a:pt x="1314" y="262"/>
                  </a:lnTo>
                  <a:lnTo>
                    <a:pt x="1306" y="260"/>
                  </a:lnTo>
                  <a:lnTo>
                    <a:pt x="1294" y="258"/>
                  </a:lnTo>
                  <a:lnTo>
                    <a:pt x="1288" y="256"/>
                  </a:lnTo>
                  <a:lnTo>
                    <a:pt x="1284" y="254"/>
                  </a:lnTo>
                  <a:lnTo>
                    <a:pt x="1272" y="248"/>
                  </a:lnTo>
                  <a:lnTo>
                    <a:pt x="1256" y="242"/>
                  </a:lnTo>
                  <a:lnTo>
                    <a:pt x="1238" y="240"/>
                  </a:lnTo>
                  <a:lnTo>
                    <a:pt x="1230" y="240"/>
                  </a:lnTo>
                  <a:lnTo>
                    <a:pt x="1224" y="240"/>
                  </a:lnTo>
                  <a:lnTo>
                    <a:pt x="1216" y="242"/>
                  </a:lnTo>
                  <a:lnTo>
                    <a:pt x="1210" y="242"/>
                  </a:lnTo>
                  <a:lnTo>
                    <a:pt x="1196" y="236"/>
                  </a:lnTo>
                  <a:lnTo>
                    <a:pt x="1182" y="230"/>
                  </a:lnTo>
                  <a:lnTo>
                    <a:pt x="1172" y="224"/>
                  </a:lnTo>
                  <a:lnTo>
                    <a:pt x="1160" y="218"/>
                  </a:lnTo>
                  <a:lnTo>
                    <a:pt x="1156" y="214"/>
                  </a:lnTo>
                  <a:lnTo>
                    <a:pt x="1154" y="206"/>
                  </a:lnTo>
                  <a:lnTo>
                    <a:pt x="1152" y="198"/>
                  </a:lnTo>
                  <a:lnTo>
                    <a:pt x="1150" y="198"/>
                  </a:lnTo>
                  <a:lnTo>
                    <a:pt x="1148" y="198"/>
                  </a:lnTo>
                  <a:lnTo>
                    <a:pt x="1144" y="200"/>
                  </a:lnTo>
                  <a:lnTo>
                    <a:pt x="1142" y="200"/>
                  </a:lnTo>
                  <a:lnTo>
                    <a:pt x="1140" y="198"/>
                  </a:lnTo>
                  <a:lnTo>
                    <a:pt x="1132" y="196"/>
                  </a:lnTo>
                  <a:lnTo>
                    <a:pt x="1124" y="194"/>
                  </a:lnTo>
                  <a:lnTo>
                    <a:pt x="1118" y="194"/>
                  </a:lnTo>
                  <a:lnTo>
                    <a:pt x="1114" y="190"/>
                  </a:lnTo>
                  <a:lnTo>
                    <a:pt x="1110" y="184"/>
                  </a:lnTo>
                  <a:lnTo>
                    <a:pt x="1108" y="176"/>
                  </a:lnTo>
                  <a:lnTo>
                    <a:pt x="1110" y="170"/>
                  </a:lnTo>
                  <a:lnTo>
                    <a:pt x="1116" y="162"/>
                  </a:lnTo>
                  <a:lnTo>
                    <a:pt x="1134" y="144"/>
                  </a:lnTo>
                  <a:lnTo>
                    <a:pt x="1142" y="134"/>
                  </a:lnTo>
                  <a:lnTo>
                    <a:pt x="1150" y="124"/>
                  </a:lnTo>
                  <a:lnTo>
                    <a:pt x="1154" y="116"/>
                  </a:lnTo>
                  <a:lnTo>
                    <a:pt x="1154" y="114"/>
                  </a:lnTo>
                  <a:lnTo>
                    <a:pt x="1152" y="110"/>
                  </a:lnTo>
                  <a:lnTo>
                    <a:pt x="1150" y="106"/>
                  </a:lnTo>
                  <a:lnTo>
                    <a:pt x="1148" y="102"/>
                  </a:lnTo>
                  <a:lnTo>
                    <a:pt x="1148" y="96"/>
                  </a:lnTo>
                  <a:lnTo>
                    <a:pt x="1148" y="92"/>
                  </a:lnTo>
                  <a:lnTo>
                    <a:pt x="1146" y="90"/>
                  </a:lnTo>
                  <a:lnTo>
                    <a:pt x="1142" y="86"/>
                  </a:lnTo>
                  <a:lnTo>
                    <a:pt x="1136" y="82"/>
                  </a:lnTo>
                  <a:lnTo>
                    <a:pt x="1132" y="78"/>
                  </a:lnTo>
                  <a:lnTo>
                    <a:pt x="1128" y="74"/>
                  </a:lnTo>
                  <a:lnTo>
                    <a:pt x="1124" y="64"/>
                  </a:lnTo>
                  <a:lnTo>
                    <a:pt x="1124" y="60"/>
                  </a:lnTo>
                  <a:lnTo>
                    <a:pt x="1124" y="56"/>
                  </a:lnTo>
                  <a:lnTo>
                    <a:pt x="1126" y="52"/>
                  </a:lnTo>
                  <a:lnTo>
                    <a:pt x="1130" y="50"/>
                  </a:lnTo>
                  <a:lnTo>
                    <a:pt x="1140" y="42"/>
                  </a:lnTo>
                  <a:lnTo>
                    <a:pt x="1148" y="34"/>
                  </a:lnTo>
                  <a:lnTo>
                    <a:pt x="1152" y="26"/>
                  </a:lnTo>
                  <a:lnTo>
                    <a:pt x="1152" y="20"/>
                  </a:lnTo>
                  <a:lnTo>
                    <a:pt x="1152" y="16"/>
                  </a:lnTo>
                  <a:lnTo>
                    <a:pt x="1148" y="14"/>
                  </a:lnTo>
                  <a:lnTo>
                    <a:pt x="1146" y="16"/>
                  </a:lnTo>
                  <a:lnTo>
                    <a:pt x="1136" y="22"/>
                  </a:lnTo>
                  <a:lnTo>
                    <a:pt x="1128" y="30"/>
                  </a:lnTo>
                  <a:lnTo>
                    <a:pt x="1124" y="32"/>
                  </a:lnTo>
                  <a:lnTo>
                    <a:pt x="1122" y="32"/>
                  </a:lnTo>
                  <a:lnTo>
                    <a:pt x="1120" y="30"/>
                  </a:lnTo>
                  <a:lnTo>
                    <a:pt x="1118" y="26"/>
                  </a:lnTo>
                  <a:lnTo>
                    <a:pt x="1118" y="18"/>
                  </a:lnTo>
                  <a:lnTo>
                    <a:pt x="1116" y="10"/>
                  </a:lnTo>
                  <a:lnTo>
                    <a:pt x="1112" y="6"/>
                  </a:lnTo>
                  <a:lnTo>
                    <a:pt x="1108" y="4"/>
                  </a:lnTo>
                  <a:lnTo>
                    <a:pt x="1096" y="0"/>
                  </a:lnTo>
                  <a:lnTo>
                    <a:pt x="1088" y="2"/>
                  </a:lnTo>
                  <a:lnTo>
                    <a:pt x="1080" y="4"/>
                  </a:lnTo>
                  <a:lnTo>
                    <a:pt x="1074" y="6"/>
                  </a:lnTo>
                  <a:lnTo>
                    <a:pt x="1064" y="16"/>
                  </a:lnTo>
                  <a:lnTo>
                    <a:pt x="1058" y="22"/>
                  </a:lnTo>
                  <a:lnTo>
                    <a:pt x="1052" y="22"/>
                  </a:lnTo>
                  <a:lnTo>
                    <a:pt x="1040" y="22"/>
                  </a:lnTo>
                  <a:lnTo>
                    <a:pt x="1034" y="22"/>
                  </a:lnTo>
                  <a:lnTo>
                    <a:pt x="1026" y="24"/>
                  </a:lnTo>
                  <a:lnTo>
                    <a:pt x="1022" y="28"/>
                  </a:lnTo>
                  <a:lnTo>
                    <a:pt x="1018" y="24"/>
                  </a:lnTo>
                  <a:lnTo>
                    <a:pt x="1014" y="20"/>
                  </a:lnTo>
                  <a:lnTo>
                    <a:pt x="1006" y="14"/>
                  </a:lnTo>
                  <a:lnTo>
                    <a:pt x="1002" y="12"/>
                  </a:lnTo>
                  <a:lnTo>
                    <a:pt x="998" y="14"/>
                  </a:lnTo>
                  <a:lnTo>
                    <a:pt x="994" y="18"/>
                  </a:lnTo>
                  <a:lnTo>
                    <a:pt x="992" y="20"/>
                  </a:lnTo>
                  <a:lnTo>
                    <a:pt x="988" y="22"/>
                  </a:lnTo>
                  <a:lnTo>
                    <a:pt x="984" y="22"/>
                  </a:lnTo>
                  <a:lnTo>
                    <a:pt x="978" y="20"/>
                  </a:lnTo>
                  <a:lnTo>
                    <a:pt x="966" y="16"/>
                  </a:lnTo>
                  <a:lnTo>
                    <a:pt x="962" y="16"/>
                  </a:lnTo>
                  <a:lnTo>
                    <a:pt x="960" y="18"/>
                  </a:lnTo>
                  <a:lnTo>
                    <a:pt x="954" y="22"/>
                  </a:lnTo>
                  <a:lnTo>
                    <a:pt x="942" y="26"/>
                  </a:lnTo>
                  <a:lnTo>
                    <a:pt x="936" y="28"/>
                  </a:lnTo>
                  <a:lnTo>
                    <a:pt x="930" y="30"/>
                  </a:lnTo>
                  <a:lnTo>
                    <a:pt x="924" y="36"/>
                  </a:lnTo>
                  <a:lnTo>
                    <a:pt x="920" y="38"/>
                  </a:lnTo>
                  <a:lnTo>
                    <a:pt x="918" y="38"/>
                  </a:lnTo>
                  <a:lnTo>
                    <a:pt x="914" y="36"/>
                  </a:lnTo>
                  <a:lnTo>
                    <a:pt x="910" y="32"/>
                  </a:lnTo>
                  <a:lnTo>
                    <a:pt x="906" y="28"/>
                  </a:lnTo>
                  <a:lnTo>
                    <a:pt x="900" y="26"/>
                  </a:lnTo>
                  <a:lnTo>
                    <a:pt x="886" y="22"/>
                  </a:lnTo>
                  <a:lnTo>
                    <a:pt x="870" y="24"/>
                  </a:lnTo>
                  <a:lnTo>
                    <a:pt x="854" y="26"/>
                  </a:lnTo>
                  <a:lnTo>
                    <a:pt x="848" y="28"/>
                  </a:lnTo>
                  <a:lnTo>
                    <a:pt x="842" y="28"/>
                  </a:lnTo>
                  <a:lnTo>
                    <a:pt x="832" y="28"/>
                  </a:lnTo>
                  <a:lnTo>
                    <a:pt x="822" y="28"/>
                  </a:lnTo>
                  <a:lnTo>
                    <a:pt x="820" y="30"/>
                  </a:lnTo>
                  <a:lnTo>
                    <a:pt x="816" y="32"/>
                  </a:lnTo>
                  <a:lnTo>
                    <a:pt x="812" y="38"/>
                  </a:lnTo>
                  <a:lnTo>
                    <a:pt x="804" y="40"/>
                  </a:lnTo>
                  <a:lnTo>
                    <a:pt x="776" y="42"/>
                  </a:lnTo>
                  <a:lnTo>
                    <a:pt x="754" y="46"/>
                  </a:lnTo>
                  <a:lnTo>
                    <a:pt x="732" y="52"/>
                  </a:lnTo>
                  <a:lnTo>
                    <a:pt x="724" y="58"/>
                  </a:lnTo>
                  <a:lnTo>
                    <a:pt x="716" y="64"/>
                  </a:lnTo>
                  <a:lnTo>
                    <a:pt x="710" y="70"/>
                  </a:lnTo>
                  <a:lnTo>
                    <a:pt x="706" y="76"/>
                  </a:lnTo>
                  <a:lnTo>
                    <a:pt x="704" y="82"/>
                  </a:lnTo>
                  <a:lnTo>
                    <a:pt x="700" y="86"/>
                  </a:lnTo>
                  <a:lnTo>
                    <a:pt x="698" y="86"/>
                  </a:lnTo>
                  <a:lnTo>
                    <a:pt x="696" y="84"/>
                  </a:lnTo>
                  <a:lnTo>
                    <a:pt x="690" y="80"/>
                  </a:lnTo>
                  <a:lnTo>
                    <a:pt x="686" y="82"/>
                  </a:lnTo>
                  <a:lnTo>
                    <a:pt x="682" y="84"/>
                  </a:lnTo>
                  <a:lnTo>
                    <a:pt x="680" y="86"/>
                  </a:lnTo>
                  <a:lnTo>
                    <a:pt x="676" y="88"/>
                  </a:lnTo>
                  <a:lnTo>
                    <a:pt x="670" y="86"/>
                  </a:lnTo>
                  <a:lnTo>
                    <a:pt x="668" y="86"/>
                  </a:lnTo>
                  <a:lnTo>
                    <a:pt x="664" y="88"/>
                  </a:lnTo>
                  <a:lnTo>
                    <a:pt x="662" y="90"/>
                  </a:lnTo>
                  <a:lnTo>
                    <a:pt x="656" y="96"/>
                  </a:lnTo>
                  <a:lnTo>
                    <a:pt x="650" y="104"/>
                  </a:lnTo>
                  <a:lnTo>
                    <a:pt x="640" y="114"/>
                  </a:lnTo>
                  <a:lnTo>
                    <a:pt x="634" y="118"/>
                  </a:lnTo>
                  <a:lnTo>
                    <a:pt x="628" y="120"/>
                  </a:lnTo>
                  <a:lnTo>
                    <a:pt x="622" y="120"/>
                  </a:lnTo>
                  <a:lnTo>
                    <a:pt x="616" y="120"/>
                  </a:lnTo>
                  <a:lnTo>
                    <a:pt x="600" y="120"/>
                  </a:lnTo>
                  <a:lnTo>
                    <a:pt x="596" y="118"/>
                  </a:lnTo>
                  <a:lnTo>
                    <a:pt x="592" y="116"/>
                  </a:lnTo>
                  <a:lnTo>
                    <a:pt x="588" y="112"/>
                  </a:lnTo>
                  <a:lnTo>
                    <a:pt x="586" y="108"/>
                  </a:lnTo>
                  <a:lnTo>
                    <a:pt x="586" y="104"/>
                  </a:lnTo>
                  <a:lnTo>
                    <a:pt x="584" y="104"/>
                  </a:lnTo>
                  <a:lnTo>
                    <a:pt x="580" y="108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0" y="114"/>
                  </a:lnTo>
                  <a:lnTo>
                    <a:pt x="562" y="112"/>
                  </a:lnTo>
                  <a:lnTo>
                    <a:pt x="558" y="110"/>
                  </a:lnTo>
                  <a:lnTo>
                    <a:pt x="552" y="110"/>
                  </a:lnTo>
                  <a:lnTo>
                    <a:pt x="542" y="114"/>
                  </a:lnTo>
                  <a:lnTo>
                    <a:pt x="536" y="116"/>
                  </a:lnTo>
                  <a:lnTo>
                    <a:pt x="530" y="118"/>
                  </a:lnTo>
                  <a:lnTo>
                    <a:pt x="520" y="116"/>
                  </a:lnTo>
                  <a:lnTo>
                    <a:pt x="510" y="112"/>
                  </a:lnTo>
                  <a:lnTo>
                    <a:pt x="502" y="108"/>
                  </a:lnTo>
                  <a:lnTo>
                    <a:pt x="498" y="102"/>
                  </a:lnTo>
                  <a:lnTo>
                    <a:pt x="494" y="98"/>
                  </a:lnTo>
                  <a:lnTo>
                    <a:pt x="492" y="94"/>
                  </a:lnTo>
                  <a:lnTo>
                    <a:pt x="464" y="96"/>
                  </a:lnTo>
                  <a:lnTo>
                    <a:pt x="454" y="122"/>
                  </a:lnTo>
                  <a:lnTo>
                    <a:pt x="444" y="152"/>
                  </a:lnTo>
                  <a:lnTo>
                    <a:pt x="436" y="166"/>
                  </a:lnTo>
                  <a:lnTo>
                    <a:pt x="426" y="180"/>
                  </a:lnTo>
                  <a:lnTo>
                    <a:pt x="414" y="190"/>
                  </a:lnTo>
                  <a:lnTo>
                    <a:pt x="400" y="200"/>
                  </a:lnTo>
                  <a:lnTo>
                    <a:pt x="380" y="206"/>
                  </a:lnTo>
                  <a:lnTo>
                    <a:pt x="368" y="212"/>
                  </a:lnTo>
                  <a:lnTo>
                    <a:pt x="360" y="218"/>
                  </a:lnTo>
                  <a:lnTo>
                    <a:pt x="356" y="222"/>
                  </a:lnTo>
                  <a:lnTo>
                    <a:pt x="352" y="232"/>
                  </a:lnTo>
                  <a:lnTo>
                    <a:pt x="348" y="238"/>
                  </a:lnTo>
                  <a:lnTo>
                    <a:pt x="342" y="244"/>
                  </a:lnTo>
                  <a:lnTo>
                    <a:pt x="334" y="252"/>
                  </a:lnTo>
                  <a:lnTo>
                    <a:pt x="332" y="256"/>
                  </a:lnTo>
                  <a:lnTo>
                    <a:pt x="330" y="260"/>
                  </a:lnTo>
                  <a:lnTo>
                    <a:pt x="330" y="264"/>
                  </a:lnTo>
                  <a:lnTo>
                    <a:pt x="330" y="270"/>
                  </a:lnTo>
                  <a:lnTo>
                    <a:pt x="330" y="274"/>
                  </a:lnTo>
                  <a:lnTo>
                    <a:pt x="326" y="282"/>
                  </a:lnTo>
                  <a:lnTo>
                    <a:pt x="320" y="292"/>
                  </a:lnTo>
                  <a:lnTo>
                    <a:pt x="312" y="306"/>
                  </a:lnTo>
                  <a:lnTo>
                    <a:pt x="308" y="320"/>
                  </a:lnTo>
                  <a:lnTo>
                    <a:pt x="308" y="336"/>
                  </a:lnTo>
                  <a:lnTo>
                    <a:pt x="310" y="350"/>
                  </a:lnTo>
                  <a:lnTo>
                    <a:pt x="314" y="376"/>
                  </a:lnTo>
                  <a:lnTo>
                    <a:pt x="314" y="388"/>
                  </a:lnTo>
                  <a:lnTo>
                    <a:pt x="310" y="398"/>
                  </a:lnTo>
                  <a:lnTo>
                    <a:pt x="298" y="420"/>
                  </a:lnTo>
                  <a:lnTo>
                    <a:pt x="288" y="434"/>
                  </a:lnTo>
                  <a:lnTo>
                    <a:pt x="282" y="442"/>
                  </a:lnTo>
                  <a:lnTo>
                    <a:pt x="276" y="446"/>
                  </a:lnTo>
                  <a:lnTo>
                    <a:pt x="264" y="452"/>
                  </a:lnTo>
                  <a:lnTo>
                    <a:pt x="258" y="456"/>
                  </a:lnTo>
                  <a:lnTo>
                    <a:pt x="250" y="466"/>
                  </a:lnTo>
                  <a:lnTo>
                    <a:pt x="240" y="478"/>
                  </a:lnTo>
                  <a:lnTo>
                    <a:pt x="228" y="484"/>
                  </a:lnTo>
                  <a:lnTo>
                    <a:pt x="218" y="488"/>
                  </a:lnTo>
                  <a:lnTo>
                    <a:pt x="206" y="490"/>
                  </a:lnTo>
                  <a:lnTo>
                    <a:pt x="196" y="492"/>
                  </a:lnTo>
                  <a:lnTo>
                    <a:pt x="188" y="496"/>
                  </a:lnTo>
                  <a:lnTo>
                    <a:pt x="180" y="500"/>
                  </a:lnTo>
                  <a:lnTo>
                    <a:pt x="174" y="510"/>
                  </a:lnTo>
                  <a:lnTo>
                    <a:pt x="164" y="538"/>
                  </a:lnTo>
                  <a:lnTo>
                    <a:pt x="156" y="556"/>
                  </a:lnTo>
                  <a:lnTo>
                    <a:pt x="148" y="566"/>
                  </a:lnTo>
                  <a:lnTo>
                    <a:pt x="140" y="572"/>
                  </a:lnTo>
                  <a:lnTo>
                    <a:pt x="134" y="574"/>
                  </a:lnTo>
                  <a:lnTo>
                    <a:pt x="128" y="578"/>
                  </a:lnTo>
                  <a:lnTo>
                    <a:pt x="124" y="584"/>
                  </a:lnTo>
                  <a:lnTo>
                    <a:pt x="120" y="596"/>
                  </a:lnTo>
                  <a:lnTo>
                    <a:pt x="116" y="610"/>
                  </a:lnTo>
                  <a:lnTo>
                    <a:pt x="114" y="614"/>
                  </a:lnTo>
                  <a:lnTo>
                    <a:pt x="110" y="620"/>
                  </a:lnTo>
                  <a:lnTo>
                    <a:pt x="108" y="640"/>
                  </a:lnTo>
                  <a:lnTo>
                    <a:pt x="104" y="660"/>
                  </a:lnTo>
                  <a:lnTo>
                    <a:pt x="102" y="666"/>
                  </a:lnTo>
                  <a:lnTo>
                    <a:pt x="98" y="670"/>
                  </a:lnTo>
                  <a:lnTo>
                    <a:pt x="90" y="678"/>
                  </a:lnTo>
                  <a:lnTo>
                    <a:pt x="78" y="692"/>
                  </a:lnTo>
                  <a:lnTo>
                    <a:pt x="64" y="706"/>
                  </a:lnTo>
                  <a:lnTo>
                    <a:pt x="58" y="712"/>
                  </a:lnTo>
                  <a:lnTo>
                    <a:pt x="58" y="714"/>
                  </a:lnTo>
                  <a:lnTo>
                    <a:pt x="60" y="714"/>
                  </a:lnTo>
                  <a:lnTo>
                    <a:pt x="64" y="714"/>
                  </a:lnTo>
                  <a:lnTo>
                    <a:pt x="66" y="714"/>
                  </a:lnTo>
                  <a:lnTo>
                    <a:pt x="66" y="716"/>
                  </a:lnTo>
                  <a:lnTo>
                    <a:pt x="60" y="726"/>
                  </a:lnTo>
                  <a:lnTo>
                    <a:pt x="54" y="740"/>
                  </a:lnTo>
                  <a:lnTo>
                    <a:pt x="52" y="750"/>
                  </a:lnTo>
                  <a:lnTo>
                    <a:pt x="50" y="762"/>
                  </a:lnTo>
                  <a:lnTo>
                    <a:pt x="48" y="772"/>
                  </a:lnTo>
                  <a:lnTo>
                    <a:pt x="46" y="778"/>
                  </a:lnTo>
                  <a:lnTo>
                    <a:pt x="42" y="782"/>
                  </a:lnTo>
                  <a:lnTo>
                    <a:pt x="36" y="786"/>
                  </a:lnTo>
                  <a:lnTo>
                    <a:pt x="32" y="788"/>
                  </a:lnTo>
                  <a:lnTo>
                    <a:pt x="28" y="794"/>
                  </a:lnTo>
                  <a:lnTo>
                    <a:pt x="24" y="800"/>
                  </a:lnTo>
                  <a:lnTo>
                    <a:pt x="20" y="812"/>
                  </a:lnTo>
                  <a:lnTo>
                    <a:pt x="16" y="834"/>
                  </a:lnTo>
                  <a:lnTo>
                    <a:pt x="14" y="850"/>
                  </a:lnTo>
                  <a:lnTo>
                    <a:pt x="16" y="858"/>
                  </a:lnTo>
                  <a:lnTo>
                    <a:pt x="16" y="860"/>
                  </a:lnTo>
                  <a:lnTo>
                    <a:pt x="18" y="860"/>
                  </a:lnTo>
                  <a:lnTo>
                    <a:pt x="20" y="860"/>
                  </a:lnTo>
                  <a:lnTo>
                    <a:pt x="22" y="858"/>
                  </a:lnTo>
                  <a:lnTo>
                    <a:pt x="22" y="852"/>
                  </a:lnTo>
                  <a:lnTo>
                    <a:pt x="24" y="846"/>
                  </a:lnTo>
                  <a:lnTo>
                    <a:pt x="24" y="844"/>
                  </a:lnTo>
                  <a:lnTo>
                    <a:pt x="26" y="844"/>
                  </a:lnTo>
                  <a:lnTo>
                    <a:pt x="30" y="846"/>
                  </a:lnTo>
                  <a:lnTo>
                    <a:pt x="30" y="850"/>
                  </a:lnTo>
                  <a:lnTo>
                    <a:pt x="32" y="860"/>
                  </a:lnTo>
                  <a:lnTo>
                    <a:pt x="34" y="868"/>
                  </a:lnTo>
                  <a:lnTo>
                    <a:pt x="36" y="868"/>
                  </a:lnTo>
                  <a:lnTo>
                    <a:pt x="38" y="868"/>
                  </a:lnTo>
                  <a:lnTo>
                    <a:pt x="42" y="868"/>
                  </a:lnTo>
                  <a:lnTo>
                    <a:pt x="44" y="868"/>
                  </a:lnTo>
                  <a:lnTo>
                    <a:pt x="48" y="878"/>
                  </a:lnTo>
                  <a:lnTo>
                    <a:pt x="50" y="890"/>
                  </a:lnTo>
                  <a:lnTo>
                    <a:pt x="50" y="902"/>
                  </a:lnTo>
                  <a:lnTo>
                    <a:pt x="50" y="910"/>
                  </a:lnTo>
                  <a:lnTo>
                    <a:pt x="46" y="918"/>
                  </a:lnTo>
                  <a:lnTo>
                    <a:pt x="42" y="926"/>
                  </a:lnTo>
                  <a:lnTo>
                    <a:pt x="38" y="930"/>
                  </a:lnTo>
                  <a:lnTo>
                    <a:pt x="40" y="932"/>
                  </a:lnTo>
                  <a:lnTo>
                    <a:pt x="42" y="936"/>
                  </a:lnTo>
                  <a:lnTo>
                    <a:pt x="46" y="940"/>
                  </a:lnTo>
                  <a:lnTo>
                    <a:pt x="50" y="948"/>
                  </a:lnTo>
                  <a:lnTo>
                    <a:pt x="54" y="958"/>
                  </a:lnTo>
                  <a:lnTo>
                    <a:pt x="58" y="972"/>
                  </a:lnTo>
                  <a:lnTo>
                    <a:pt x="60" y="986"/>
                  </a:lnTo>
                  <a:lnTo>
                    <a:pt x="60" y="1002"/>
                  </a:lnTo>
                  <a:lnTo>
                    <a:pt x="58" y="1016"/>
                  </a:lnTo>
                  <a:lnTo>
                    <a:pt x="54" y="1030"/>
                  </a:lnTo>
                  <a:lnTo>
                    <a:pt x="42" y="1066"/>
                  </a:lnTo>
                  <a:lnTo>
                    <a:pt x="40" y="1076"/>
                  </a:lnTo>
                  <a:lnTo>
                    <a:pt x="40" y="1086"/>
                  </a:lnTo>
                  <a:lnTo>
                    <a:pt x="40" y="1102"/>
                  </a:lnTo>
                  <a:lnTo>
                    <a:pt x="34" y="1122"/>
                  </a:lnTo>
                  <a:lnTo>
                    <a:pt x="28" y="1132"/>
                  </a:lnTo>
                  <a:lnTo>
                    <a:pt x="22" y="1142"/>
                  </a:lnTo>
                  <a:lnTo>
                    <a:pt x="16" y="1150"/>
                  </a:lnTo>
                  <a:lnTo>
                    <a:pt x="6" y="1156"/>
                  </a:lnTo>
                  <a:lnTo>
                    <a:pt x="2" y="1160"/>
                  </a:lnTo>
                  <a:lnTo>
                    <a:pt x="0" y="1162"/>
                  </a:lnTo>
                  <a:lnTo>
                    <a:pt x="2" y="1164"/>
                  </a:lnTo>
                  <a:lnTo>
                    <a:pt x="10" y="1164"/>
                  </a:lnTo>
                  <a:lnTo>
                    <a:pt x="14" y="1164"/>
                  </a:lnTo>
                  <a:lnTo>
                    <a:pt x="16" y="1168"/>
                  </a:lnTo>
                  <a:lnTo>
                    <a:pt x="22" y="1184"/>
                  </a:lnTo>
                  <a:lnTo>
                    <a:pt x="30" y="1202"/>
                  </a:lnTo>
                  <a:lnTo>
                    <a:pt x="34" y="1210"/>
                  </a:lnTo>
                  <a:lnTo>
                    <a:pt x="38" y="1218"/>
                  </a:lnTo>
                  <a:lnTo>
                    <a:pt x="40" y="1222"/>
                  </a:lnTo>
                  <a:lnTo>
                    <a:pt x="44" y="1224"/>
                  </a:lnTo>
                  <a:lnTo>
                    <a:pt x="46" y="1226"/>
                  </a:lnTo>
                  <a:lnTo>
                    <a:pt x="52" y="1226"/>
                  </a:lnTo>
                  <a:lnTo>
                    <a:pt x="64" y="1224"/>
                  </a:lnTo>
                  <a:lnTo>
                    <a:pt x="80" y="1224"/>
                  </a:lnTo>
                  <a:lnTo>
                    <a:pt x="62" y="1228"/>
                  </a:lnTo>
                  <a:lnTo>
                    <a:pt x="50" y="1232"/>
                  </a:lnTo>
                  <a:lnTo>
                    <a:pt x="40" y="1232"/>
                  </a:lnTo>
                  <a:lnTo>
                    <a:pt x="38" y="1232"/>
                  </a:lnTo>
                  <a:lnTo>
                    <a:pt x="36" y="1228"/>
                  </a:lnTo>
                  <a:lnTo>
                    <a:pt x="34" y="1226"/>
                  </a:lnTo>
                  <a:lnTo>
                    <a:pt x="32" y="1224"/>
                  </a:lnTo>
                  <a:lnTo>
                    <a:pt x="28" y="1228"/>
                  </a:lnTo>
                  <a:lnTo>
                    <a:pt x="26" y="1234"/>
                  </a:lnTo>
                  <a:lnTo>
                    <a:pt x="28" y="1242"/>
                  </a:lnTo>
                  <a:lnTo>
                    <a:pt x="30" y="1252"/>
                  </a:lnTo>
                  <a:lnTo>
                    <a:pt x="30" y="1260"/>
                  </a:lnTo>
                  <a:lnTo>
                    <a:pt x="30" y="1264"/>
                  </a:lnTo>
                  <a:lnTo>
                    <a:pt x="32" y="1264"/>
                  </a:lnTo>
                  <a:lnTo>
                    <a:pt x="34" y="1264"/>
                  </a:lnTo>
                  <a:lnTo>
                    <a:pt x="40" y="1262"/>
                  </a:lnTo>
                  <a:lnTo>
                    <a:pt x="44" y="1264"/>
                  </a:lnTo>
                  <a:lnTo>
                    <a:pt x="48" y="1266"/>
                  </a:lnTo>
                  <a:lnTo>
                    <a:pt x="54" y="1264"/>
                  </a:lnTo>
                  <a:lnTo>
                    <a:pt x="60" y="1264"/>
                  </a:lnTo>
                  <a:lnTo>
                    <a:pt x="64" y="1264"/>
                  </a:lnTo>
                  <a:lnTo>
                    <a:pt x="70" y="1268"/>
                  </a:lnTo>
                  <a:lnTo>
                    <a:pt x="76" y="1268"/>
                  </a:lnTo>
                  <a:lnTo>
                    <a:pt x="64" y="1270"/>
                  </a:lnTo>
                  <a:lnTo>
                    <a:pt x="54" y="1270"/>
                  </a:lnTo>
                  <a:lnTo>
                    <a:pt x="44" y="1268"/>
                  </a:lnTo>
                  <a:lnTo>
                    <a:pt x="38" y="1266"/>
                  </a:lnTo>
                  <a:lnTo>
                    <a:pt x="36" y="1268"/>
                  </a:lnTo>
                  <a:lnTo>
                    <a:pt x="32" y="1270"/>
                  </a:lnTo>
                  <a:lnTo>
                    <a:pt x="30" y="1274"/>
                  </a:lnTo>
                  <a:lnTo>
                    <a:pt x="30" y="1276"/>
                  </a:lnTo>
                  <a:lnTo>
                    <a:pt x="34" y="1278"/>
                  </a:lnTo>
                  <a:lnTo>
                    <a:pt x="38" y="1282"/>
                  </a:lnTo>
                  <a:lnTo>
                    <a:pt x="40" y="1286"/>
                  </a:lnTo>
                  <a:lnTo>
                    <a:pt x="42" y="1286"/>
                  </a:lnTo>
                  <a:lnTo>
                    <a:pt x="48" y="1284"/>
                  </a:lnTo>
                  <a:lnTo>
                    <a:pt x="52" y="1284"/>
                  </a:lnTo>
                  <a:lnTo>
                    <a:pt x="50" y="1290"/>
                  </a:lnTo>
                  <a:lnTo>
                    <a:pt x="46" y="1296"/>
                  </a:lnTo>
                  <a:lnTo>
                    <a:pt x="48" y="1298"/>
                  </a:lnTo>
                  <a:lnTo>
                    <a:pt x="48" y="1300"/>
                  </a:lnTo>
                  <a:lnTo>
                    <a:pt x="54" y="1300"/>
                  </a:lnTo>
                  <a:lnTo>
                    <a:pt x="60" y="1300"/>
                  </a:lnTo>
                  <a:lnTo>
                    <a:pt x="64" y="1298"/>
                  </a:lnTo>
                  <a:lnTo>
                    <a:pt x="64" y="1300"/>
                  </a:lnTo>
                  <a:lnTo>
                    <a:pt x="64" y="1306"/>
                  </a:lnTo>
                  <a:lnTo>
                    <a:pt x="64" y="1312"/>
                  </a:lnTo>
                  <a:lnTo>
                    <a:pt x="66" y="1312"/>
                  </a:lnTo>
                  <a:lnTo>
                    <a:pt x="70" y="1310"/>
                  </a:lnTo>
                  <a:lnTo>
                    <a:pt x="78" y="1304"/>
                  </a:lnTo>
                  <a:lnTo>
                    <a:pt x="86" y="1300"/>
                  </a:lnTo>
                  <a:lnTo>
                    <a:pt x="88" y="1300"/>
                  </a:lnTo>
                  <a:lnTo>
                    <a:pt x="88" y="1302"/>
                  </a:lnTo>
                  <a:lnTo>
                    <a:pt x="82" y="1304"/>
                  </a:lnTo>
                  <a:lnTo>
                    <a:pt x="80" y="1306"/>
                  </a:lnTo>
                  <a:lnTo>
                    <a:pt x="78" y="1308"/>
                  </a:lnTo>
                  <a:lnTo>
                    <a:pt x="80" y="1312"/>
                  </a:lnTo>
                  <a:lnTo>
                    <a:pt x="82" y="1318"/>
                  </a:lnTo>
                  <a:lnTo>
                    <a:pt x="84" y="1320"/>
                  </a:lnTo>
                  <a:lnTo>
                    <a:pt x="82" y="1324"/>
                  </a:lnTo>
                  <a:lnTo>
                    <a:pt x="80" y="1328"/>
                  </a:lnTo>
                  <a:lnTo>
                    <a:pt x="82" y="1328"/>
                  </a:lnTo>
                  <a:lnTo>
                    <a:pt x="84" y="1328"/>
                  </a:lnTo>
                  <a:lnTo>
                    <a:pt x="86" y="1332"/>
                  </a:lnTo>
                  <a:lnTo>
                    <a:pt x="86" y="1336"/>
                  </a:lnTo>
                  <a:lnTo>
                    <a:pt x="88" y="1336"/>
                  </a:lnTo>
                  <a:lnTo>
                    <a:pt x="90" y="1338"/>
                  </a:lnTo>
                  <a:lnTo>
                    <a:pt x="90" y="1342"/>
                  </a:lnTo>
                  <a:lnTo>
                    <a:pt x="92" y="1346"/>
                  </a:lnTo>
                  <a:lnTo>
                    <a:pt x="94" y="1344"/>
                  </a:lnTo>
                  <a:lnTo>
                    <a:pt x="100" y="1336"/>
                  </a:lnTo>
                  <a:lnTo>
                    <a:pt x="98" y="1344"/>
                  </a:lnTo>
                  <a:lnTo>
                    <a:pt x="100" y="1348"/>
                  </a:lnTo>
                  <a:lnTo>
                    <a:pt x="98" y="1352"/>
                  </a:lnTo>
                  <a:lnTo>
                    <a:pt x="100" y="1356"/>
                  </a:lnTo>
                  <a:lnTo>
                    <a:pt x="102" y="1356"/>
                  </a:lnTo>
                  <a:lnTo>
                    <a:pt x="104" y="1352"/>
                  </a:lnTo>
                  <a:lnTo>
                    <a:pt x="108" y="1346"/>
                  </a:lnTo>
                  <a:lnTo>
                    <a:pt x="110" y="1344"/>
                  </a:lnTo>
                  <a:lnTo>
                    <a:pt x="114" y="1344"/>
                  </a:lnTo>
                  <a:lnTo>
                    <a:pt x="116" y="1344"/>
                  </a:lnTo>
                  <a:lnTo>
                    <a:pt x="112" y="1346"/>
                  </a:lnTo>
                  <a:lnTo>
                    <a:pt x="110" y="1350"/>
                  </a:lnTo>
                  <a:lnTo>
                    <a:pt x="110" y="1354"/>
                  </a:lnTo>
                  <a:lnTo>
                    <a:pt x="110" y="1358"/>
                  </a:lnTo>
                  <a:lnTo>
                    <a:pt x="112" y="1360"/>
                  </a:lnTo>
                  <a:lnTo>
                    <a:pt x="114" y="1360"/>
                  </a:lnTo>
                  <a:lnTo>
                    <a:pt x="118" y="1356"/>
                  </a:lnTo>
                  <a:lnTo>
                    <a:pt x="118" y="1354"/>
                  </a:lnTo>
                  <a:lnTo>
                    <a:pt x="118" y="1362"/>
                  </a:lnTo>
                  <a:lnTo>
                    <a:pt x="118" y="1372"/>
                  </a:lnTo>
                  <a:lnTo>
                    <a:pt x="120" y="1378"/>
                  </a:lnTo>
                  <a:lnTo>
                    <a:pt x="124" y="1384"/>
                  </a:lnTo>
                  <a:lnTo>
                    <a:pt x="128" y="1386"/>
                  </a:lnTo>
                  <a:lnTo>
                    <a:pt x="134" y="1388"/>
                  </a:lnTo>
                  <a:lnTo>
                    <a:pt x="140" y="1392"/>
                  </a:lnTo>
                  <a:lnTo>
                    <a:pt x="146" y="1398"/>
                  </a:lnTo>
                  <a:lnTo>
                    <a:pt x="154" y="1402"/>
                  </a:lnTo>
                  <a:lnTo>
                    <a:pt x="158" y="1404"/>
                  </a:lnTo>
                  <a:lnTo>
                    <a:pt x="158" y="1406"/>
                  </a:lnTo>
                  <a:lnTo>
                    <a:pt x="158" y="1408"/>
                  </a:lnTo>
                  <a:lnTo>
                    <a:pt x="156" y="1414"/>
                  </a:lnTo>
                  <a:lnTo>
                    <a:pt x="154" y="1418"/>
                  </a:lnTo>
                  <a:lnTo>
                    <a:pt x="156" y="1420"/>
                  </a:lnTo>
                  <a:lnTo>
                    <a:pt x="162" y="1424"/>
                  </a:lnTo>
                  <a:lnTo>
                    <a:pt x="166" y="1426"/>
                  </a:lnTo>
                  <a:lnTo>
                    <a:pt x="166" y="1430"/>
                  </a:lnTo>
                  <a:lnTo>
                    <a:pt x="168" y="1432"/>
                  </a:lnTo>
                  <a:lnTo>
                    <a:pt x="170" y="1434"/>
                  </a:lnTo>
                  <a:lnTo>
                    <a:pt x="172" y="1436"/>
                  </a:lnTo>
                  <a:lnTo>
                    <a:pt x="170" y="1438"/>
                  </a:lnTo>
                  <a:lnTo>
                    <a:pt x="170" y="1440"/>
                  </a:lnTo>
                  <a:lnTo>
                    <a:pt x="170" y="1442"/>
                  </a:lnTo>
                  <a:lnTo>
                    <a:pt x="176" y="1448"/>
                  </a:lnTo>
                  <a:lnTo>
                    <a:pt x="176" y="1450"/>
                  </a:lnTo>
                  <a:lnTo>
                    <a:pt x="174" y="1450"/>
                  </a:lnTo>
                  <a:lnTo>
                    <a:pt x="172" y="1452"/>
                  </a:lnTo>
                  <a:lnTo>
                    <a:pt x="170" y="1454"/>
                  </a:lnTo>
                  <a:lnTo>
                    <a:pt x="172" y="1458"/>
                  </a:lnTo>
                  <a:lnTo>
                    <a:pt x="174" y="1462"/>
                  </a:lnTo>
                  <a:lnTo>
                    <a:pt x="176" y="1462"/>
                  </a:lnTo>
                  <a:lnTo>
                    <a:pt x="180" y="1462"/>
                  </a:lnTo>
                  <a:lnTo>
                    <a:pt x="186" y="1464"/>
                  </a:lnTo>
                  <a:lnTo>
                    <a:pt x="182" y="1468"/>
                  </a:lnTo>
                  <a:lnTo>
                    <a:pt x="178" y="1470"/>
                  </a:lnTo>
                  <a:lnTo>
                    <a:pt x="172" y="1470"/>
                  </a:lnTo>
                  <a:lnTo>
                    <a:pt x="170" y="1468"/>
                  </a:lnTo>
                  <a:lnTo>
                    <a:pt x="170" y="1472"/>
                  </a:lnTo>
                  <a:lnTo>
                    <a:pt x="174" y="1480"/>
                  </a:lnTo>
                  <a:lnTo>
                    <a:pt x="178" y="1482"/>
                  </a:lnTo>
                  <a:lnTo>
                    <a:pt x="182" y="1482"/>
                  </a:lnTo>
                  <a:lnTo>
                    <a:pt x="184" y="1486"/>
                  </a:lnTo>
                  <a:lnTo>
                    <a:pt x="186" y="1492"/>
                  </a:lnTo>
                  <a:lnTo>
                    <a:pt x="184" y="1494"/>
                  </a:lnTo>
                  <a:lnTo>
                    <a:pt x="182" y="1496"/>
                  </a:lnTo>
                  <a:lnTo>
                    <a:pt x="182" y="1498"/>
                  </a:lnTo>
                  <a:lnTo>
                    <a:pt x="186" y="1502"/>
                  </a:lnTo>
                  <a:lnTo>
                    <a:pt x="192" y="1504"/>
                  </a:lnTo>
                  <a:lnTo>
                    <a:pt x="196" y="1506"/>
                  </a:lnTo>
                  <a:lnTo>
                    <a:pt x="202" y="1510"/>
                  </a:lnTo>
                  <a:lnTo>
                    <a:pt x="204" y="1512"/>
                  </a:lnTo>
                  <a:lnTo>
                    <a:pt x="204" y="1514"/>
                  </a:lnTo>
                  <a:lnTo>
                    <a:pt x="202" y="1518"/>
                  </a:lnTo>
                  <a:lnTo>
                    <a:pt x="200" y="1520"/>
                  </a:lnTo>
                  <a:lnTo>
                    <a:pt x="202" y="1520"/>
                  </a:lnTo>
                  <a:lnTo>
                    <a:pt x="208" y="1524"/>
                  </a:lnTo>
                  <a:lnTo>
                    <a:pt x="228" y="1534"/>
                  </a:lnTo>
                  <a:lnTo>
                    <a:pt x="236" y="1538"/>
                  </a:lnTo>
                  <a:lnTo>
                    <a:pt x="242" y="1546"/>
                  </a:lnTo>
                  <a:lnTo>
                    <a:pt x="246" y="1552"/>
                  </a:lnTo>
                  <a:lnTo>
                    <a:pt x="250" y="1556"/>
                  </a:lnTo>
                  <a:lnTo>
                    <a:pt x="260" y="1562"/>
                  </a:lnTo>
                  <a:lnTo>
                    <a:pt x="268" y="1566"/>
                  </a:lnTo>
                  <a:lnTo>
                    <a:pt x="270" y="1570"/>
                  </a:lnTo>
                  <a:lnTo>
                    <a:pt x="272" y="1574"/>
                  </a:lnTo>
                  <a:lnTo>
                    <a:pt x="272" y="1576"/>
                  </a:lnTo>
                  <a:lnTo>
                    <a:pt x="274" y="1578"/>
                  </a:lnTo>
                  <a:lnTo>
                    <a:pt x="282" y="1582"/>
                  </a:lnTo>
                  <a:lnTo>
                    <a:pt x="294" y="1590"/>
                  </a:lnTo>
                  <a:lnTo>
                    <a:pt x="302" y="1596"/>
                  </a:lnTo>
                  <a:lnTo>
                    <a:pt x="310" y="1606"/>
                  </a:lnTo>
                  <a:lnTo>
                    <a:pt x="328" y="1626"/>
                  </a:lnTo>
                  <a:lnTo>
                    <a:pt x="346" y="1644"/>
                  </a:lnTo>
                  <a:lnTo>
                    <a:pt x="364" y="1654"/>
                  </a:lnTo>
                  <a:lnTo>
                    <a:pt x="380" y="1660"/>
                  </a:lnTo>
                  <a:lnTo>
                    <a:pt x="388" y="1664"/>
                  </a:lnTo>
                  <a:lnTo>
                    <a:pt x="392" y="1668"/>
                  </a:lnTo>
                  <a:lnTo>
                    <a:pt x="396" y="1670"/>
                  </a:lnTo>
                  <a:lnTo>
                    <a:pt x="402" y="1672"/>
                  </a:lnTo>
                  <a:lnTo>
                    <a:pt x="408" y="1670"/>
                  </a:lnTo>
                  <a:lnTo>
                    <a:pt x="412" y="1666"/>
                  </a:lnTo>
                  <a:lnTo>
                    <a:pt x="422" y="1658"/>
                  </a:lnTo>
                  <a:lnTo>
                    <a:pt x="436" y="1648"/>
                  </a:lnTo>
                  <a:lnTo>
                    <a:pt x="448" y="1642"/>
                  </a:lnTo>
                  <a:lnTo>
                    <a:pt x="462" y="1638"/>
                  </a:lnTo>
                  <a:lnTo>
                    <a:pt x="488" y="1634"/>
                  </a:lnTo>
                  <a:lnTo>
                    <a:pt x="504" y="1632"/>
                  </a:lnTo>
                  <a:lnTo>
                    <a:pt x="516" y="1632"/>
                  </a:lnTo>
                  <a:lnTo>
                    <a:pt x="530" y="1630"/>
                  </a:lnTo>
                  <a:lnTo>
                    <a:pt x="540" y="1628"/>
                  </a:lnTo>
                  <a:lnTo>
                    <a:pt x="554" y="1630"/>
                  </a:lnTo>
                  <a:lnTo>
                    <a:pt x="566" y="1630"/>
                  </a:lnTo>
                  <a:lnTo>
                    <a:pt x="572" y="1630"/>
                  </a:lnTo>
                  <a:lnTo>
                    <a:pt x="576" y="1630"/>
                  </a:lnTo>
                  <a:lnTo>
                    <a:pt x="580" y="1630"/>
                  </a:lnTo>
                  <a:lnTo>
                    <a:pt x="590" y="1632"/>
                  </a:lnTo>
                  <a:lnTo>
                    <a:pt x="592" y="1632"/>
                  </a:lnTo>
                  <a:lnTo>
                    <a:pt x="590" y="1632"/>
                  </a:lnTo>
                  <a:lnTo>
                    <a:pt x="582" y="1634"/>
                  </a:lnTo>
                  <a:lnTo>
                    <a:pt x="578" y="1634"/>
                  </a:lnTo>
                  <a:lnTo>
                    <a:pt x="576" y="1636"/>
                  </a:lnTo>
                  <a:lnTo>
                    <a:pt x="578" y="1636"/>
                  </a:lnTo>
                  <a:lnTo>
                    <a:pt x="594" y="1640"/>
                  </a:lnTo>
                  <a:lnTo>
                    <a:pt x="606" y="1644"/>
                  </a:lnTo>
                  <a:lnTo>
                    <a:pt x="618" y="1650"/>
                  </a:lnTo>
                  <a:lnTo>
                    <a:pt x="622" y="1652"/>
                  </a:lnTo>
                  <a:lnTo>
                    <a:pt x="626" y="1652"/>
                  </a:lnTo>
                  <a:lnTo>
                    <a:pt x="636" y="1644"/>
                  </a:lnTo>
                  <a:lnTo>
                    <a:pt x="648" y="1636"/>
                  </a:lnTo>
                  <a:lnTo>
                    <a:pt x="656" y="1632"/>
                  </a:lnTo>
                  <a:lnTo>
                    <a:pt x="664" y="1630"/>
                  </a:lnTo>
                  <a:lnTo>
                    <a:pt x="674" y="1628"/>
                  </a:lnTo>
                  <a:lnTo>
                    <a:pt x="680" y="1624"/>
                  </a:lnTo>
                  <a:lnTo>
                    <a:pt x="690" y="1614"/>
                  </a:lnTo>
                  <a:lnTo>
                    <a:pt x="698" y="1610"/>
                  </a:lnTo>
                  <a:lnTo>
                    <a:pt x="706" y="1606"/>
                  </a:lnTo>
                  <a:lnTo>
                    <a:pt x="716" y="1602"/>
                  </a:lnTo>
                  <a:lnTo>
                    <a:pt x="730" y="1600"/>
                  </a:lnTo>
                  <a:lnTo>
                    <a:pt x="742" y="1598"/>
                  </a:lnTo>
                  <a:lnTo>
                    <a:pt x="746" y="1596"/>
                  </a:lnTo>
                  <a:lnTo>
                    <a:pt x="746" y="1594"/>
                  </a:lnTo>
                  <a:lnTo>
                    <a:pt x="748" y="1590"/>
                  </a:lnTo>
                  <a:lnTo>
                    <a:pt x="754" y="1586"/>
                  </a:lnTo>
                  <a:lnTo>
                    <a:pt x="760" y="1582"/>
                  </a:lnTo>
                  <a:lnTo>
                    <a:pt x="774" y="1578"/>
                  </a:lnTo>
                  <a:lnTo>
                    <a:pt x="796" y="1574"/>
                  </a:lnTo>
                  <a:lnTo>
                    <a:pt x="814" y="1572"/>
                  </a:lnTo>
                  <a:lnTo>
                    <a:pt x="832" y="1572"/>
                  </a:lnTo>
                  <a:lnTo>
                    <a:pt x="838" y="1570"/>
                  </a:lnTo>
                  <a:lnTo>
                    <a:pt x="840" y="1568"/>
                  </a:lnTo>
                  <a:lnTo>
                    <a:pt x="844" y="1564"/>
                  </a:lnTo>
                  <a:lnTo>
                    <a:pt x="846" y="1566"/>
                  </a:lnTo>
                  <a:lnTo>
                    <a:pt x="850" y="1570"/>
                  </a:lnTo>
                  <a:lnTo>
                    <a:pt x="860" y="1570"/>
                  </a:lnTo>
                  <a:lnTo>
                    <a:pt x="874" y="1570"/>
                  </a:lnTo>
                  <a:lnTo>
                    <a:pt x="884" y="1574"/>
                  </a:lnTo>
                  <a:lnTo>
                    <a:pt x="890" y="1578"/>
                  </a:lnTo>
                  <a:lnTo>
                    <a:pt x="896" y="1584"/>
                  </a:lnTo>
                  <a:lnTo>
                    <a:pt x="908" y="1600"/>
                  </a:lnTo>
                  <a:lnTo>
                    <a:pt x="916" y="1616"/>
                  </a:lnTo>
                  <a:lnTo>
                    <a:pt x="924" y="1642"/>
                  </a:lnTo>
                  <a:lnTo>
                    <a:pt x="930" y="1654"/>
                  </a:lnTo>
                  <a:lnTo>
                    <a:pt x="936" y="1664"/>
                  </a:lnTo>
                  <a:lnTo>
                    <a:pt x="944" y="1670"/>
                  </a:lnTo>
                  <a:lnTo>
                    <a:pt x="948" y="1672"/>
                  </a:lnTo>
                  <a:lnTo>
                    <a:pt x="954" y="1672"/>
                  </a:lnTo>
                  <a:lnTo>
                    <a:pt x="970" y="1672"/>
                  </a:lnTo>
                  <a:lnTo>
                    <a:pt x="976" y="1672"/>
                  </a:lnTo>
                  <a:lnTo>
                    <a:pt x="984" y="1670"/>
                  </a:lnTo>
                  <a:lnTo>
                    <a:pt x="990" y="1668"/>
                  </a:lnTo>
                  <a:lnTo>
                    <a:pt x="992" y="1664"/>
                  </a:lnTo>
                  <a:lnTo>
                    <a:pt x="992" y="1662"/>
                  </a:lnTo>
                  <a:lnTo>
                    <a:pt x="992" y="1658"/>
                  </a:lnTo>
                  <a:lnTo>
                    <a:pt x="992" y="1656"/>
                  </a:lnTo>
                  <a:lnTo>
                    <a:pt x="996" y="1658"/>
                  </a:lnTo>
                  <a:lnTo>
                    <a:pt x="1002" y="1660"/>
                  </a:lnTo>
                  <a:lnTo>
                    <a:pt x="1008" y="1662"/>
                  </a:lnTo>
                  <a:lnTo>
                    <a:pt x="1018" y="1662"/>
                  </a:lnTo>
                  <a:lnTo>
                    <a:pt x="1028" y="1662"/>
                  </a:lnTo>
                  <a:lnTo>
                    <a:pt x="1036" y="1660"/>
                  </a:lnTo>
                  <a:lnTo>
                    <a:pt x="1040" y="1656"/>
                  </a:lnTo>
                  <a:lnTo>
                    <a:pt x="1042" y="1654"/>
                  </a:lnTo>
                  <a:lnTo>
                    <a:pt x="1042" y="1650"/>
                  </a:lnTo>
                  <a:lnTo>
                    <a:pt x="1036" y="1640"/>
                  </a:lnTo>
                  <a:lnTo>
                    <a:pt x="1048" y="1650"/>
                  </a:lnTo>
                  <a:lnTo>
                    <a:pt x="1048" y="1658"/>
                  </a:lnTo>
                  <a:lnTo>
                    <a:pt x="1050" y="1662"/>
                  </a:lnTo>
                  <a:lnTo>
                    <a:pt x="1052" y="1662"/>
                  </a:lnTo>
                  <a:lnTo>
                    <a:pt x="1056" y="1662"/>
                  </a:lnTo>
                  <a:lnTo>
                    <a:pt x="1060" y="1660"/>
                  </a:lnTo>
                  <a:lnTo>
                    <a:pt x="1062" y="1662"/>
                  </a:lnTo>
                  <a:lnTo>
                    <a:pt x="1064" y="1666"/>
                  </a:lnTo>
                  <a:lnTo>
                    <a:pt x="1066" y="1682"/>
                  </a:lnTo>
                  <a:lnTo>
                    <a:pt x="1070" y="1684"/>
                  </a:lnTo>
                  <a:lnTo>
                    <a:pt x="1076" y="1688"/>
                  </a:lnTo>
                  <a:lnTo>
                    <a:pt x="1082" y="1690"/>
                  </a:lnTo>
                  <a:lnTo>
                    <a:pt x="1084" y="1690"/>
                  </a:lnTo>
                  <a:lnTo>
                    <a:pt x="1086" y="1686"/>
                  </a:lnTo>
                  <a:lnTo>
                    <a:pt x="1088" y="1684"/>
                  </a:lnTo>
                  <a:lnTo>
                    <a:pt x="1090" y="1684"/>
                  </a:lnTo>
                  <a:lnTo>
                    <a:pt x="1094" y="1684"/>
                  </a:lnTo>
                  <a:lnTo>
                    <a:pt x="1096" y="1688"/>
                  </a:lnTo>
                  <a:lnTo>
                    <a:pt x="1096" y="1690"/>
                  </a:lnTo>
                  <a:lnTo>
                    <a:pt x="1094" y="1694"/>
                  </a:lnTo>
                  <a:lnTo>
                    <a:pt x="1090" y="1698"/>
                  </a:lnTo>
                  <a:lnTo>
                    <a:pt x="1090" y="1700"/>
                  </a:lnTo>
                  <a:lnTo>
                    <a:pt x="1092" y="1704"/>
                  </a:lnTo>
                  <a:lnTo>
                    <a:pt x="1096" y="1708"/>
                  </a:lnTo>
                  <a:lnTo>
                    <a:pt x="1094" y="1708"/>
                  </a:lnTo>
                  <a:lnTo>
                    <a:pt x="1094" y="1712"/>
                  </a:lnTo>
                  <a:lnTo>
                    <a:pt x="1100" y="1718"/>
                  </a:lnTo>
                  <a:lnTo>
                    <a:pt x="1102" y="1724"/>
                  </a:lnTo>
                  <a:lnTo>
                    <a:pt x="1104" y="1730"/>
                  </a:lnTo>
                  <a:lnTo>
                    <a:pt x="1104" y="1742"/>
                  </a:lnTo>
                  <a:lnTo>
                    <a:pt x="1100" y="1756"/>
                  </a:lnTo>
                  <a:lnTo>
                    <a:pt x="1100" y="1770"/>
                  </a:lnTo>
                  <a:lnTo>
                    <a:pt x="1100" y="1782"/>
                  </a:lnTo>
                  <a:lnTo>
                    <a:pt x="1098" y="1790"/>
                  </a:lnTo>
                  <a:lnTo>
                    <a:pt x="1094" y="1798"/>
                  </a:lnTo>
                  <a:lnTo>
                    <a:pt x="1090" y="1804"/>
                  </a:lnTo>
                  <a:lnTo>
                    <a:pt x="1084" y="1814"/>
                  </a:lnTo>
                  <a:lnTo>
                    <a:pt x="1082" y="1820"/>
                  </a:lnTo>
                  <a:lnTo>
                    <a:pt x="1082" y="1824"/>
                  </a:lnTo>
                  <a:lnTo>
                    <a:pt x="1082" y="1828"/>
                  </a:lnTo>
                  <a:lnTo>
                    <a:pt x="1084" y="1828"/>
                  </a:lnTo>
                  <a:lnTo>
                    <a:pt x="1088" y="1828"/>
                  </a:lnTo>
                  <a:lnTo>
                    <a:pt x="1092" y="1828"/>
                  </a:lnTo>
                  <a:lnTo>
                    <a:pt x="1090" y="1834"/>
                  </a:lnTo>
                  <a:lnTo>
                    <a:pt x="1090" y="1838"/>
                  </a:lnTo>
                  <a:lnTo>
                    <a:pt x="1092" y="1844"/>
                  </a:lnTo>
                  <a:lnTo>
                    <a:pt x="1094" y="1848"/>
                  </a:lnTo>
                  <a:lnTo>
                    <a:pt x="1092" y="1852"/>
                  </a:lnTo>
                  <a:lnTo>
                    <a:pt x="1090" y="1852"/>
                  </a:lnTo>
                  <a:lnTo>
                    <a:pt x="1088" y="1850"/>
                  </a:lnTo>
                  <a:lnTo>
                    <a:pt x="1086" y="1848"/>
                  </a:lnTo>
                  <a:lnTo>
                    <a:pt x="1082" y="1852"/>
                  </a:lnTo>
                  <a:lnTo>
                    <a:pt x="1082" y="1854"/>
                  </a:lnTo>
                  <a:lnTo>
                    <a:pt x="1082" y="1858"/>
                  </a:lnTo>
                  <a:lnTo>
                    <a:pt x="1086" y="1864"/>
                  </a:lnTo>
                  <a:lnTo>
                    <a:pt x="1094" y="1868"/>
                  </a:lnTo>
                  <a:lnTo>
                    <a:pt x="1106" y="1872"/>
                  </a:lnTo>
                  <a:lnTo>
                    <a:pt x="1110" y="1872"/>
                  </a:lnTo>
                  <a:lnTo>
                    <a:pt x="1110" y="1874"/>
                  </a:lnTo>
                  <a:lnTo>
                    <a:pt x="1110" y="1876"/>
                  </a:lnTo>
                  <a:lnTo>
                    <a:pt x="1106" y="1878"/>
                  </a:lnTo>
                  <a:lnTo>
                    <a:pt x="1104" y="1880"/>
                  </a:lnTo>
                  <a:lnTo>
                    <a:pt x="1098" y="1880"/>
                  </a:lnTo>
                  <a:lnTo>
                    <a:pt x="1094" y="1878"/>
                  </a:lnTo>
                  <a:lnTo>
                    <a:pt x="1090" y="1874"/>
                  </a:lnTo>
                  <a:lnTo>
                    <a:pt x="1084" y="1868"/>
                  </a:lnTo>
                  <a:lnTo>
                    <a:pt x="1082" y="1866"/>
                  </a:lnTo>
                  <a:lnTo>
                    <a:pt x="1080" y="1866"/>
                  </a:lnTo>
                  <a:lnTo>
                    <a:pt x="1080" y="1872"/>
                  </a:lnTo>
                  <a:lnTo>
                    <a:pt x="1080" y="1882"/>
                  </a:lnTo>
                  <a:lnTo>
                    <a:pt x="1078" y="1898"/>
                  </a:lnTo>
                  <a:lnTo>
                    <a:pt x="1074" y="1910"/>
                  </a:lnTo>
                  <a:lnTo>
                    <a:pt x="1072" y="1914"/>
                  </a:lnTo>
                  <a:lnTo>
                    <a:pt x="1068" y="1918"/>
                  </a:lnTo>
                  <a:lnTo>
                    <a:pt x="1066" y="1918"/>
                  </a:lnTo>
                  <a:lnTo>
                    <a:pt x="1062" y="1914"/>
                  </a:lnTo>
                  <a:lnTo>
                    <a:pt x="1056" y="1910"/>
                  </a:lnTo>
                  <a:lnTo>
                    <a:pt x="1056" y="1912"/>
                  </a:lnTo>
                  <a:lnTo>
                    <a:pt x="1058" y="1922"/>
                  </a:lnTo>
                  <a:lnTo>
                    <a:pt x="1064" y="1936"/>
                  </a:lnTo>
                  <a:lnTo>
                    <a:pt x="1076" y="1964"/>
                  </a:lnTo>
                  <a:lnTo>
                    <a:pt x="1080" y="1974"/>
                  </a:lnTo>
                  <a:lnTo>
                    <a:pt x="1084" y="1982"/>
                  </a:lnTo>
                  <a:lnTo>
                    <a:pt x="1088" y="1988"/>
                  </a:lnTo>
                  <a:lnTo>
                    <a:pt x="1094" y="1996"/>
                  </a:lnTo>
                  <a:lnTo>
                    <a:pt x="1100" y="2006"/>
                  </a:lnTo>
                  <a:lnTo>
                    <a:pt x="1110" y="2018"/>
                  </a:lnTo>
                  <a:lnTo>
                    <a:pt x="1132" y="2042"/>
                  </a:lnTo>
                  <a:lnTo>
                    <a:pt x="1140" y="2052"/>
                  </a:lnTo>
                  <a:lnTo>
                    <a:pt x="1142" y="2058"/>
                  </a:lnTo>
                  <a:lnTo>
                    <a:pt x="1150" y="2070"/>
                  </a:lnTo>
                  <a:lnTo>
                    <a:pt x="1172" y="2092"/>
                  </a:lnTo>
                  <a:lnTo>
                    <a:pt x="1178" y="2100"/>
                  </a:lnTo>
                  <a:lnTo>
                    <a:pt x="1180" y="2110"/>
                  </a:lnTo>
                  <a:lnTo>
                    <a:pt x="1184" y="2118"/>
                  </a:lnTo>
                  <a:lnTo>
                    <a:pt x="1190" y="2128"/>
                  </a:lnTo>
                  <a:lnTo>
                    <a:pt x="1194" y="2136"/>
                  </a:lnTo>
                  <a:lnTo>
                    <a:pt x="1196" y="2142"/>
                  </a:lnTo>
                  <a:lnTo>
                    <a:pt x="1194" y="2148"/>
                  </a:lnTo>
                  <a:lnTo>
                    <a:pt x="1194" y="2156"/>
                  </a:lnTo>
                  <a:lnTo>
                    <a:pt x="1194" y="2158"/>
                  </a:lnTo>
                  <a:lnTo>
                    <a:pt x="1196" y="2160"/>
                  </a:lnTo>
                  <a:lnTo>
                    <a:pt x="1198" y="2164"/>
                  </a:lnTo>
                  <a:lnTo>
                    <a:pt x="1200" y="2168"/>
                  </a:lnTo>
                  <a:lnTo>
                    <a:pt x="1204" y="2170"/>
                  </a:lnTo>
                  <a:lnTo>
                    <a:pt x="1208" y="2168"/>
                  </a:lnTo>
                  <a:lnTo>
                    <a:pt x="1216" y="2164"/>
                  </a:lnTo>
                  <a:lnTo>
                    <a:pt x="1222" y="2162"/>
                  </a:lnTo>
                  <a:lnTo>
                    <a:pt x="1226" y="2162"/>
                  </a:lnTo>
                  <a:lnTo>
                    <a:pt x="1234" y="2162"/>
                  </a:lnTo>
                  <a:lnTo>
                    <a:pt x="1226" y="2168"/>
                  </a:lnTo>
                  <a:lnTo>
                    <a:pt x="1220" y="2172"/>
                  </a:lnTo>
                  <a:lnTo>
                    <a:pt x="1208" y="2174"/>
                  </a:lnTo>
                  <a:lnTo>
                    <a:pt x="1202" y="2176"/>
                  </a:lnTo>
                  <a:lnTo>
                    <a:pt x="1200" y="2178"/>
                  </a:lnTo>
                  <a:lnTo>
                    <a:pt x="1202" y="2182"/>
                  </a:lnTo>
                  <a:lnTo>
                    <a:pt x="1212" y="2202"/>
                  </a:lnTo>
                  <a:lnTo>
                    <a:pt x="1226" y="2240"/>
                  </a:lnTo>
                  <a:lnTo>
                    <a:pt x="1232" y="2260"/>
                  </a:lnTo>
                  <a:lnTo>
                    <a:pt x="1238" y="2278"/>
                  </a:lnTo>
                  <a:lnTo>
                    <a:pt x="1238" y="2294"/>
                  </a:lnTo>
                  <a:lnTo>
                    <a:pt x="1236" y="2300"/>
                  </a:lnTo>
                  <a:lnTo>
                    <a:pt x="1234" y="2306"/>
                  </a:lnTo>
                  <a:lnTo>
                    <a:pt x="1230" y="2314"/>
                  </a:lnTo>
                  <a:lnTo>
                    <a:pt x="1230" y="2324"/>
                  </a:lnTo>
                  <a:lnTo>
                    <a:pt x="1230" y="2336"/>
                  </a:lnTo>
                  <a:lnTo>
                    <a:pt x="1234" y="2346"/>
                  </a:lnTo>
                  <a:lnTo>
                    <a:pt x="1246" y="2372"/>
                  </a:lnTo>
                  <a:lnTo>
                    <a:pt x="1256" y="2396"/>
                  </a:lnTo>
                  <a:lnTo>
                    <a:pt x="1260" y="2408"/>
                  </a:lnTo>
                  <a:lnTo>
                    <a:pt x="1262" y="2422"/>
                  </a:lnTo>
                  <a:lnTo>
                    <a:pt x="1262" y="2436"/>
                  </a:lnTo>
                  <a:lnTo>
                    <a:pt x="1262" y="2450"/>
                  </a:lnTo>
                  <a:lnTo>
                    <a:pt x="1258" y="2464"/>
                  </a:lnTo>
                  <a:lnTo>
                    <a:pt x="1254" y="2476"/>
                  </a:lnTo>
                  <a:lnTo>
                    <a:pt x="1246" y="2486"/>
                  </a:lnTo>
                  <a:lnTo>
                    <a:pt x="1238" y="2494"/>
                  </a:lnTo>
                  <a:lnTo>
                    <a:pt x="1230" y="2502"/>
                  </a:lnTo>
                  <a:lnTo>
                    <a:pt x="1222" y="2510"/>
                  </a:lnTo>
                  <a:lnTo>
                    <a:pt x="1218" y="2518"/>
                  </a:lnTo>
                  <a:lnTo>
                    <a:pt x="1212" y="2528"/>
                  </a:lnTo>
                  <a:lnTo>
                    <a:pt x="1206" y="2548"/>
                  </a:lnTo>
                  <a:lnTo>
                    <a:pt x="1202" y="2570"/>
                  </a:lnTo>
                  <a:lnTo>
                    <a:pt x="1196" y="2610"/>
                  </a:lnTo>
                  <a:lnTo>
                    <a:pt x="1192" y="2626"/>
                  </a:lnTo>
                  <a:lnTo>
                    <a:pt x="1188" y="2640"/>
                  </a:lnTo>
                  <a:lnTo>
                    <a:pt x="1182" y="2652"/>
                  </a:lnTo>
                  <a:lnTo>
                    <a:pt x="1178" y="2662"/>
                  </a:lnTo>
                  <a:lnTo>
                    <a:pt x="1176" y="2670"/>
                  </a:lnTo>
                  <a:lnTo>
                    <a:pt x="1176" y="2680"/>
                  </a:lnTo>
                  <a:lnTo>
                    <a:pt x="1178" y="2700"/>
                  </a:lnTo>
                  <a:lnTo>
                    <a:pt x="1178" y="2712"/>
                  </a:lnTo>
                  <a:lnTo>
                    <a:pt x="1178" y="2726"/>
                  </a:lnTo>
                  <a:lnTo>
                    <a:pt x="1176" y="2736"/>
                  </a:lnTo>
                  <a:lnTo>
                    <a:pt x="1176" y="2746"/>
                  </a:lnTo>
                  <a:lnTo>
                    <a:pt x="1180" y="2764"/>
                  </a:lnTo>
                  <a:lnTo>
                    <a:pt x="1188" y="2784"/>
                  </a:lnTo>
                  <a:lnTo>
                    <a:pt x="1200" y="2804"/>
                  </a:lnTo>
                  <a:lnTo>
                    <a:pt x="1222" y="2850"/>
                  </a:lnTo>
                  <a:lnTo>
                    <a:pt x="1234" y="2876"/>
                  </a:lnTo>
                  <a:lnTo>
                    <a:pt x="1242" y="2904"/>
                  </a:lnTo>
                  <a:lnTo>
                    <a:pt x="1250" y="2930"/>
                  </a:lnTo>
                  <a:lnTo>
                    <a:pt x="1260" y="2946"/>
                  </a:lnTo>
                  <a:lnTo>
                    <a:pt x="1268" y="2958"/>
                  </a:lnTo>
                  <a:lnTo>
                    <a:pt x="1276" y="2966"/>
                  </a:lnTo>
                  <a:lnTo>
                    <a:pt x="1284" y="2976"/>
                  </a:lnTo>
                  <a:lnTo>
                    <a:pt x="1288" y="2990"/>
                  </a:lnTo>
                  <a:lnTo>
                    <a:pt x="1288" y="3008"/>
                  </a:lnTo>
                  <a:lnTo>
                    <a:pt x="1286" y="3038"/>
                  </a:lnTo>
                  <a:lnTo>
                    <a:pt x="1284" y="3052"/>
                  </a:lnTo>
                  <a:lnTo>
                    <a:pt x="1286" y="3070"/>
                  </a:lnTo>
                  <a:lnTo>
                    <a:pt x="1294" y="3112"/>
                  </a:lnTo>
                  <a:lnTo>
                    <a:pt x="1304" y="3156"/>
                  </a:lnTo>
                  <a:lnTo>
                    <a:pt x="1308" y="3178"/>
                  </a:lnTo>
                  <a:lnTo>
                    <a:pt x="1310" y="3200"/>
                  </a:lnTo>
                  <a:lnTo>
                    <a:pt x="1312" y="3220"/>
                  </a:lnTo>
                  <a:lnTo>
                    <a:pt x="1318" y="3238"/>
                  </a:lnTo>
                  <a:lnTo>
                    <a:pt x="1326" y="3254"/>
                  </a:lnTo>
                  <a:lnTo>
                    <a:pt x="1334" y="3266"/>
                  </a:lnTo>
                  <a:lnTo>
                    <a:pt x="1342" y="3278"/>
                  </a:lnTo>
                  <a:lnTo>
                    <a:pt x="1352" y="3286"/>
                  </a:lnTo>
                  <a:lnTo>
                    <a:pt x="1366" y="3302"/>
                  </a:lnTo>
                  <a:lnTo>
                    <a:pt x="1376" y="3316"/>
                  </a:lnTo>
                  <a:lnTo>
                    <a:pt x="1384" y="3330"/>
                  </a:lnTo>
                  <a:lnTo>
                    <a:pt x="1388" y="3344"/>
                  </a:lnTo>
                  <a:lnTo>
                    <a:pt x="1392" y="3358"/>
                  </a:lnTo>
                  <a:lnTo>
                    <a:pt x="1396" y="3374"/>
                  </a:lnTo>
                  <a:lnTo>
                    <a:pt x="1402" y="3392"/>
                  </a:lnTo>
                  <a:lnTo>
                    <a:pt x="1410" y="3414"/>
                  </a:lnTo>
                  <a:lnTo>
                    <a:pt x="1424" y="3436"/>
                  </a:lnTo>
                  <a:lnTo>
                    <a:pt x="1436" y="3458"/>
                  </a:lnTo>
                  <a:lnTo>
                    <a:pt x="1444" y="3474"/>
                  </a:lnTo>
                  <a:lnTo>
                    <a:pt x="1446" y="3490"/>
                  </a:lnTo>
                  <a:lnTo>
                    <a:pt x="1446" y="3502"/>
                  </a:lnTo>
                  <a:lnTo>
                    <a:pt x="1442" y="3510"/>
                  </a:lnTo>
                  <a:lnTo>
                    <a:pt x="1438" y="3516"/>
                  </a:lnTo>
                  <a:lnTo>
                    <a:pt x="1434" y="3518"/>
                  </a:lnTo>
                  <a:lnTo>
                    <a:pt x="1432" y="3518"/>
                  </a:lnTo>
                  <a:lnTo>
                    <a:pt x="1430" y="3516"/>
                  </a:lnTo>
                  <a:lnTo>
                    <a:pt x="1426" y="3518"/>
                  </a:lnTo>
                  <a:lnTo>
                    <a:pt x="1424" y="3518"/>
                  </a:lnTo>
                  <a:lnTo>
                    <a:pt x="1424" y="3522"/>
                  </a:lnTo>
                  <a:lnTo>
                    <a:pt x="1424" y="3526"/>
                  </a:lnTo>
                  <a:lnTo>
                    <a:pt x="1424" y="3532"/>
                  </a:lnTo>
                  <a:lnTo>
                    <a:pt x="1428" y="3538"/>
                  </a:lnTo>
                  <a:lnTo>
                    <a:pt x="1432" y="3546"/>
                  </a:lnTo>
                  <a:lnTo>
                    <a:pt x="1442" y="3558"/>
                  </a:lnTo>
                  <a:lnTo>
                    <a:pt x="1446" y="3568"/>
                  </a:lnTo>
                  <a:lnTo>
                    <a:pt x="1448" y="3574"/>
                  </a:lnTo>
                  <a:lnTo>
                    <a:pt x="1444" y="3580"/>
                  </a:lnTo>
                  <a:lnTo>
                    <a:pt x="1442" y="3582"/>
                  </a:lnTo>
                  <a:lnTo>
                    <a:pt x="1442" y="3588"/>
                  </a:lnTo>
                  <a:lnTo>
                    <a:pt x="1442" y="3596"/>
                  </a:lnTo>
                  <a:lnTo>
                    <a:pt x="1446" y="3602"/>
                  </a:lnTo>
                  <a:lnTo>
                    <a:pt x="1448" y="3602"/>
                  </a:lnTo>
                  <a:lnTo>
                    <a:pt x="1448" y="3598"/>
                  </a:lnTo>
                  <a:lnTo>
                    <a:pt x="1450" y="3594"/>
                  </a:lnTo>
                  <a:lnTo>
                    <a:pt x="1452" y="3590"/>
                  </a:lnTo>
                  <a:lnTo>
                    <a:pt x="1454" y="3588"/>
                  </a:lnTo>
                  <a:lnTo>
                    <a:pt x="1458" y="3588"/>
                  </a:lnTo>
                  <a:lnTo>
                    <a:pt x="1460" y="3588"/>
                  </a:lnTo>
                  <a:lnTo>
                    <a:pt x="1462" y="3590"/>
                  </a:lnTo>
                  <a:lnTo>
                    <a:pt x="1464" y="3592"/>
                  </a:lnTo>
                  <a:lnTo>
                    <a:pt x="1464" y="3596"/>
                  </a:lnTo>
                  <a:lnTo>
                    <a:pt x="1464" y="3602"/>
                  </a:lnTo>
                  <a:lnTo>
                    <a:pt x="1466" y="3604"/>
                  </a:lnTo>
                  <a:lnTo>
                    <a:pt x="1470" y="3606"/>
                  </a:lnTo>
                  <a:lnTo>
                    <a:pt x="1472" y="3606"/>
                  </a:lnTo>
                  <a:lnTo>
                    <a:pt x="1478" y="3606"/>
                  </a:lnTo>
                  <a:lnTo>
                    <a:pt x="1480" y="3608"/>
                  </a:lnTo>
                  <a:lnTo>
                    <a:pt x="1482" y="3612"/>
                  </a:lnTo>
                  <a:lnTo>
                    <a:pt x="1484" y="3618"/>
                  </a:lnTo>
                  <a:lnTo>
                    <a:pt x="1486" y="3620"/>
                  </a:lnTo>
                  <a:lnTo>
                    <a:pt x="1490" y="3620"/>
                  </a:lnTo>
                  <a:lnTo>
                    <a:pt x="1494" y="3624"/>
                  </a:lnTo>
                  <a:lnTo>
                    <a:pt x="1496" y="3628"/>
                  </a:lnTo>
                  <a:lnTo>
                    <a:pt x="1500" y="3626"/>
                  </a:lnTo>
                  <a:lnTo>
                    <a:pt x="1506" y="3626"/>
                  </a:lnTo>
                  <a:lnTo>
                    <a:pt x="1510" y="3626"/>
                  </a:lnTo>
                  <a:lnTo>
                    <a:pt x="1514" y="3628"/>
                  </a:lnTo>
                  <a:lnTo>
                    <a:pt x="1516" y="3626"/>
                  </a:lnTo>
                  <a:lnTo>
                    <a:pt x="1520" y="3620"/>
                  </a:lnTo>
                  <a:lnTo>
                    <a:pt x="1526" y="3612"/>
                  </a:lnTo>
                  <a:lnTo>
                    <a:pt x="1532" y="3610"/>
                  </a:lnTo>
                  <a:lnTo>
                    <a:pt x="1540" y="3608"/>
                  </a:lnTo>
                  <a:lnTo>
                    <a:pt x="1552" y="3606"/>
                  </a:lnTo>
                  <a:lnTo>
                    <a:pt x="1558" y="3608"/>
                  </a:lnTo>
                  <a:lnTo>
                    <a:pt x="1564" y="3608"/>
                  </a:lnTo>
                  <a:lnTo>
                    <a:pt x="1576" y="3604"/>
                  </a:lnTo>
                  <a:lnTo>
                    <a:pt x="1584" y="3602"/>
                  </a:lnTo>
                  <a:lnTo>
                    <a:pt x="1590" y="3598"/>
                  </a:lnTo>
                  <a:lnTo>
                    <a:pt x="1594" y="3592"/>
                  </a:lnTo>
                  <a:lnTo>
                    <a:pt x="1600" y="3586"/>
                  </a:lnTo>
                  <a:lnTo>
                    <a:pt x="1602" y="3586"/>
                  </a:lnTo>
                  <a:lnTo>
                    <a:pt x="1608" y="3584"/>
                  </a:lnTo>
                  <a:lnTo>
                    <a:pt x="1620" y="3584"/>
                  </a:lnTo>
                  <a:lnTo>
                    <a:pt x="1632" y="3588"/>
                  </a:lnTo>
                  <a:lnTo>
                    <a:pt x="1642" y="3590"/>
                  </a:lnTo>
                  <a:lnTo>
                    <a:pt x="1648" y="3590"/>
                  </a:lnTo>
                  <a:lnTo>
                    <a:pt x="1652" y="3586"/>
                  </a:lnTo>
                  <a:lnTo>
                    <a:pt x="1656" y="3586"/>
                  </a:lnTo>
                  <a:lnTo>
                    <a:pt x="1664" y="3586"/>
                  </a:lnTo>
                  <a:lnTo>
                    <a:pt x="1678" y="3592"/>
                  </a:lnTo>
                  <a:lnTo>
                    <a:pt x="1686" y="3594"/>
                  </a:lnTo>
                  <a:lnTo>
                    <a:pt x="1694" y="3594"/>
                  </a:lnTo>
                  <a:lnTo>
                    <a:pt x="1702" y="3594"/>
                  </a:lnTo>
                  <a:lnTo>
                    <a:pt x="1706" y="3590"/>
                  </a:lnTo>
                  <a:lnTo>
                    <a:pt x="1712" y="3584"/>
                  </a:lnTo>
                  <a:lnTo>
                    <a:pt x="1718" y="3582"/>
                  </a:lnTo>
                  <a:lnTo>
                    <a:pt x="1724" y="3584"/>
                  </a:lnTo>
                  <a:lnTo>
                    <a:pt x="1730" y="3584"/>
                  </a:lnTo>
                  <a:lnTo>
                    <a:pt x="1738" y="3586"/>
                  </a:lnTo>
                  <a:lnTo>
                    <a:pt x="1740" y="3584"/>
                  </a:lnTo>
                  <a:lnTo>
                    <a:pt x="1740" y="3580"/>
                  </a:lnTo>
                  <a:lnTo>
                    <a:pt x="1740" y="3574"/>
                  </a:lnTo>
                  <a:lnTo>
                    <a:pt x="1742" y="3572"/>
                  </a:lnTo>
                  <a:lnTo>
                    <a:pt x="1748" y="3572"/>
                  </a:lnTo>
                  <a:lnTo>
                    <a:pt x="1756" y="3572"/>
                  </a:lnTo>
                  <a:lnTo>
                    <a:pt x="1764" y="3572"/>
                  </a:lnTo>
                  <a:lnTo>
                    <a:pt x="1774" y="3570"/>
                  </a:lnTo>
                  <a:lnTo>
                    <a:pt x="1782" y="3568"/>
                  </a:lnTo>
                  <a:lnTo>
                    <a:pt x="1792" y="3562"/>
                  </a:lnTo>
                  <a:lnTo>
                    <a:pt x="1810" y="3550"/>
                  </a:lnTo>
                  <a:lnTo>
                    <a:pt x="1832" y="3532"/>
                  </a:lnTo>
                  <a:lnTo>
                    <a:pt x="1858" y="3506"/>
                  </a:lnTo>
                  <a:lnTo>
                    <a:pt x="1870" y="3490"/>
                  </a:lnTo>
                  <a:lnTo>
                    <a:pt x="1884" y="3472"/>
                  </a:lnTo>
                  <a:lnTo>
                    <a:pt x="1892" y="3462"/>
                  </a:lnTo>
                  <a:lnTo>
                    <a:pt x="1898" y="3456"/>
                  </a:lnTo>
                  <a:lnTo>
                    <a:pt x="1912" y="3442"/>
                  </a:lnTo>
                  <a:lnTo>
                    <a:pt x="1920" y="3432"/>
                  </a:lnTo>
                  <a:lnTo>
                    <a:pt x="1930" y="3418"/>
                  </a:lnTo>
                  <a:lnTo>
                    <a:pt x="1940" y="3398"/>
                  </a:lnTo>
                  <a:lnTo>
                    <a:pt x="1952" y="3372"/>
                  </a:lnTo>
                  <a:lnTo>
                    <a:pt x="1968" y="3344"/>
                  </a:lnTo>
                  <a:lnTo>
                    <a:pt x="1980" y="3324"/>
                  </a:lnTo>
                  <a:lnTo>
                    <a:pt x="1992" y="3314"/>
                  </a:lnTo>
                  <a:lnTo>
                    <a:pt x="2002" y="3304"/>
                  </a:lnTo>
                  <a:lnTo>
                    <a:pt x="2010" y="3294"/>
                  </a:lnTo>
                  <a:lnTo>
                    <a:pt x="2018" y="3276"/>
                  </a:lnTo>
                  <a:lnTo>
                    <a:pt x="2026" y="3250"/>
                  </a:lnTo>
                  <a:lnTo>
                    <a:pt x="2030" y="3210"/>
                  </a:lnTo>
                  <a:lnTo>
                    <a:pt x="2034" y="3182"/>
                  </a:lnTo>
                  <a:lnTo>
                    <a:pt x="2032" y="3176"/>
                  </a:lnTo>
                  <a:lnTo>
                    <a:pt x="2030" y="3176"/>
                  </a:lnTo>
                  <a:lnTo>
                    <a:pt x="2026" y="3176"/>
                  </a:lnTo>
                  <a:lnTo>
                    <a:pt x="2024" y="3176"/>
                  </a:lnTo>
                  <a:lnTo>
                    <a:pt x="2022" y="3170"/>
                  </a:lnTo>
                  <a:lnTo>
                    <a:pt x="2020" y="3164"/>
                  </a:lnTo>
                  <a:lnTo>
                    <a:pt x="2024" y="3156"/>
                  </a:lnTo>
                  <a:lnTo>
                    <a:pt x="2028" y="3148"/>
                  </a:lnTo>
                  <a:lnTo>
                    <a:pt x="2036" y="3140"/>
                  </a:lnTo>
                  <a:lnTo>
                    <a:pt x="2046" y="3132"/>
                  </a:lnTo>
                  <a:lnTo>
                    <a:pt x="2056" y="3126"/>
                  </a:lnTo>
                  <a:lnTo>
                    <a:pt x="2070" y="3118"/>
                  </a:lnTo>
                  <a:lnTo>
                    <a:pt x="2084" y="3114"/>
                  </a:lnTo>
                  <a:lnTo>
                    <a:pt x="2096" y="3108"/>
                  </a:lnTo>
                  <a:lnTo>
                    <a:pt x="2108" y="3100"/>
                  </a:lnTo>
                  <a:lnTo>
                    <a:pt x="2118" y="3094"/>
                  </a:lnTo>
                  <a:lnTo>
                    <a:pt x="2126" y="3086"/>
                  </a:lnTo>
                  <a:lnTo>
                    <a:pt x="2132" y="3078"/>
                  </a:lnTo>
                  <a:lnTo>
                    <a:pt x="2136" y="3070"/>
                  </a:lnTo>
                  <a:lnTo>
                    <a:pt x="2136" y="3062"/>
                  </a:lnTo>
                  <a:lnTo>
                    <a:pt x="2134" y="3056"/>
                  </a:lnTo>
                  <a:lnTo>
                    <a:pt x="2130" y="3050"/>
                  </a:lnTo>
                  <a:lnTo>
                    <a:pt x="2130" y="3044"/>
                  </a:lnTo>
                  <a:lnTo>
                    <a:pt x="2132" y="3034"/>
                  </a:lnTo>
                  <a:lnTo>
                    <a:pt x="2136" y="3016"/>
                  </a:lnTo>
                  <a:lnTo>
                    <a:pt x="2138" y="3006"/>
                  </a:lnTo>
                  <a:lnTo>
                    <a:pt x="2138" y="2990"/>
                  </a:lnTo>
                  <a:lnTo>
                    <a:pt x="2136" y="2972"/>
                  </a:lnTo>
                  <a:lnTo>
                    <a:pt x="2136" y="2970"/>
                  </a:lnTo>
                  <a:lnTo>
                    <a:pt x="2134" y="2972"/>
                  </a:lnTo>
                  <a:lnTo>
                    <a:pt x="2132" y="2974"/>
                  </a:lnTo>
                  <a:lnTo>
                    <a:pt x="2130" y="2974"/>
                  </a:lnTo>
                  <a:lnTo>
                    <a:pt x="2128" y="2972"/>
                  </a:lnTo>
                  <a:lnTo>
                    <a:pt x="2126" y="2962"/>
                  </a:lnTo>
                  <a:lnTo>
                    <a:pt x="2120" y="2934"/>
                  </a:lnTo>
                  <a:lnTo>
                    <a:pt x="2120" y="2920"/>
                  </a:lnTo>
                  <a:lnTo>
                    <a:pt x="2118" y="2910"/>
                  </a:lnTo>
                  <a:lnTo>
                    <a:pt x="2108" y="2896"/>
                  </a:lnTo>
                  <a:lnTo>
                    <a:pt x="2104" y="2890"/>
                  </a:lnTo>
                  <a:lnTo>
                    <a:pt x="2102" y="2886"/>
                  </a:lnTo>
                  <a:lnTo>
                    <a:pt x="2102" y="2878"/>
                  </a:lnTo>
                  <a:lnTo>
                    <a:pt x="2104" y="2870"/>
                  </a:lnTo>
                  <a:lnTo>
                    <a:pt x="2104" y="2860"/>
                  </a:lnTo>
                  <a:lnTo>
                    <a:pt x="2104" y="2854"/>
                  </a:lnTo>
                  <a:lnTo>
                    <a:pt x="2108" y="2854"/>
                  </a:lnTo>
                  <a:lnTo>
                    <a:pt x="2114" y="2852"/>
                  </a:lnTo>
                  <a:lnTo>
                    <a:pt x="2120" y="2848"/>
                  </a:lnTo>
                  <a:lnTo>
                    <a:pt x="2126" y="2842"/>
                  </a:lnTo>
                  <a:lnTo>
                    <a:pt x="2136" y="2832"/>
                  </a:lnTo>
                  <a:lnTo>
                    <a:pt x="2144" y="2822"/>
                  </a:lnTo>
                  <a:lnTo>
                    <a:pt x="2150" y="2816"/>
                  </a:lnTo>
                  <a:lnTo>
                    <a:pt x="2160" y="2812"/>
                  </a:lnTo>
                  <a:lnTo>
                    <a:pt x="2166" y="2808"/>
                  </a:lnTo>
                  <a:lnTo>
                    <a:pt x="2170" y="2804"/>
                  </a:lnTo>
                  <a:lnTo>
                    <a:pt x="2178" y="2794"/>
                  </a:lnTo>
                  <a:lnTo>
                    <a:pt x="2186" y="2780"/>
                  </a:lnTo>
                  <a:lnTo>
                    <a:pt x="2196" y="2764"/>
                  </a:lnTo>
                  <a:lnTo>
                    <a:pt x="2206" y="2750"/>
                  </a:lnTo>
                  <a:lnTo>
                    <a:pt x="2216" y="2740"/>
                  </a:lnTo>
                  <a:lnTo>
                    <a:pt x="2226" y="2734"/>
                  </a:lnTo>
                  <a:lnTo>
                    <a:pt x="2236" y="2728"/>
                  </a:lnTo>
                  <a:lnTo>
                    <a:pt x="2246" y="2724"/>
                  </a:lnTo>
                  <a:lnTo>
                    <a:pt x="2266" y="2718"/>
                  </a:lnTo>
                  <a:lnTo>
                    <a:pt x="2276" y="2714"/>
                  </a:lnTo>
                  <a:lnTo>
                    <a:pt x="2284" y="2708"/>
                  </a:lnTo>
                  <a:lnTo>
                    <a:pt x="2294" y="2700"/>
                  </a:lnTo>
                  <a:lnTo>
                    <a:pt x="2302" y="2690"/>
                  </a:lnTo>
                  <a:lnTo>
                    <a:pt x="2320" y="2666"/>
                  </a:lnTo>
                  <a:lnTo>
                    <a:pt x="2336" y="2636"/>
                  </a:lnTo>
                  <a:lnTo>
                    <a:pt x="2344" y="2622"/>
                  </a:lnTo>
                  <a:lnTo>
                    <a:pt x="2344" y="2620"/>
                  </a:lnTo>
                  <a:lnTo>
                    <a:pt x="2344" y="2616"/>
                  </a:lnTo>
                  <a:lnTo>
                    <a:pt x="2348" y="2606"/>
                  </a:lnTo>
                  <a:lnTo>
                    <a:pt x="2350" y="2598"/>
                  </a:lnTo>
                  <a:lnTo>
                    <a:pt x="2352" y="2594"/>
                  </a:lnTo>
                  <a:lnTo>
                    <a:pt x="2350" y="2590"/>
                  </a:lnTo>
                  <a:lnTo>
                    <a:pt x="2348" y="2586"/>
                  </a:lnTo>
                  <a:lnTo>
                    <a:pt x="2344" y="2582"/>
                  </a:lnTo>
                  <a:lnTo>
                    <a:pt x="2340" y="2576"/>
                  </a:lnTo>
                  <a:lnTo>
                    <a:pt x="2338" y="2566"/>
                  </a:lnTo>
                  <a:lnTo>
                    <a:pt x="2338" y="2552"/>
                  </a:lnTo>
                  <a:lnTo>
                    <a:pt x="2338" y="2500"/>
                  </a:lnTo>
                  <a:lnTo>
                    <a:pt x="2338" y="2478"/>
                  </a:lnTo>
                  <a:lnTo>
                    <a:pt x="2334" y="2454"/>
                  </a:lnTo>
                  <a:lnTo>
                    <a:pt x="2334" y="2440"/>
                  </a:lnTo>
                  <a:lnTo>
                    <a:pt x="2334" y="2432"/>
                  </a:lnTo>
                  <a:lnTo>
                    <a:pt x="2338" y="2426"/>
                  </a:lnTo>
                  <a:lnTo>
                    <a:pt x="2342" y="2424"/>
                  </a:lnTo>
                  <a:lnTo>
                    <a:pt x="2344" y="2420"/>
                  </a:lnTo>
                  <a:lnTo>
                    <a:pt x="2344" y="2414"/>
                  </a:lnTo>
                  <a:lnTo>
                    <a:pt x="2340" y="2406"/>
                  </a:lnTo>
                  <a:lnTo>
                    <a:pt x="2334" y="2394"/>
                  </a:lnTo>
                  <a:lnTo>
                    <a:pt x="2324" y="2384"/>
                  </a:lnTo>
                  <a:lnTo>
                    <a:pt x="2318" y="2380"/>
                  </a:lnTo>
                  <a:lnTo>
                    <a:pt x="2312" y="2376"/>
                  </a:lnTo>
                  <a:lnTo>
                    <a:pt x="2308" y="2368"/>
                  </a:lnTo>
                  <a:lnTo>
                    <a:pt x="2304" y="2358"/>
                  </a:lnTo>
                  <a:lnTo>
                    <a:pt x="2302" y="2348"/>
                  </a:lnTo>
                  <a:lnTo>
                    <a:pt x="2300" y="2334"/>
                  </a:lnTo>
                  <a:lnTo>
                    <a:pt x="2292" y="2310"/>
                  </a:lnTo>
                  <a:lnTo>
                    <a:pt x="2288" y="2298"/>
                  </a:lnTo>
                  <a:lnTo>
                    <a:pt x="2288" y="2290"/>
                  </a:lnTo>
                  <a:lnTo>
                    <a:pt x="2288" y="2286"/>
                  </a:lnTo>
                  <a:lnTo>
                    <a:pt x="2290" y="2280"/>
                  </a:lnTo>
                  <a:lnTo>
                    <a:pt x="2292" y="2278"/>
                  </a:lnTo>
                  <a:lnTo>
                    <a:pt x="2294" y="2274"/>
                  </a:lnTo>
                  <a:lnTo>
                    <a:pt x="2294" y="2268"/>
                  </a:lnTo>
                  <a:lnTo>
                    <a:pt x="2292" y="2258"/>
                  </a:lnTo>
                  <a:lnTo>
                    <a:pt x="2288" y="2248"/>
                  </a:lnTo>
                  <a:lnTo>
                    <a:pt x="2288" y="2240"/>
                  </a:lnTo>
                  <a:lnTo>
                    <a:pt x="2290" y="2236"/>
                  </a:lnTo>
                  <a:lnTo>
                    <a:pt x="2292" y="2232"/>
                  </a:lnTo>
                  <a:lnTo>
                    <a:pt x="2294" y="2230"/>
                  </a:lnTo>
                  <a:lnTo>
                    <a:pt x="2296" y="2228"/>
                  </a:lnTo>
                  <a:lnTo>
                    <a:pt x="2296" y="2226"/>
                  </a:lnTo>
                  <a:lnTo>
                    <a:pt x="2294" y="2220"/>
                  </a:lnTo>
                  <a:lnTo>
                    <a:pt x="2282" y="2206"/>
                  </a:lnTo>
                  <a:lnTo>
                    <a:pt x="2272" y="2192"/>
                  </a:lnTo>
                  <a:lnTo>
                    <a:pt x="2268" y="2184"/>
                  </a:lnTo>
                  <a:lnTo>
                    <a:pt x="2266" y="2174"/>
                  </a:lnTo>
                  <a:lnTo>
                    <a:pt x="2268" y="2164"/>
                  </a:lnTo>
                  <a:lnTo>
                    <a:pt x="2272" y="2150"/>
                  </a:lnTo>
                  <a:lnTo>
                    <a:pt x="2276" y="2138"/>
                  </a:lnTo>
                  <a:lnTo>
                    <a:pt x="2278" y="2130"/>
                  </a:lnTo>
                  <a:lnTo>
                    <a:pt x="2282" y="2122"/>
                  </a:lnTo>
                  <a:lnTo>
                    <a:pt x="2288" y="2108"/>
                  </a:lnTo>
                  <a:lnTo>
                    <a:pt x="2304" y="2084"/>
                  </a:lnTo>
                  <a:lnTo>
                    <a:pt x="2308" y="2074"/>
                  </a:lnTo>
                  <a:lnTo>
                    <a:pt x="2310" y="2058"/>
                  </a:lnTo>
                  <a:lnTo>
                    <a:pt x="2312" y="2052"/>
                  </a:lnTo>
                  <a:lnTo>
                    <a:pt x="2314" y="2048"/>
                  </a:lnTo>
                  <a:lnTo>
                    <a:pt x="2320" y="2046"/>
                  </a:lnTo>
                  <a:lnTo>
                    <a:pt x="2322" y="2044"/>
                  </a:lnTo>
                  <a:lnTo>
                    <a:pt x="2324" y="2042"/>
                  </a:lnTo>
                  <a:lnTo>
                    <a:pt x="2324" y="2036"/>
                  </a:lnTo>
                  <a:lnTo>
                    <a:pt x="2322" y="2026"/>
                  </a:lnTo>
                  <a:lnTo>
                    <a:pt x="2324" y="2016"/>
                  </a:lnTo>
                  <a:lnTo>
                    <a:pt x="2326" y="2008"/>
                  </a:lnTo>
                  <a:lnTo>
                    <a:pt x="2332" y="2004"/>
                  </a:lnTo>
                  <a:lnTo>
                    <a:pt x="2338" y="2002"/>
                  </a:lnTo>
                  <a:lnTo>
                    <a:pt x="2350" y="1998"/>
                  </a:lnTo>
                  <a:lnTo>
                    <a:pt x="2354" y="1994"/>
                  </a:lnTo>
                  <a:lnTo>
                    <a:pt x="2354" y="1988"/>
                  </a:lnTo>
                  <a:lnTo>
                    <a:pt x="2352" y="1980"/>
                  </a:lnTo>
                  <a:lnTo>
                    <a:pt x="2356" y="1980"/>
                  </a:lnTo>
                  <a:lnTo>
                    <a:pt x="2360" y="1980"/>
                  </a:lnTo>
                  <a:lnTo>
                    <a:pt x="2366" y="1978"/>
                  </a:lnTo>
                  <a:lnTo>
                    <a:pt x="2372" y="1972"/>
                  </a:lnTo>
                  <a:lnTo>
                    <a:pt x="2380" y="1962"/>
                  </a:lnTo>
                  <a:lnTo>
                    <a:pt x="2388" y="1950"/>
                  </a:lnTo>
                  <a:lnTo>
                    <a:pt x="2390" y="1944"/>
                  </a:lnTo>
                  <a:lnTo>
                    <a:pt x="2394" y="1932"/>
                  </a:lnTo>
                  <a:lnTo>
                    <a:pt x="2396" y="1926"/>
                  </a:lnTo>
                  <a:lnTo>
                    <a:pt x="2400" y="1918"/>
                  </a:lnTo>
                  <a:lnTo>
                    <a:pt x="2408" y="1908"/>
                  </a:lnTo>
                  <a:lnTo>
                    <a:pt x="2422" y="1892"/>
                  </a:lnTo>
                  <a:lnTo>
                    <a:pt x="2450" y="1860"/>
                  </a:lnTo>
                  <a:lnTo>
                    <a:pt x="2470" y="1836"/>
                  </a:lnTo>
                  <a:lnTo>
                    <a:pt x="2494" y="1812"/>
                  </a:lnTo>
                  <a:lnTo>
                    <a:pt x="2532" y="1780"/>
                  </a:lnTo>
                  <a:lnTo>
                    <a:pt x="2556" y="1760"/>
                  </a:lnTo>
                  <a:lnTo>
                    <a:pt x="2580" y="1736"/>
                  </a:lnTo>
                  <a:lnTo>
                    <a:pt x="2604" y="1710"/>
                  </a:lnTo>
                  <a:lnTo>
                    <a:pt x="2626" y="1680"/>
                  </a:lnTo>
                  <a:lnTo>
                    <a:pt x="2646" y="1646"/>
                  </a:lnTo>
                  <a:lnTo>
                    <a:pt x="2666" y="1610"/>
                  </a:lnTo>
                  <a:lnTo>
                    <a:pt x="2686" y="1570"/>
                  </a:lnTo>
                  <a:lnTo>
                    <a:pt x="2702" y="1526"/>
                  </a:lnTo>
                  <a:lnTo>
                    <a:pt x="2712" y="1502"/>
                  </a:lnTo>
                  <a:lnTo>
                    <a:pt x="2722" y="1482"/>
                  </a:lnTo>
                  <a:lnTo>
                    <a:pt x="2738" y="1452"/>
                  </a:lnTo>
                  <a:lnTo>
                    <a:pt x="2750" y="1426"/>
                  </a:lnTo>
                  <a:lnTo>
                    <a:pt x="2752" y="1416"/>
                  </a:lnTo>
                  <a:lnTo>
                    <a:pt x="2754" y="1404"/>
                  </a:lnTo>
                  <a:lnTo>
                    <a:pt x="2758" y="1388"/>
                  </a:lnTo>
                  <a:lnTo>
                    <a:pt x="2762" y="1378"/>
                  </a:lnTo>
                  <a:lnTo>
                    <a:pt x="2768" y="1376"/>
                  </a:lnTo>
                  <a:lnTo>
                    <a:pt x="2772" y="1376"/>
                  </a:lnTo>
                  <a:lnTo>
                    <a:pt x="2776" y="1376"/>
                  </a:lnTo>
                  <a:lnTo>
                    <a:pt x="2770" y="136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  <p:sp>
          <p:nvSpPr>
            <p:cNvPr id="124" name="Полилиния 6155">
              <a:extLst>
                <a:ext uri="{FF2B5EF4-FFF2-40B4-BE49-F238E27FC236}">
                  <a16:creationId xmlns:a16="http://schemas.microsoft.com/office/drawing/2014/main" xmlns="" id="{2FDFA26B-F356-47E4-9EED-7C45C04272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8868" y="954013"/>
              <a:ext cx="1798726" cy="2608001"/>
            </a:xfrm>
            <a:custGeom>
              <a:avLst/>
              <a:gdLst>
                <a:gd name="T0" fmla="*/ 794599 w 2834"/>
                <a:gd name="T1" fmla="*/ 115556 h 4108"/>
                <a:gd name="T2" fmla="*/ 750173 w 2834"/>
                <a:gd name="T3" fmla="*/ 64762 h 4108"/>
                <a:gd name="T4" fmla="*/ 742557 w 2834"/>
                <a:gd name="T5" fmla="*/ 528256 h 4108"/>
                <a:gd name="T6" fmla="*/ 842833 w 2834"/>
                <a:gd name="T7" fmla="*/ 165080 h 4108"/>
                <a:gd name="T8" fmla="*/ 708285 w 2834"/>
                <a:gd name="T9" fmla="*/ 563811 h 4108"/>
                <a:gd name="T10" fmla="*/ 635933 w 2834"/>
                <a:gd name="T11" fmla="*/ 595557 h 4108"/>
                <a:gd name="T12" fmla="*/ 684167 w 2834"/>
                <a:gd name="T13" fmla="*/ 565081 h 4108"/>
                <a:gd name="T14" fmla="*/ 836487 w 2834"/>
                <a:gd name="T15" fmla="*/ 25397 h 4108"/>
                <a:gd name="T16" fmla="*/ 91392 w 2834"/>
                <a:gd name="T17" fmla="*/ 1043813 h 4108"/>
                <a:gd name="T18" fmla="*/ 44426 w 2834"/>
                <a:gd name="T19" fmla="*/ 1184766 h 4108"/>
                <a:gd name="T20" fmla="*/ 107893 w 2834"/>
                <a:gd name="T21" fmla="*/ 1048892 h 4108"/>
                <a:gd name="T22" fmla="*/ 119317 w 2834"/>
                <a:gd name="T23" fmla="*/ 1116194 h 4108"/>
                <a:gd name="T24" fmla="*/ 171359 w 2834"/>
                <a:gd name="T25" fmla="*/ 1036194 h 4108"/>
                <a:gd name="T26" fmla="*/ 129471 w 2834"/>
                <a:gd name="T27" fmla="*/ 1116194 h 4108"/>
                <a:gd name="T28" fmla="*/ 148511 w 2834"/>
                <a:gd name="T29" fmla="*/ 1240639 h 4108"/>
                <a:gd name="T30" fmla="*/ 200554 w 2834"/>
                <a:gd name="T31" fmla="*/ 1323179 h 4108"/>
                <a:gd name="T32" fmla="*/ 397299 w 2834"/>
                <a:gd name="T33" fmla="*/ 877463 h 4108"/>
                <a:gd name="T34" fmla="*/ 224671 w 2834"/>
                <a:gd name="T35" fmla="*/ 943495 h 4108"/>
                <a:gd name="T36" fmla="*/ 331294 w 2834"/>
                <a:gd name="T37" fmla="*/ 721272 h 4108"/>
                <a:gd name="T38" fmla="*/ 114239 w 2834"/>
                <a:gd name="T39" fmla="*/ 665399 h 4108"/>
                <a:gd name="T40" fmla="*/ 151050 w 2834"/>
                <a:gd name="T41" fmla="*/ 1219051 h 4108"/>
                <a:gd name="T42" fmla="*/ 576275 w 2834"/>
                <a:gd name="T43" fmla="*/ 1158099 h 4108"/>
                <a:gd name="T44" fmla="*/ 580083 w 2834"/>
                <a:gd name="T45" fmla="*/ 1159369 h 4108"/>
                <a:gd name="T46" fmla="*/ 694322 w 2834"/>
                <a:gd name="T47" fmla="*/ 1079368 h 4108"/>
                <a:gd name="T48" fmla="*/ 401107 w 2834"/>
                <a:gd name="T49" fmla="*/ 961273 h 4108"/>
                <a:gd name="T50" fmla="*/ 840295 w 2834"/>
                <a:gd name="T51" fmla="*/ 1010797 h 4108"/>
                <a:gd name="T52" fmla="*/ 605469 w 2834"/>
                <a:gd name="T53" fmla="*/ 1771434 h 4108"/>
                <a:gd name="T54" fmla="*/ 799676 w 2834"/>
                <a:gd name="T55" fmla="*/ 1789212 h 4108"/>
                <a:gd name="T56" fmla="*/ 858065 w 2834"/>
                <a:gd name="T57" fmla="*/ 1842545 h 4108"/>
                <a:gd name="T58" fmla="*/ 1586659 w 2834"/>
                <a:gd name="T59" fmla="*/ 2201912 h 4108"/>
                <a:gd name="T60" fmla="*/ 1488921 w 2834"/>
                <a:gd name="T61" fmla="*/ 2069848 h 4108"/>
                <a:gd name="T62" fmla="*/ 1391183 w 2834"/>
                <a:gd name="T63" fmla="*/ 620954 h 4108"/>
                <a:gd name="T64" fmla="*/ 1212208 w 2834"/>
                <a:gd name="T65" fmla="*/ 568891 h 4108"/>
                <a:gd name="T66" fmla="*/ 974843 w 2834"/>
                <a:gd name="T67" fmla="*/ 468573 h 4108"/>
                <a:gd name="T68" fmla="*/ 856796 w 2834"/>
                <a:gd name="T69" fmla="*/ 514287 h 4108"/>
                <a:gd name="T70" fmla="*/ 732402 w 2834"/>
                <a:gd name="T71" fmla="*/ 544764 h 4108"/>
                <a:gd name="T72" fmla="*/ 657512 w 2834"/>
                <a:gd name="T73" fmla="*/ 642542 h 4108"/>
                <a:gd name="T74" fmla="*/ 562312 w 2834"/>
                <a:gd name="T75" fmla="*/ 758098 h 4108"/>
                <a:gd name="T76" fmla="*/ 446803 w 2834"/>
                <a:gd name="T77" fmla="*/ 830479 h 4108"/>
                <a:gd name="T78" fmla="*/ 396030 w 2834"/>
                <a:gd name="T79" fmla="*/ 911749 h 4108"/>
                <a:gd name="T80" fmla="*/ 482344 w 2834"/>
                <a:gd name="T81" fmla="*/ 1027305 h 4108"/>
                <a:gd name="T82" fmla="*/ 679090 w 2834"/>
                <a:gd name="T83" fmla="*/ 1102226 h 4108"/>
                <a:gd name="T84" fmla="*/ 728594 w 2834"/>
                <a:gd name="T85" fmla="*/ 845717 h 4108"/>
                <a:gd name="T86" fmla="*/ 818716 w 2834"/>
                <a:gd name="T87" fmla="*/ 825399 h 4108"/>
                <a:gd name="T88" fmla="*/ 984998 w 2834"/>
                <a:gd name="T89" fmla="*/ 975241 h 4108"/>
                <a:gd name="T90" fmla="*/ 748903 w 2834"/>
                <a:gd name="T91" fmla="*/ 1168258 h 4108"/>
                <a:gd name="T92" fmla="*/ 514078 w 2834"/>
                <a:gd name="T93" fmla="*/ 1158099 h 4108"/>
                <a:gd name="T94" fmla="*/ 486152 w 2834"/>
                <a:gd name="T95" fmla="*/ 1146670 h 4108"/>
                <a:gd name="T96" fmla="*/ 392222 w 2834"/>
                <a:gd name="T97" fmla="*/ 1235559 h 4108"/>
                <a:gd name="T98" fmla="*/ 185322 w 2834"/>
                <a:gd name="T99" fmla="*/ 1389211 h 4108"/>
                <a:gd name="T100" fmla="*/ 171359 w 2834"/>
                <a:gd name="T101" fmla="*/ 1584767 h 4108"/>
                <a:gd name="T102" fmla="*/ 180244 w 2834"/>
                <a:gd name="T103" fmla="*/ 1823498 h 4108"/>
                <a:gd name="T104" fmla="*/ 542003 w 2834"/>
                <a:gd name="T105" fmla="*/ 1610164 h 4108"/>
                <a:gd name="T106" fmla="*/ 628317 w 2834"/>
                <a:gd name="T107" fmla="*/ 1615243 h 4108"/>
                <a:gd name="T108" fmla="*/ 786983 w 2834"/>
                <a:gd name="T109" fmla="*/ 1730799 h 4108"/>
                <a:gd name="T110" fmla="*/ 884721 w 2834"/>
                <a:gd name="T111" fmla="*/ 1789212 h 4108"/>
                <a:gd name="T112" fmla="*/ 972305 w 2834"/>
                <a:gd name="T113" fmla="*/ 1674926 h 4108"/>
                <a:gd name="T114" fmla="*/ 1124624 w 2834"/>
                <a:gd name="T115" fmla="*/ 1530163 h 4108"/>
                <a:gd name="T116" fmla="*/ 1213477 w 2834"/>
                <a:gd name="T117" fmla="*/ 1530163 h 4108"/>
                <a:gd name="T118" fmla="*/ 976113 w 2834"/>
                <a:gd name="T119" fmla="*/ 1692704 h 4108"/>
                <a:gd name="T120" fmla="*/ 1042118 w 2834"/>
                <a:gd name="T121" fmla="*/ 1838736 h 4108"/>
                <a:gd name="T122" fmla="*/ 1153819 w 2834"/>
                <a:gd name="T123" fmla="*/ 2114292 h 4108"/>
                <a:gd name="T124" fmla="*/ 1426724 w 2834"/>
                <a:gd name="T125" fmla="*/ 2595564 h 41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34"/>
                <a:gd name="T190" fmla="*/ 0 h 4108"/>
                <a:gd name="T191" fmla="*/ 2834 w 2834"/>
                <a:gd name="T192" fmla="*/ 4108 h 41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34" h="4108">
                  <a:moveTo>
                    <a:pt x="1216" y="808"/>
                  </a:moveTo>
                  <a:lnTo>
                    <a:pt x="1216" y="808"/>
                  </a:lnTo>
                  <a:lnTo>
                    <a:pt x="1216" y="806"/>
                  </a:lnTo>
                  <a:lnTo>
                    <a:pt x="1212" y="804"/>
                  </a:lnTo>
                  <a:lnTo>
                    <a:pt x="1208" y="804"/>
                  </a:lnTo>
                  <a:lnTo>
                    <a:pt x="1206" y="804"/>
                  </a:lnTo>
                  <a:lnTo>
                    <a:pt x="1206" y="806"/>
                  </a:lnTo>
                  <a:lnTo>
                    <a:pt x="1210" y="808"/>
                  </a:lnTo>
                  <a:lnTo>
                    <a:pt x="1214" y="808"/>
                  </a:lnTo>
                  <a:lnTo>
                    <a:pt x="1216" y="808"/>
                  </a:lnTo>
                  <a:close/>
                  <a:moveTo>
                    <a:pt x="1202" y="798"/>
                  </a:moveTo>
                  <a:lnTo>
                    <a:pt x="1202" y="798"/>
                  </a:lnTo>
                  <a:lnTo>
                    <a:pt x="1198" y="798"/>
                  </a:lnTo>
                  <a:lnTo>
                    <a:pt x="1194" y="802"/>
                  </a:lnTo>
                  <a:lnTo>
                    <a:pt x="1194" y="806"/>
                  </a:lnTo>
                  <a:lnTo>
                    <a:pt x="1196" y="806"/>
                  </a:lnTo>
                  <a:lnTo>
                    <a:pt x="1200" y="806"/>
                  </a:lnTo>
                  <a:lnTo>
                    <a:pt x="1202" y="802"/>
                  </a:lnTo>
                  <a:lnTo>
                    <a:pt x="1202" y="800"/>
                  </a:lnTo>
                  <a:lnTo>
                    <a:pt x="1202" y="798"/>
                  </a:lnTo>
                  <a:close/>
                  <a:moveTo>
                    <a:pt x="1082" y="898"/>
                  </a:moveTo>
                  <a:lnTo>
                    <a:pt x="1082" y="898"/>
                  </a:lnTo>
                  <a:lnTo>
                    <a:pt x="1078" y="896"/>
                  </a:lnTo>
                  <a:lnTo>
                    <a:pt x="1074" y="900"/>
                  </a:lnTo>
                  <a:lnTo>
                    <a:pt x="1072" y="902"/>
                  </a:lnTo>
                  <a:lnTo>
                    <a:pt x="1072" y="906"/>
                  </a:lnTo>
                  <a:lnTo>
                    <a:pt x="1072" y="910"/>
                  </a:lnTo>
                  <a:lnTo>
                    <a:pt x="1066" y="914"/>
                  </a:lnTo>
                  <a:lnTo>
                    <a:pt x="1062" y="916"/>
                  </a:lnTo>
                  <a:lnTo>
                    <a:pt x="1064" y="914"/>
                  </a:lnTo>
                  <a:lnTo>
                    <a:pt x="1066" y="910"/>
                  </a:lnTo>
                  <a:lnTo>
                    <a:pt x="1064" y="908"/>
                  </a:lnTo>
                  <a:lnTo>
                    <a:pt x="1062" y="908"/>
                  </a:lnTo>
                  <a:lnTo>
                    <a:pt x="1060" y="908"/>
                  </a:lnTo>
                  <a:lnTo>
                    <a:pt x="1060" y="906"/>
                  </a:lnTo>
                  <a:lnTo>
                    <a:pt x="1062" y="902"/>
                  </a:lnTo>
                  <a:lnTo>
                    <a:pt x="1066" y="896"/>
                  </a:lnTo>
                  <a:lnTo>
                    <a:pt x="1066" y="894"/>
                  </a:lnTo>
                  <a:lnTo>
                    <a:pt x="1064" y="892"/>
                  </a:lnTo>
                  <a:lnTo>
                    <a:pt x="1058" y="892"/>
                  </a:lnTo>
                  <a:lnTo>
                    <a:pt x="1054" y="896"/>
                  </a:lnTo>
                  <a:lnTo>
                    <a:pt x="1048" y="900"/>
                  </a:lnTo>
                  <a:lnTo>
                    <a:pt x="1046" y="906"/>
                  </a:lnTo>
                  <a:lnTo>
                    <a:pt x="1046" y="912"/>
                  </a:lnTo>
                  <a:lnTo>
                    <a:pt x="1046" y="916"/>
                  </a:lnTo>
                  <a:lnTo>
                    <a:pt x="1046" y="918"/>
                  </a:lnTo>
                  <a:lnTo>
                    <a:pt x="1042" y="920"/>
                  </a:lnTo>
                  <a:lnTo>
                    <a:pt x="1036" y="922"/>
                  </a:lnTo>
                  <a:lnTo>
                    <a:pt x="1036" y="924"/>
                  </a:lnTo>
                  <a:lnTo>
                    <a:pt x="1036" y="928"/>
                  </a:lnTo>
                  <a:lnTo>
                    <a:pt x="1032" y="938"/>
                  </a:lnTo>
                  <a:lnTo>
                    <a:pt x="1030" y="942"/>
                  </a:lnTo>
                  <a:lnTo>
                    <a:pt x="1034" y="940"/>
                  </a:lnTo>
                  <a:lnTo>
                    <a:pt x="1040" y="938"/>
                  </a:lnTo>
                  <a:lnTo>
                    <a:pt x="1044" y="938"/>
                  </a:lnTo>
                  <a:lnTo>
                    <a:pt x="1048" y="940"/>
                  </a:lnTo>
                  <a:lnTo>
                    <a:pt x="1050" y="940"/>
                  </a:lnTo>
                  <a:lnTo>
                    <a:pt x="1052" y="940"/>
                  </a:lnTo>
                  <a:lnTo>
                    <a:pt x="1054" y="936"/>
                  </a:lnTo>
                  <a:lnTo>
                    <a:pt x="1056" y="934"/>
                  </a:lnTo>
                  <a:lnTo>
                    <a:pt x="1058" y="932"/>
                  </a:lnTo>
                  <a:lnTo>
                    <a:pt x="1060" y="934"/>
                  </a:lnTo>
                  <a:lnTo>
                    <a:pt x="1062" y="936"/>
                  </a:lnTo>
                  <a:lnTo>
                    <a:pt x="1064" y="936"/>
                  </a:lnTo>
                  <a:lnTo>
                    <a:pt x="1068" y="930"/>
                  </a:lnTo>
                  <a:lnTo>
                    <a:pt x="1070" y="926"/>
                  </a:lnTo>
                  <a:lnTo>
                    <a:pt x="1072" y="924"/>
                  </a:lnTo>
                  <a:lnTo>
                    <a:pt x="1076" y="920"/>
                  </a:lnTo>
                  <a:lnTo>
                    <a:pt x="1084" y="920"/>
                  </a:lnTo>
                  <a:lnTo>
                    <a:pt x="1088" y="918"/>
                  </a:lnTo>
                  <a:lnTo>
                    <a:pt x="1090" y="916"/>
                  </a:lnTo>
                  <a:lnTo>
                    <a:pt x="1090" y="914"/>
                  </a:lnTo>
                  <a:lnTo>
                    <a:pt x="1090" y="910"/>
                  </a:lnTo>
                  <a:lnTo>
                    <a:pt x="1086" y="904"/>
                  </a:lnTo>
                  <a:lnTo>
                    <a:pt x="1082" y="898"/>
                  </a:lnTo>
                  <a:close/>
                  <a:moveTo>
                    <a:pt x="1190" y="808"/>
                  </a:moveTo>
                  <a:lnTo>
                    <a:pt x="1190" y="808"/>
                  </a:lnTo>
                  <a:lnTo>
                    <a:pt x="1188" y="808"/>
                  </a:lnTo>
                  <a:lnTo>
                    <a:pt x="1186" y="808"/>
                  </a:lnTo>
                  <a:lnTo>
                    <a:pt x="1184" y="808"/>
                  </a:lnTo>
                  <a:lnTo>
                    <a:pt x="1182" y="808"/>
                  </a:lnTo>
                  <a:lnTo>
                    <a:pt x="1180" y="808"/>
                  </a:lnTo>
                  <a:lnTo>
                    <a:pt x="1178" y="810"/>
                  </a:lnTo>
                  <a:lnTo>
                    <a:pt x="1176" y="814"/>
                  </a:lnTo>
                  <a:lnTo>
                    <a:pt x="1178" y="814"/>
                  </a:lnTo>
                  <a:lnTo>
                    <a:pt x="1178" y="816"/>
                  </a:lnTo>
                  <a:lnTo>
                    <a:pt x="1184" y="814"/>
                  </a:lnTo>
                  <a:lnTo>
                    <a:pt x="1188" y="810"/>
                  </a:lnTo>
                  <a:lnTo>
                    <a:pt x="1190" y="808"/>
                  </a:lnTo>
                  <a:close/>
                  <a:moveTo>
                    <a:pt x="1400" y="746"/>
                  </a:moveTo>
                  <a:lnTo>
                    <a:pt x="1400" y="746"/>
                  </a:lnTo>
                  <a:lnTo>
                    <a:pt x="1394" y="744"/>
                  </a:lnTo>
                  <a:lnTo>
                    <a:pt x="1390" y="744"/>
                  </a:lnTo>
                  <a:lnTo>
                    <a:pt x="1388" y="744"/>
                  </a:lnTo>
                  <a:lnTo>
                    <a:pt x="1390" y="748"/>
                  </a:lnTo>
                  <a:lnTo>
                    <a:pt x="1394" y="750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6"/>
                  </a:lnTo>
                  <a:close/>
                  <a:moveTo>
                    <a:pt x="1252" y="182"/>
                  </a:moveTo>
                  <a:lnTo>
                    <a:pt x="1252" y="182"/>
                  </a:lnTo>
                  <a:lnTo>
                    <a:pt x="1256" y="186"/>
                  </a:lnTo>
                  <a:lnTo>
                    <a:pt x="1256" y="188"/>
                  </a:lnTo>
                  <a:lnTo>
                    <a:pt x="1258" y="190"/>
                  </a:lnTo>
                  <a:lnTo>
                    <a:pt x="1258" y="192"/>
                  </a:lnTo>
                  <a:lnTo>
                    <a:pt x="1262" y="192"/>
                  </a:lnTo>
                  <a:lnTo>
                    <a:pt x="1272" y="190"/>
                  </a:lnTo>
                  <a:lnTo>
                    <a:pt x="1290" y="186"/>
                  </a:lnTo>
                  <a:lnTo>
                    <a:pt x="1306" y="186"/>
                  </a:lnTo>
                  <a:lnTo>
                    <a:pt x="1312" y="184"/>
                  </a:lnTo>
                  <a:lnTo>
                    <a:pt x="1316" y="182"/>
                  </a:lnTo>
                  <a:lnTo>
                    <a:pt x="1318" y="178"/>
                  </a:lnTo>
                  <a:lnTo>
                    <a:pt x="1318" y="172"/>
                  </a:lnTo>
                  <a:lnTo>
                    <a:pt x="1316" y="166"/>
                  </a:lnTo>
                  <a:lnTo>
                    <a:pt x="1312" y="162"/>
                  </a:lnTo>
                  <a:lnTo>
                    <a:pt x="1306" y="160"/>
                  </a:lnTo>
                  <a:lnTo>
                    <a:pt x="1300" y="158"/>
                  </a:lnTo>
                  <a:lnTo>
                    <a:pt x="1284" y="158"/>
                  </a:lnTo>
                  <a:lnTo>
                    <a:pt x="1266" y="162"/>
                  </a:lnTo>
                  <a:lnTo>
                    <a:pt x="1250" y="166"/>
                  </a:lnTo>
                  <a:lnTo>
                    <a:pt x="1238" y="168"/>
                  </a:lnTo>
                  <a:lnTo>
                    <a:pt x="1238" y="170"/>
                  </a:lnTo>
                  <a:lnTo>
                    <a:pt x="1238" y="174"/>
                  </a:lnTo>
                  <a:lnTo>
                    <a:pt x="1252" y="182"/>
                  </a:lnTo>
                  <a:close/>
                  <a:moveTo>
                    <a:pt x="1236" y="808"/>
                  </a:moveTo>
                  <a:lnTo>
                    <a:pt x="1236" y="808"/>
                  </a:lnTo>
                  <a:lnTo>
                    <a:pt x="1238" y="806"/>
                  </a:lnTo>
                  <a:lnTo>
                    <a:pt x="1236" y="804"/>
                  </a:lnTo>
                  <a:lnTo>
                    <a:pt x="1228" y="802"/>
                  </a:lnTo>
                  <a:lnTo>
                    <a:pt x="1224" y="798"/>
                  </a:lnTo>
                  <a:lnTo>
                    <a:pt x="1220" y="796"/>
                  </a:lnTo>
                  <a:lnTo>
                    <a:pt x="1216" y="794"/>
                  </a:lnTo>
                  <a:lnTo>
                    <a:pt x="1216" y="798"/>
                  </a:lnTo>
                  <a:lnTo>
                    <a:pt x="1216" y="802"/>
                  </a:lnTo>
                  <a:lnTo>
                    <a:pt x="1220" y="806"/>
                  </a:lnTo>
                  <a:lnTo>
                    <a:pt x="1228" y="810"/>
                  </a:lnTo>
                  <a:lnTo>
                    <a:pt x="1236" y="808"/>
                  </a:lnTo>
                  <a:close/>
                  <a:moveTo>
                    <a:pt x="902" y="108"/>
                  </a:moveTo>
                  <a:lnTo>
                    <a:pt x="902" y="108"/>
                  </a:lnTo>
                  <a:lnTo>
                    <a:pt x="902" y="114"/>
                  </a:lnTo>
                  <a:lnTo>
                    <a:pt x="904" y="120"/>
                  </a:lnTo>
                  <a:lnTo>
                    <a:pt x="906" y="124"/>
                  </a:lnTo>
                  <a:lnTo>
                    <a:pt x="910" y="126"/>
                  </a:lnTo>
                  <a:lnTo>
                    <a:pt x="912" y="128"/>
                  </a:lnTo>
                  <a:lnTo>
                    <a:pt x="910" y="128"/>
                  </a:lnTo>
                  <a:lnTo>
                    <a:pt x="900" y="130"/>
                  </a:lnTo>
                  <a:lnTo>
                    <a:pt x="886" y="130"/>
                  </a:lnTo>
                  <a:lnTo>
                    <a:pt x="884" y="132"/>
                  </a:lnTo>
                  <a:lnTo>
                    <a:pt x="886" y="136"/>
                  </a:lnTo>
                  <a:lnTo>
                    <a:pt x="898" y="148"/>
                  </a:lnTo>
                  <a:lnTo>
                    <a:pt x="922" y="172"/>
                  </a:lnTo>
                  <a:lnTo>
                    <a:pt x="936" y="184"/>
                  </a:lnTo>
                  <a:lnTo>
                    <a:pt x="948" y="192"/>
                  </a:lnTo>
                  <a:lnTo>
                    <a:pt x="960" y="194"/>
                  </a:lnTo>
                  <a:lnTo>
                    <a:pt x="970" y="192"/>
                  </a:lnTo>
                  <a:lnTo>
                    <a:pt x="980" y="188"/>
                  </a:lnTo>
                  <a:lnTo>
                    <a:pt x="990" y="182"/>
                  </a:lnTo>
                  <a:lnTo>
                    <a:pt x="1018" y="164"/>
                  </a:lnTo>
                  <a:lnTo>
                    <a:pt x="1038" y="152"/>
                  </a:lnTo>
                  <a:lnTo>
                    <a:pt x="1040" y="152"/>
                  </a:lnTo>
                  <a:lnTo>
                    <a:pt x="1042" y="154"/>
                  </a:lnTo>
                  <a:lnTo>
                    <a:pt x="1042" y="158"/>
                  </a:lnTo>
                  <a:lnTo>
                    <a:pt x="1048" y="160"/>
                  </a:lnTo>
                  <a:lnTo>
                    <a:pt x="1056" y="164"/>
                  </a:lnTo>
                  <a:lnTo>
                    <a:pt x="1072" y="166"/>
                  </a:lnTo>
                  <a:lnTo>
                    <a:pt x="1088" y="168"/>
                  </a:lnTo>
                  <a:lnTo>
                    <a:pt x="1096" y="170"/>
                  </a:lnTo>
                  <a:lnTo>
                    <a:pt x="1094" y="172"/>
                  </a:lnTo>
                  <a:lnTo>
                    <a:pt x="1088" y="176"/>
                  </a:lnTo>
                  <a:lnTo>
                    <a:pt x="1058" y="186"/>
                  </a:lnTo>
                  <a:lnTo>
                    <a:pt x="1014" y="198"/>
                  </a:lnTo>
                  <a:lnTo>
                    <a:pt x="994" y="206"/>
                  </a:lnTo>
                  <a:lnTo>
                    <a:pt x="980" y="210"/>
                  </a:lnTo>
                  <a:lnTo>
                    <a:pt x="972" y="216"/>
                  </a:lnTo>
                  <a:lnTo>
                    <a:pt x="970" y="218"/>
                  </a:lnTo>
                  <a:lnTo>
                    <a:pt x="970" y="220"/>
                  </a:lnTo>
                  <a:lnTo>
                    <a:pt x="976" y="222"/>
                  </a:lnTo>
                  <a:lnTo>
                    <a:pt x="988" y="224"/>
                  </a:lnTo>
                  <a:lnTo>
                    <a:pt x="1008" y="224"/>
                  </a:lnTo>
                  <a:lnTo>
                    <a:pt x="1034" y="222"/>
                  </a:lnTo>
                  <a:lnTo>
                    <a:pt x="1058" y="220"/>
                  </a:lnTo>
                  <a:lnTo>
                    <a:pt x="1072" y="220"/>
                  </a:lnTo>
                  <a:lnTo>
                    <a:pt x="1074" y="222"/>
                  </a:lnTo>
                  <a:lnTo>
                    <a:pt x="1076" y="222"/>
                  </a:lnTo>
                  <a:lnTo>
                    <a:pt x="1072" y="226"/>
                  </a:lnTo>
                  <a:lnTo>
                    <a:pt x="1064" y="232"/>
                  </a:lnTo>
                  <a:lnTo>
                    <a:pt x="1050" y="236"/>
                  </a:lnTo>
                  <a:lnTo>
                    <a:pt x="1036" y="242"/>
                  </a:lnTo>
                  <a:lnTo>
                    <a:pt x="1018" y="244"/>
                  </a:lnTo>
                  <a:lnTo>
                    <a:pt x="994" y="250"/>
                  </a:lnTo>
                  <a:lnTo>
                    <a:pt x="988" y="252"/>
                  </a:lnTo>
                  <a:lnTo>
                    <a:pt x="984" y="256"/>
                  </a:lnTo>
                  <a:lnTo>
                    <a:pt x="986" y="260"/>
                  </a:lnTo>
                  <a:lnTo>
                    <a:pt x="990" y="264"/>
                  </a:lnTo>
                  <a:lnTo>
                    <a:pt x="1014" y="274"/>
                  </a:lnTo>
                  <a:lnTo>
                    <a:pt x="1028" y="280"/>
                  </a:lnTo>
                  <a:lnTo>
                    <a:pt x="1036" y="286"/>
                  </a:lnTo>
                  <a:lnTo>
                    <a:pt x="1048" y="296"/>
                  </a:lnTo>
                  <a:lnTo>
                    <a:pt x="1052" y="302"/>
                  </a:lnTo>
                  <a:lnTo>
                    <a:pt x="1060" y="308"/>
                  </a:lnTo>
                  <a:lnTo>
                    <a:pt x="1072" y="312"/>
                  </a:lnTo>
                  <a:lnTo>
                    <a:pt x="1090" y="318"/>
                  </a:lnTo>
                  <a:lnTo>
                    <a:pt x="1098" y="320"/>
                  </a:lnTo>
                  <a:lnTo>
                    <a:pt x="1104" y="320"/>
                  </a:lnTo>
                  <a:lnTo>
                    <a:pt x="1110" y="318"/>
                  </a:lnTo>
                  <a:lnTo>
                    <a:pt x="1114" y="316"/>
                  </a:lnTo>
                  <a:lnTo>
                    <a:pt x="1116" y="312"/>
                  </a:lnTo>
                  <a:lnTo>
                    <a:pt x="1116" y="306"/>
                  </a:lnTo>
                  <a:lnTo>
                    <a:pt x="1118" y="294"/>
                  </a:lnTo>
                  <a:lnTo>
                    <a:pt x="1120" y="282"/>
                  </a:lnTo>
                  <a:lnTo>
                    <a:pt x="1124" y="268"/>
                  </a:lnTo>
                  <a:lnTo>
                    <a:pt x="1128" y="262"/>
                  </a:lnTo>
                  <a:lnTo>
                    <a:pt x="1132" y="256"/>
                  </a:lnTo>
                  <a:lnTo>
                    <a:pt x="1138" y="252"/>
                  </a:lnTo>
                  <a:lnTo>
                    <a:pt x="1146" y="248"/>
                  </a:lnTo>
                  <a:lnTo>
                    <a:pt x="1160" y="242"/>
                  </a:lnTo>
                  <a:lnTo>
                    <a:pt x="1166" y="236"/>
                  </a:lnTo>
                  <a:lnTo>
                    <a:pt x="1166" y="230"/>
                  </a:lnTo>
                  <a:lnTo>
                    <a:pt x="1164" y="224"/>
                  </a:lnTo>
                  <a:lnTo>
                    <a:pt x="1162" y="218"/>
                  </a:lnTo>
                  <a:lnTo>
                    <a:pt x="1162" y="214"/>
                  </a:lnTo>
                  <a:lnTo>
                    <a:pt x="1162" y="212"/>
                  </a:lnTo>
                  <a:lnTo>
                    <a:pt x="1166" y="208"/>
                  </a:lnTo>
                  <a:lnTo>
                    <a:pt x="1176" y="204"/>
                  </a:lnTo>
                  <a:lnTo>
                    <a:pt x="1182" y="202"/>
                  </a:lnTo>
                  <a:lnTo>
                    <a:pt x="1188" y="200"/>
                  </a:lnTo>
                  <a:lnTo>
                    <a:pt x="1190" y="196"/>
                  </a:lnTo>
                  <a:lnTo>
                    <a:pt x="1192" y="192"/>
                  </a:lnTo>
                  <a:lnTo>
                    <a:pt x="1194" y="186"/>
                  </a:lnTo>
                  <a:lnTo>
                    <a:pt x="1194" y="178"/>
                  </a:lnTo>
                  <a:lnTo>
                    <a:pt x="1196" y="170"/>
                  </a:lnTo>
                  <a:lnTo>
                    <a:pt x="1198" y="166"/>
                  </a:lnTo>
                  <a:lnTo>
                    <a:pt x="1202" y="164"/>
                  </a:lnTo>
                  <a:lnTo>
                    <a:pt x="1206" y="160"/>
                  </a:lnTo>
                  <a:lnTo>
                    <a:pt x="1212" y="158"/>
                  </a:lnTo>
                  <a:lnTo>
                    <a:pt x="1234" y="156"/>
                  </a:lnTo>
                  <a:lnTo>
                    <a:pt x="1272" y="152"/>
                  </a:lnTo>
                  <a:lnTo>
                    <a:pt x="1284" y="148"/>
                  </a:lnTo>
                  <a:lnTo>
                    <a:pt x="1290" y="146"/>
                  </a:lnTo>
                  <a:lnTo>
                    <a:pt x="1290" y="144"/>
                  </a:lnTo>
                  <a:lnTo>
                    <a:pt x="1290" y="142"/>
                  </a:lnTo>
                  <a:lnTo>
                    <a:pt x="1284" y="138"/>
                  </a:lnTo>
                  <a:lnTo>
                    <a:pt x="1274" y="136"/>
                  </a:lnTo>
                  <a:lnTo>
                    <a:pt x="1260" y="130"/>
                  </a:lnTo>
                  <a:lnTo>
                    <a:pt x="1244" y="126"/>
                  </a:lnTo>
                  <a:lnTo>
                    <a:pt x="1236" y="124"/>
                  </a:lnTo>
                  <a:lnTo>
                    <a:pt x="1226" y="118"/>
                  </a:lnTo>
                  <a:lnTo>
                    <a:pt x="1224" y="116"/>
                  </a:lnTo>
                  <a:lnTo>
                    <a:pt x="1220" y="114"/>
                  </a:lnTo>
                  <a:lnTo>
                    <a:pt x="1202" y="114"/>
                  </a:lnTo>
                  <a:lnTo>
                    <a:pt x="1190" y="112"/>
                  </a:lnTo>
                  <a:lnTo>
                    <a:pt x="1186" y="110"/>
                  </a:lnTo>
                  <a:lnTo>
                    <a:pt x="1184" y="106"/>
                  </a:lnTo>
                  <a:lnTo>
                    <a:pt x="1182" y="102"/>
                  </a:lnTo>
                  <a:lnTo>
                    <a:pt x="1182" y="96"/>
                  </a:lnTo>
                  <a:lnTo>
                    <a:pt x="1182" y="90"/>
                  </a:lnTo>
                  <a:lnTo>
                    <a:pt x="1178" y="84"/>
                  </a:lnTo>
                  <a:lnTo>
                    <a:pt x="1170" y="78"/>
                  </a:lnTo>
                  <a:lnTo>
                    <a:pt x="1162" y="74"/>
                  </a:lnTo>
                  <a:lnTo>
                    <a:pt x="1156" y="76"/>
                  </a:lnTo>
                  <a:lnTo>
                    <a:pt x="1152" y="82"/>
                  </a:lnTo>
                  <a:lnTo>
                    <a:pt x="1148" y="88"/>
                  </a:lnTo>
                  <a:lnTo>
                    <a:pt x="1144" y="96"/>
                  </a:lnTo>
                  <a:lnTo>
                    <a:pt x="1144" y="98"/>
                  </a:lnTo>
                  <a:lnTo>
                    <a:pt x="1142" y="94"/>
                  </a:lnTo>
                  <a:lnTo>
                    <a:pt x="1140" y="84"/>
                  </a:lnTo>
                  <a:lnTo>
                    <a:pt x="1140" y="78"/>
                  </a:lnTo>
                  <a:lnTo>
                    <a:pt x="1142" y="74"/>
                  </a:lnTo>
                  <a:lnTo>
                    <a:pt x="1144" y="70"/>
                  </a:lnTo>
                  <a:lnTo>
                    <a:pt x="1150" y="66"/>
                  </a:lnTo>
                  <a:lnTo>
                    <a:pt x="1152" y="64"/>
                  </a:lnTo>
                  <a:lnTo>
                    <a:pt x="1132" y="54"/>
                  </a:lnTo>
                  <a:lnTo>
                    <a:pt x="1124" y="50"/>
                  </a:lnTo>
                  <a:lnTo>
                    <a:pt x="1108" y="50"/>
                  </a:lnTo>
                  <a:lnTo>
                    <a:pt x="1100" y="50"/>
                  </a:lnTo>
                  <a:lnTo>
                    <a:pt x="1092" y="48"/>
                  </a:lnTo>
                  <a:lnTo>
                    <a:pt x="1084" y="42"/>
                  </a:lnTo>
                  <a:lnTo>
                    <a:pt x="1080" y="40"/>
                  </a:lnTo>
                  <a:lnTo>
                    <a:pt x="1076" y="40"/>
                  </a:lnTo>
                  <a:lnTo>
                    <a:pt x="1070" y="40"/>
                  </a:lnTo>
                  <a:lnTo>
                    <a:pt x="1062" y="44"/>
                  </a:lnTo>
                  <a:lnTo>
                    <a:pt x="1058" y="48"/>
                  </a:lnTo>
                  <a:lnTo>
                    <a:pt x="1056" y="54"/>
                  </a:lnTo>
                  <a:lnTo>
                    <a:pt x="1054" y="58"/>
                  </a:lnTo>
                  <a:lnTo>
                    <a:pt x="1056" y="66"/>
                  </a:lnTo>
                  <a:lnTo>
                    <a:pt x="1060" y="80"/>
                  </a:lnTo>
                  <a:lnTo>
                    <a:pt x="1068" y="94"/>
                  </a:lnTo>
                  <a:lnTo>
                    <a:pt x="1084" y="120"/>
                  </a:lnTo>
                  <a:lnTo>
                    <a:pt x="1086" y="130"/>
                  </a:lnTo>
                  <a:lnTo>
                    <a:pt x="1086" y="132"/>
                  </a:lnTo>
                  <a:lnTo>
                    <a:pt x="1084" y="132"/>
                  </a:lnTo>
                  <a:lnTo>
                    <a:pt x="1080" y="132"/>
                  </a:lnTo>
                  <a:lnTo>
                    <a:pt x="1076" y="130"/>
                  </a:lnTo>
                  <a:lnTo>
                    <a:pt x="1068" y="122"/>
                  </a:lnTo>
                  <a:lnTo>
                    <a:pt x="1048" y="96"/>
                  </a:lnTo>
                  <a:lnTo>
                    <a:pt x="1036" y="82"/>
                  </a:lnTo>
                  <a:lnTo>
                    <a:pt x="1026" y="72"/>
                  </a:lnTo>
                  <a:lnTo>
                    <a:pt x="1020" y="68"/>
                  </a:lnTo>
                  <a:lnTo>
                    <a:pt x="1014" y="66"/>
                  </a:lnTo>
                  <a:lnTo>
                    <a:pt x="1008" y="64"/>
                  </a:lnTo>
                  <a:lnTo>
                    <a:pt x="1004" y="66"/>
                  </a:lnTo>
                  <a:lnTo>
                    <a:pt x="998" y="68"/>
                  </a:lnTo>
                  <a:lnTo>
                    <a:pt x="994" y="70"/>
                  </a:lnTo>
                  <a:lnTo>
                    <a:pt x="990" y="78"/>
                  </a:lnTo>
                  <a:lnTo>
                    <a:pt x="988" y="88"/>
                  </a:lnTo>
                  <a:lnTo>
                    <a:pt x="986" y="96"/>
                  </a:lnTo>
                  <a:lnTo>
                    <a:pt x="986" y="108"/>
                  </a:lnTo>
                  <a:lnTo>
                    <a:pt x="984" y="106"/>
                  </a:lnTo>
                  <a:lnTo>
                    <a:pt x="980" y="100"/>
                  </a:lnTo>
                  <a:lnTo>
                    <a:pt x="974" y="90"/>
                  </a:lnTo>
                  <a:lnTo>
                    <a:pt x="968" y="84"/>
                  </a:lnTo>
                  <a:lnTo>
                    <a:pt x="960" y="80"/>
                  </a:lnTo>
                  <a:lnTo>
                    <a:pt x="954" y="78"/>
                  </a:lnTo>
                  <a:lnTo>
                    <a:pt x="950" y="76"/>
                  </a:lnTo>
                  <a:lnTo>
                    <a:pt x="948" y="76"/>
                  </a:lnTo>
                  <a:lnTo>
                    <a:pt x="960" y="72"/>
                  </a:lnTo>
                  <a:lnTo>
                    <a:pt x="972" y="70"/>
                  </a:lnTo>
                  <a:lnTo>
                    <a:pt x="978" y="66"/>
                  </a:lnTo>
                  <a:lnTo>
                    <a:pt x="984" y="62"/>
                  </a:lnTo>
                  <a:lnTo>
                    <a:pt x="984" y="60"/>
                  </a:lnTo>
                  <a:lnTo>
                    <a:pt x="982" y="56"/>
                  </a:lnTo>
                  <a:lnTo>
                    <a:pt x="978" y="56"/>
                  </a:lnTo>
                  <a:lnTo>
                    <a:pt x="970" y="56"/>
                  </a:lnTo>
                  <a:lnTo>
                    <a:pt x="958" y="60"/>
                  </a:lnTo>
                  <a:lnTo>
                    <a:pt x="946" y="62"/>
                  </a:lnTo>
                  <a:lnTo>
                    <a:pt x="938" y="62"/>
                  </a:lnTo>
                  <a:lnTo>
                    <a:pt x="934" y="62"/>
                  </a:lnTo>
                  <a:lnTo>
                    <a:pt x="930" y="58"/>
                  </a:lnTo>
                  <a:lnTo>
                    <a:pt x="928" y="56"/>
                  </a:lnTo>
                  <a:lnTo>
                    <a:pt x="926" y="56"/>
                  </a:lnTo>
                  <a:lnTo>
                    <a:pt x="922" y="58"/>
                  </a:lnTo>
                  <a:lnTo>
                    <a:pt x="916" y="60"/>
                  </a:lnTo>
                  <a:lnTo>
                    <a:pt x="908" y="64"/>
                  </a:lnTo>
                  <a:lnTo>
                    <a:pt x="904" y="64"/>
                  </a:lnTo>
                  <a:lnTo>
                    <a:pt x="902" y="64"/>
                  </a:lnTo>
                  <a:lnTo>
                    <a:pt x="900" y="60"/>
                  </a:lnTo>
                  <a:lnTo>
                    <a:pt x="896" y="58"/>
                  </a:lnTo>
                  <a:lnTo>
                    <a:pt x="892" y="58"/>
                  </a:lnTo>
                  <a:lnTo>
                    <a:pt x="884" y="60"/>
                  </a:lnTo>
                  <a:lnTo>
                    <a:pt x="874" y="64"/>
                  </a:lnTo>
                  <a:lnTo>
                    <a:pt x="862" y="72"/>
                  </a:lnTo>
                  <a:lnTo>
                    <a:pt x="856" y="78"/>
                  </a:lnTo>
                  <a:lnTo>
                    <a:pt x="854" y="82"/>
                  </a:lnTo>
                  <a:lnTo>
                    <a:pt x="854" y="88"/>
                  </a:lnTo>
                  <a:lnTo>
                    <a:pt x="858" y="92"/>
                  </a:lnTo>
                  <a:lnTo>
                    <a:pt x="862" y="98"/>
                  </a:lnTo>
                  <a:lnTo>
                    <a:pt x="872" y="112"/>
                  </a:lnTo>
                  <a:lnTo>
                    <a:pt x="878" y="116"/>
                  </a:lnTo>
                  <a:lnTo>
                    <a:pt x="884" y="118"/>
                  </a:lnTo>
                  <a:lnTo>
                    <a:pt x="890" y="114"/>
                  </a:lnTo>
                  <a:lnTo>
                    <a:pt x="894" y="110"/>
                  </a:lnTo>
                  <a:lnTo>
                    <a:pt x="902" y="104"/>
                  </a:lnTo>
                  <a:lnTo>
                    <a:pt x="902" y="108"/>
                  </a:lnTo>
                  <a:close/>
                  <a:moveTo>
                    <a:pt x="1272" y="818"/>
                  </a:moveTo>
                  <a:lnTo>
                    <a:pt x="1272" y="818"/>
                  </a:lnTo>
                  <a:lnTo>
                    <a:pt x="1272" y="816"/>
                  </a:lnTo>
                  <a:lnTo>
                    <a:pt x="1270" y="814"/>
                  </a:lnTo>
                  <a:lnTo>
                    <a:pt x="1266" y="812"/>
                  </a:lnTo>
                  <a:lnTo>
                    <a:pt x="1264" y="814"/>
                  </a:lnTo>
                  <a:lnTo>
                    <a:pt x="1264" y="818"/>
                  </a:lnTo>
                  <a:lnTo>
                    <a:pt x="1264" y="820"/>
                  </a:lnTo>
                  <a:lnTo>
                    <a:pt x="1272" y="818"/>
                  </a:lnTo>
                  <a:close/>
                  <a:moveTo>
                    <a:pt x="1168" y="848"/>
                  </a:moveTo>
                  <a:lnTo>
                    <a:pt x="1168" y="848"/>
                  </a:lnTo>
                  <a:lnTo>
                    <a:pt x="1176" y="848"/>
                  </a:lnTo>
                  <a:lnTo>
                    <a:pt x="1180" y="848"/>
                  </a:lnTo>
                  <a:lnTo>
                    <a:pt x="1182" y="844"/>
                  </a:lnTo>
                  <a:lnTo>
                    <a:pt x="1184" y="840"/>
                  </a:lnTo>
                  <a:lnTo>
                    <a:pt x="1190" y="836"/>
                  </a:lnTo>
                  <a:lnTo>
                    <a:pt x="1192" y="834"/>
                  </a:lnTo>
                  <a:lnTo>
                    <a:pt x="1192" y="832"/>
                  </a:lnTo>
                  <a:lnTo>
                    <a:pt x="1192" y="830"/>
                  </a:lnTo>
                  <a:lnTo>
                    <a:pt x="1188" y="828"/>
                  </a:lnTo>
                  <a:lnTo>
                    <a:pt x="1182" y="826"/>
                  </a:lnTo>
                  <a:lnTo>
                    <a:pt x="1180" y="826"/>
                  </a:lnTo>
                  <a:lnTo>
                    <a:pt x="1180" y="828"/>
                  </a:lnTo>
                  <a:lnTo>
                    <a:pt x="1176" y="830"/>
                  </a:lnTo>
                  <a:lnTo>
                    <a:pt x="1174" y="830"/>
                  </a:lnTo>
                  <a:lnTo>
                    <a:pt x="1172" y="832"/>
                  </a:lnTo>
                  <a:lnTo>
                    <a:pt x="1170" y="832"/>
                  </a:lnTo>
                  <a:lnTo>
                    <a:pt x="1166" y="832"/>
                  </a:lnTo>
                  <a:lnTo>
                    <a:pt x="1164" y="832"/>
                  </a:lnTo>
                  <a:lnTo>
                    <a:pt x="1162" y="834"/>
                  </a:lnTo>
                  <a:lnTo>
                    <a:pt x="1162" y="838"/>
                  </a:lnTo>
                  <a:lnTo>
                    <a:pt x="1160" y="842"/>
                  </a:lnTo>
                  <a:lnTo>
                    <a:pt x="1156" y="842"/>
                  </a:lnTo>
                  <a:lnTo>
                    <a:pt x="1154" y="842"/>
                  </a:lnTo>
                  <a:lnTo>
                    <a:pt x="1152" y="844"/>
                  </a:lnTo>
                  <a:lnTo>
                    <a:pt x="1152" y="846"/>
                  </a:lnTo>
                  <a:lnTo>
                    <a:pt x="1154" y="848"/>
                  </a:lnTo>
                  <a:lnTo>
                    <a:pt x="1168" y="848"/>
                  </a:lnTo>
                  <a:close/>
                  <a:moveTo>
                    <a:pt x="1214" y="822"/>
                  </a:moveTo>
                  <a:lnTo>
                    <a:pt x="1214" y="822"/>
                  </a:lnTo>
                  <a:lnTo>
                    <a:pt x="1218" y="816"/>
                  </a:lnTo>
                  <a:lnTo>
                    <a:pt x="1218" y="814"/>
                  </a:lnTo>
                  <a:lnTo>
                    <a:pt x="1216" y="814"/>
                  </a:lnTo>
                  <a:lnTo>
                    <a:pt x="1212" y="812"/>
                  </a:lnTo>
                  <a:lnTo>
                    <a:pt x="1208" y="814"/>
                  </a:lnTo>
                  <a:lnTo>
                    <a:pt x="1206" y="814"/>
                  </a:lnTo>
                  <a:lnTo>
                    <a:pt x="1202" y="812"/>
                  </a:lnTo>
                  <a:lnTo>
                    <a:pt x="1198" y="810"/>
                  </a:lnTo>
                  <a:lnTo>
                    <a:pt x="1196" y="812"/>
                  </a:lnTo>
                  <a:lnTo>
                    <a:pt x="1192" y="814"/>
                  </a:lnTo>
                  <a:lnTo>
                    <a:pt x="1190" y="814"/>
                  </a:lnTo>
                  <a:lnTo>
                    <a:pt x="1188" y="814"/>
                  </a:lnTo>
                  <a:lnTo>
                    <a:pt x="1188" y="816"/>
                  </a:lnTo>
                  <a:lnTo>
                    <a:pt x="1184" y="820"/>
                  </a:lnTo>
                  <a:lnTo>
                    <a:pt x="1182" y="822"/>
                  </a:lnTo>
                  <a:lnTo>
                    <a:pt x="1184" y="824"/>
                  </a:lnTo>
                  <a:lnTo>
                    <a:pt x="1190" y="824"/>
                  </a:lnTo>
                  <a:lnTo>
                    <a:pt x="1196" y="828"/>
                  </a:lnTo>
                  <a:lnTo>
                    <a:pt x="1200" y="830"/>
                  </a:lnTo>
                  <a:lnTo>
                    <a:pt x="1204" y="830"/>
                  </a:lnTo>
                  <a:lnTo>
                    <a:pt x="1214" y="822"/>
                  </a:lnTo>
                  <a:close/>
                  <a:moveTo>
                    <a:pt x="1352" y="792"/>
                  </a:moveTo>
                  <a:lnTo>
                    <a:pt x="1352" y="792"/>
                  </a:lnTo>
                  <a:lnTo>
                    <a:pt x="1348" y="790"/>
                  </a:lnTo>
                  <a:lnTo>
                    <a:pt x="1344" y="788"/>
                  </a:lnTo>
                  <a:lnTo>
                    <a:pt x="1338" y="788"/>
                  </a:lnTo>
                  <a:lnTo>
                    <a:pt x="1330" y="790"/>
                  </a:lnTo>
                  <a:lnTo>
                    <a:pt x="1328" y="792"/>
                  </a:lnTo>
                  <a:lnTo>
                    <a:pt x="1330" y="794"/>
                  </a:lnTo>
                  <a:lnTo>
                    <a:pt x="1340" y="798"/>
                  </a:lnTo>
                  <a:lnTo>
                    <a:pt x="1350" y="796"/>
                  </a:lnTo>
                  <a:lnTo>
                    <a:pt x="1352" y="796"/>
                  </a:lnTo>
                  <a:lnTo>
                    <a:pt x="1352" y="792"/>
                  </a:lnTo>
                  <a:close/>
                  <a:moveTo>
                    <a:pt x="1326" y="780"/>
                  </a:moveTo>
                  <a:lnTo>
                    <a:pt x="1326" y="780"/>
                  </a:lnTo>
                  <a:lnTo>
                    <a:pt x="1330" y="778"/>
                  </a:lnTo>
                  <a:lnTo>
                    <a:pt x="1334" y="776"/>
                  </a:lnTo>
                  <a:lnTo>
                    <a:pt x="1338" y="776"/>
                  </a:lnTo>
                  <a:lnTo>
                    <a:pt x="1342" y="776"/>
                  </a:lnTo>
                  <a:lnTo>
                    <a:pt x="1346" y="778"/>
                  </a:lnTo>
                  <a:lnTo>
                    <a:pt x="1350" y="776"/>
                  </a:lnTo>
                  <a:lnTo>
                    <a:pt x="1364" y="766"/>
                  </a:lnTo>
                  <a:lnTo>
                    <a:pt x="1372" y="760"/>
                  </a:lnTo>
                  <a:lnTo>
                    <a:pt x="1372" y="758"/>
                  </a:lnTo>
                  <a:lnTo>
                    <a:pt x="1372" y="756"/>
                  </a:lnTo>
                  <a:lnTo>
                    <a:pt x="1368" y="756"/>
                  </a:lnTo>
                  <a:lnTo>
                    <a:pt x="1362" y="756"/>
                  </a:lnTo>
                  <a:lnTo>
                    <a:pt x="1356" y="758"/>
                  </a:lnTo>
                  <a:lnTo>
                    <a:pt x="1358" y="760"/>
                  </a:lnTo>
                  <a:lnTo>
                    <a:pt x="1358" y="762"/>
                  </a:lnTo>
                  <a:lnTo>
                    <a:pt x="1356" y="764"/>
                  </a:lnTo>
                  <a:lnTo>
                    <a:pt x="1350" y="762"/>
                  </a:lnTo>
                  <a:lnTo>
                    <a:pt x="1348" y="762"/>
                  </a:lnTo>
                  <a:lnTo>
                    <a:pt x="1346" y="762"/>
                  </a:lnTo>
                  <a:lnTo>
                    <a:pt x="1342" y="766"/>
                  </a:lnTo>
                  <a:lnTo>
                    <a:pt x="1342" y="770"/>
                  </a:lnTo>
                  <a:lnTo>
                    <a:pt x="1340" y="768"/>
                  </a:lnTo>
                  <a:lnTo>
                    <a:pt x="1338" y="766"/>
                  </a:lnTo>
                  <a:lnTo>
                    <a:pt x="1332" y="766"/>
                  </a:lnTo>
                  <a:lnTo>
                    <a:pt x="1318" y="770"/>
                  </a:lnTo>
                  <a:lnTo>
                    <a:pt x="1314" y="774"/>
                  </a:lnTo>
                  <a:lnTo>
                    <a:pt x="1318" y="776"/>
                  </a:lnTo>
                  <a:lnTo>
                    <a:pt x="1320" y="776"/>
                  </a:lnTo>
                  <a:lnTo>
                    <a:pt x="1322" y="778"/>
                  </a:lnTo>
                  <a:lnTo>
                    <a:pt x="1320" y="780"/>
                  </a:lnTo>
                  <a:lnTo>
                    <a:pt x="1326" y="780"/>
                  </a:lnTo>
                  <a:close/>
                  <a:moveTo>
                    <a:pt x="1414" y="220"/>
                  </a:moveTo>
                  <a:lnTo>
                    <a:pt x="1414" y="220"/>
                  </a:lnTo>
                  <a:lnTo>
                    <a:pt x="1408" y="216"/>
                  </a:lnTo>
                  <a:lnTo>
                    <a:pt x="1402" y="216"/>
                  </a:lnTo>
                  <a:lnTo>
                    <a:pt x="1392" y="218"/>
                  </a:lnTo>
                  <a:lnTo>
                    <a:pt x="1388" y="220"/>
                  </a:lnTo>
                  <a:lnTo>
                    <a:pt x="1382" y="220"/>
                  </a:lnTo>
                  <a:lnTo>
                    <a:pt x="1374" y="218"/>
                  </a:lnTo>
                  <a:lnTo>
                    <a:pt x="1364" y="214"/>
                  </a:lnTo>
                  <a:lnTo>
                    <a:pt x="1356" y="208"/>
                  </a:lnTo>
                  <a:lnTo>
                    <a:pt x="1354" y="204"/>
                  </a:lnTo>
                  <a:lnTo>
                    <a:pt x="1356" y="200"/>
                  </a:lnTo>
                  <a:lnTo>
                    <a:pt x="1360" y="198"/>
                  </a:lnTo>
                  <a:lnTo>
                    <a:pt x="1370" y="194"/>
                  </a:lnTo>
                  <a:lnTo>
                    <a:pt x="1370" y="192"/>
                  </a:lnTo>
                  <a:lnTo>
                    <a:pt x="1366" y="190"/>
                  </a:lnTo>
                  <a:lnTo>
                    <a:pt x="1354" y="188"/>
                  </a:lnTo>
                  <a:lnTo>
                    <a:pt x="1336" y="188"/>
                  </a:lnTo>
                  <a:lnTo>
                    <a:pt x="1316" y="188"/>
                  </a:lnTo>
                  <a:lnTo>
                    <a:pt x="1296" y="190"/>
                  </a:lnTo>
                  <a:lnTo>
                    <a:pt x="1280" y="194"/>
                  </a:lnTo>
                  <a:lnTo>
                    <a:pt x="1274" y="196"/>
                  </a:lnTo>
                  <a:lnTo>
                    <a:pt x="1270" y="198"/>
                  </a:lnTo>
                  <a:lnTo>
                    <a:pt x="1270" y="202"/>
                  </a:lnTo>
                  <a:lnTo>
                    <a:pt x="1272" y="204"/>
                  </a:lnTo>
                  <a:lnTo>
                    <a:pt x="1276" y="208"/>
                  </a:lnTo>
                  <a:lnTo>
                    <a:pt x="1286" y="212"/>
                  </a:lnTo>
                  <a:lnTo>
                    <a:pt x="1292" y="214"/>
                  </a:lnTo>
                  <a:lnTo>
                    <a:pt x="1292" y="216"/>
                  </a:lnTo>
                  <a:lnTo>
                    <a:pt x="1292" y="218"/>
                  </a:lnTo>
                  <a:lnTo>
                    <a:pt x="1286" y="224"/>
                  </a:lnTo>
                  <a:lnTo>
                    <a:pt x="1272" y="236"/>
                  </a:lnTo>
                  <a:lnTo>
                    <a:pt x="1264" y="242"/>
                  </a:lnTo>
                  <a:lnTo>
                    <a:pt x="1262" y="246"/>
                  </a:lnTo>
                  <a:lnTo>
                    <a:pt x="1264" y="248"/>
                  </a:lnTo>
                  <a:lnTo>
                    <a:pt x="1270" y="250"/>
                  </a:lnTo>
                  <a:lnTo>
                    <a:pt x="1288" y="250"/>
                  </a:lnTo>
                  <a:lnTo>
                    <a:pt x="1314" y="246"/>
                  </a:lnTo>
                  <a:lnTo>
                    <a:pt x="1324" y="248"/>
                  </a:lnTo>
                  <a:lnTo>
                    <a:pt x="1328" y="248"/>
                  </a:lnTo>
                  <a:lnTo>
                    <a:pt x="1328" y="250"/>
                  </a:lnTo>
                  <a:lnTo>
                    <a:pt x="1328" y="256"/>
                  </a:lnTo>
                  <a:lnTo>
                    <a:pt x="1328" y="260"/>
                  </a:lnTo>
                  <a:lnTo>
                    <a:pt x="1326" y="264"/>
                  </a:lnTo>
                  <a:lnTo>
                    <a:pt x="1326" y="266"/>
                  </a:lnTo>
                  <a:lnTo>
                    <a:pt x="1328" y="266"/>
                  </a:lnTo>
                  <a:lnTo>
                    <a:pt x="1336" y="266"/>
                  </a:lnTo>
                  <a:lnTo>
                    <a:pt x="1350" y="260"/>
                  </a:lnTo>
                  <a:lnTo>
                    <a:pt x="1376" y="250"/>
                  </a:lnTo>
                  <a:lnTo>
                    <a:pt x="1402" y="238"/>
                  </a:lnTo>
                  <a:lnTo>
                    <a:pt x="1412" y="234"/>
                  </a:lnTo>
                  <a:lnTo>
                    <a:pt x="1418" y="228"/>
                  </a:lnTo>
                  <a:lnTo>
                    <a:pt x="1420" y="226"/>
                  </a:lnTo>
                  <a:lnTo>
                    <a:pt x="1420" y="224"/>
                  </a:lnTo>
                  <a:lnTo>
                    <a:pt x="1418" y="222"/>
                  </a:lnTo>
                  <a:lnTo>
                    <a:pt x="1414" y="220"/>
                  </a:lnTo>
                  <a:close/>
                  <a:moveTo>
                    <a:pt x="1370" y="792"/>
                  </a:moveTo>
                  <a:lnTo>
                    <a:pt x="1370" y="792"/>
                  </a:lnTo>
                  <a:lnTo>
                    <a:pt x="1378" y="782"/>
                  </a:lnTo>
                  <a:lnTo>
                    <a:pt x="1380" y="776"/>
                  </a:lnTo>
                  <a:lnTo>
                    <a:pt x="1378" y="774"/>
                  </a:lnTo>
                  <a:lnTo>
                    <a:pt x="1376" y="772"/>
                  </a:lnTo>
                  <a:lnTo>
                    <a:pt x="1372" y="770"/>
                  </a:lnTo>
                  <a:lnTo>
                    <a:pt x="1370" y="774"/>
                  </a:lnTo>
                  <a:lnTo>
                    <a:pt x="1362" y="776"/>
                  </a:lnTo>
                  <a:lnTo>
                    <a:pt x="1354" y="780"/>
                  </a:lnTo>
                  <a:lnTo>
                    <a:pt x="1350" y="784"/>
                  </a:lnTo>
                  <a:lnTo>
                    <a:pt x="1350" y="786"/>
                  </a:lnTo>
                  <a:lnTo>
                    <a:pt x="1350" y="788"/>
                  </a:lnTo>
                  <a:lnTo>
                    <a:pt x="1356" y="792"/>
                  </a:lnTo>
                  <a:lnTo>
                    <a:pt x="1364" y="794"/>
                  </a:lnTo>
                  <a:lnTo>
                    <a:pt x="1366" y="794"/>
                  </a:lnTo>
                  <a:lnTo>
                    <a:pt x="1370" y="792"/>
                  </a:lnTo>
                  <a:close/>
                  <a:moveTo>
                    <a:pt x="1388" y="762"/>
                  </a:moveTo>
                  <a:lnTo>
                    <a:pt x="1388" y="762"/>
                  </a:lnTo>
                  <a:lnTo>
                    <a:pt x="1384" y="762"/>
                  </a:lnTo>
                  <a:lnTo>
                    <a:pt x="1380" y="764"/>
                  </a:lnTo>
                  <a:lnTo>
                    <a:pt x="1380" y="766"/>
                  </a:lnTo>
                  <a:lnTo>
                    <a:pt x="1380" y="770"/>
                  </a:lnTo>
                  <a:lnTo>
                    <a:pt x="1384" y="776"/>
                  </a:lnTo>
                  <a:lnTo>
                    <a:pt x="1386" y="778"/>
                  </a:lnTo>
                  <a:lnTo>
                    <a:pt x="1388" y="778"/>
                  </a:lnTo>
                  <a:lnTo>
                    <a:pt x="1394" y="776"/>
                  </a:lnTo>
                  <a:lnTo>
                    <a:pt x="1396" y="772"/>
                  </a:lnTo>
                  <a:lnTo>
                    <a:pt x="1396" y="770"/>
                  </a:lnTo>
                  <a:lnTo>
                    <a:pt x="1396" y="766"/>
                  </a:lnTo>
                  <a:lnTo>
                    <a:pt x="1392" y="764"/>
                  </a:lnTo>
                  <a:lnTo>
                    <a:pt x="1388" y="762"/>
                  </a:lnTo>
                  <a:close/>
                  <a:moveTo>
                    <a:pt x="1264" y="804"/>
                  </a:moveTo>
                  <a:lnTo>
                    <a:pt x="1264" y="804"/>
                  </a:lnTo>
                  <a:lnTo>
                    <a:pt x="1264" y="800"/>
                  </a:lnTo>
                  <a:lnTo>
                    <a:pt x="1262" y="798"/>
                  </a:lnTo>
                  <a:lnTo>
                    <a:pt x="1258" y="798"/>
                  </a:lnTo>
                  <a:lnTo>
                    <a:pt x="1252" y="802"/>
                  </a:lnTo>
                  <a:lnTo>
                    <a:pt x="1248" y="804"/>
                  </a:lnTo>
                  <a:lnTo>
                    <a:pt x="1248" y="808"/>
                  </a:lnTo>
                  <a:lnTo>
                    <a:pt x="1250" y="810"/>
                  </a:lnTo>
                  <a:lnTo>
                    <a:pt x="1254" y="812"/>
                  </a:lnTo>
                  <a:lnTo>
                    <a:pt x="1260" y="814"/>
                  </a:lnTo>
                  <a:lnTo>
                    <a:pt x="1262" y="812"/>
                  </a:lnTo>
                  <a:lnTo>
                    <a:pt x="1264" y="804"/>
                  </a:lnTo>
                  <a:close/>
                  <a:moveTo>
                    <a:pt x="1102" y="904"/>
                  </a:moveTo>
                  <a:lnTo>
                    <a:pt x="1102" y="904"/>
                  </a:lnTo>
                  <a:lnTo>
                    <a:pt x="1102" y="908"/>
                  </a:lnTo>
                  <a:lnTo>
                    <a:pt x="1104" y="908"/>
                  </a:lnTo>
                  <a:lnTo>
                    <a:pt x="1112" y="908"/>
                  </a:lnTo>
                  <a:lnTo>
                    <a:pt x="1114" y="906"/>
                  </a:lnTo>
                  <a:lnTo>
                    <a:pt x="1112" y="902"/>
                  </a:lnTo>
                  <a:lnTo>
                    <a:pt x="1106" y="902"/>
                  </a:lnTo>
                  <a:lnTo>
                    <a:pt x="1104" y="902"/>
                  </a:lnTo>
                  <a:lnTo>
                    <a:pt x="1102" y="904"/>
                  </a:lnTo>
                  <a:close/>
                  <a:moveTo>
                    <a:pt x="1116" y="898"/>
                  </a:moveTo>
                  <a:lnTo>
                    <a:pt x="1116" y="898"/>
                  </a:lnTo>
                  <a:lnTo>
                    <a:pt x="1120" y="900"/>
                  </a:lnTo>
                  <a:lnTo>
                    <a:pt x="1122" y="898"/>
                  </a:lnTo>
                  <a:lnTo>
                    <a:pt x="1124" y="896"/>
                  </a:lnTo>
                  <a:lnTo>
                    <a:pt x="1124" y="894"/>
                  </a:lnTo>
                  <a:lnTo>
                    <a:pt x="1120" y="892"/>
                  </a:lnTo>
                  <a:lnTo>
                    <a:pt x="1116" y="894"/>
                  </a:lnTo>
                  <a:lnTo>
                    <a:pt x="1114" y="896"/>
                  </a:lnTo>
                  <a:lnTo>
                    <a:pt x="1116" y="898"/>
                  </a:lnTo>
                  <a:close/>
                  <a:moveTo>
                    <a:pt x="1150" y="850"/>
                  </a:moveTo>
                  <a:lnTo>
                    <a:pt x="1150" y="850"/>
                  </a:lnTo>
                  <a:lnTo>
                    <a:pt x="1148" y="850"/>
                  </a:lnTo>
                  <a:lnTo>
                    <a:pt x="1148" y="848"/>
                  </a:lnTo>
                  <a:lnTo>
                    <a:pt x="1146" y="846"/>
                  </a:lnTo>
                  <a:lnTo>
                    <a:pt x="1144" y="846"/>
                  </a:lnTo>
                  <a:lnTo>
                    <a:pt x="1142" y="848"/>
                  </a:lnTo>
                  <a:lnTo>
                    <a:pt x="1140" y="846"/>
                  </a:lnTo>
                  <a:lnTo>
                    <a:pt x="1138" y="844"/>
                  </a:lnTo>
                  <a:lnTo>
                    <a:pt x="1136" y="846"/>
                  </a:lnTo>
                  <a:lnTo>
                    <a:pt x="1136" y="848"/>
                  </a:lnTo>
                  <a:lnTo>
                    <a:pt x="1132" y="848"/>
                  </a:lnTo>
                  <a:lnTo>
                    <a:pt x="1130" y="846"/>
                  </a:lnTo>
                  <a:lnTo>
                    <a:pt x="1130" y="850"/>
                  </a:lnTo>
                  <a:lnTo>
                    <a:pt x="1130" y="852"/>
                  </a:lnTo>
                  <a:lnTo>
                    <a:pt x="1128" y="850"/>
                  </a:lnTo>
                  <a:lnTo>
                    <a:pt x="1124" y="850"/>
                  </a:lnTo>
                  <a:lnTo>
                    <a:pt x="1120" y="850"/>
                  </a:lnTo>
                  <a:lnTo>
                    <a:pt x="1118" y="854"/>
                  </a:lnTo>
                  <a:lnTo>
                    <a:pt x="1120" y="856"/>
                  </a:lnTo>
                  <a:lnTo>
                    <a:pt x="1124" y="856"/>
                  </a:lnTo>
                  <a:lnTo>
                    <a:pt x="1124" y="858"/>
                  </a:lnTo>
                  <a:lnTo>
                    <a:pt x="1120" y="860"/>
                  </a:lnTo>
                  <a:lnTo>
                    <a:pt x="1114" y="860"/>
                  </a:lnTo>
                  <a:lnTo>
                    <a:pt x="1108" y="860"/>
                  </a:lnTo>
                  <a:lnTo>
                    <a:pt x="1108" y="862"/>
                  </a:lnTo>
                  <a:lnTo>
                    <a:pt x="1110" y="862"/>
                  </a:lnTo>
                  <a:lnTo>
                    <a:pt x="1110" y="864"/>
                  </a:lnTo>
                  <a:lnTo>
                    <a:pt x="1108" y="866"/>
                  </a:lnTo>
                  <a:lnTo>
                    <a:pt x="1106" y="866"/>
                  </a:lnTo>
                  <a:lnTo>
                    <a:pt x="1108" y="868"/>
                  </a:lnTo>
                  <a:lnTo>
                    <a:pt x="1110" y="870"/>
                  </a:lnTo>
                  <a:lnTo>
                    <a:pt x="1108" y="870"/>
                  </a:lnTo>
                  <a:lnTo>
                    <a:pt x="1108" y="872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8" y="878"/>
                  </a:lnTo>
                  <a:lnTo>
                    <a:pt x="1106" y="880"/>
                  </a:lnTo>
                  <a:lnTo>
                    <a:pt x="1104" y="882"/>
                  </a:lnTo>
                  <a:lnTo>
                    <a:pt x="1108" y="884"/>
                  </a:lnTo>
                  <a:lnTo>
                    <a:pt x="1114" y="884"/>
                  </a:lnTo>
                  <a:lnTo>
                    <a:pt x="1114" y="886"/>
                  </a:lnTo>
                  <a:lnTo>
                    <a:pt x="1114" y="888"/>
                  </a:lnTo>
                  <a:lnTo>
                    <a:pt x="1116" y="888"/>
                  </a:lnTo>
                  <a:lnTo>
                    <a:pt x="1120" y="884"/>
                  </a:lnTo>
                  <a:lnTo>
                    <a:pt x="1122" y="880"/>
                  </a:lnTo>
                  <a:lnTo>
                    <a:pt x="1126" y="876"/>
                  </a:lnTo>
                  <a:lnTo>
                    <a:pt x="1130" y="874"/>
                  </a:lnTo>
                  <a:lnTo>
                    <a:pt x="1132" y="876"/>
                  </a:lnTo>
                  <a:lnTo>
                    <a:pt x="1132" y="878"/>
                  </a:lnTo>
                  <a:lnTo>
                    <a:pt x="1134" y="878"/>
                  </a:lnTo>
                  <a:lnTo>
                    <a:pt x="1142" y="878"/>
                  </a:lnTo>
                  <a:lnTo>
                    <a:pt x="1146" y="876"/>
                  </a:lnTo>
                  <a:lnTo>
                    <a:pt x="1148" y="874"/>
                  </a:lnTo>
                  <a:lnTo>
                    <a:pt x="1146" y="870"/>
                  </a:lnTo>
                  <a:lnTo>
                    <a:pt x="1146" y="866"/>
                  </a:lnTo>
                  <a:lnTo>
                    <a:pt x="1148" y="864"/>
                  </a:lnTo>
                  <a:lnTo>
                    <a:pt x="1150" y="862"/>
                  </a:lnTo>
                  <a:lnTo>
                    <a:pt x="1150" y="860"/>
                  </a:lnTo>
                  <a:lnTo>
                    <a:pt x="1152" y="852"/>
                  </a:lnTo>
                  <a:lnTo>
                    <a:pt x="1152" y="850"/>
                  </a:lnTo>
                  <a:lnTo>
                    <a:pt x="1150" y="850"/>
                  </a:lnTo>
                  <a:close/>
                  <a:moveTo>
                    <a:pt x="1254" y="830"/>
                  </a:moveTo>
                  <a:lnTo>
                    <a:pt x="1254" y="830"/>
                  </a:lnTo>
                  <a:lnTo>
                    <a:pt x="1260" y="826"/>
                  </a:lnTo>
                  <a:lnTo>
                    <a:pt x="1262" y="824"/>
                  </a:lnTo>
                  <a:lnTo>
                    <a:pt x="1260" y="820"/>
                  </a:lnTo>
                  <a:lnTo>
                    <a:pt x="1258" y="822"/>
                  </a:lnTo>
                  <a:lnTo>
                    <a:pt x="1256" y="826"/>
                  </a:lnTo>
                  <a:lnTo>
                    <a:pt x="1254" y="830"/>
                  </a:lnTo>
                  <a:close/>
                  <a:moveTo>
                    <a:pt x="1226" y="818"/>
                  </a:moveTo>
                  <a:lnTo>
                    <a:pt x="1226" y="818"/>
                  </a:lnTo>
                  <a:lnTo>
                    <a:pt x="1222" y="818"/>
                  </a:lnTo>
                  <a:lnTo>
                    <a:pt x="1218" y="820"/>
                  </a:lnTo>
                  <a:lnTo>
                    <a:pt x="1214" y="826"/>
                  </a:lnTo>
                  <a:lnTo>
                    <a:pt x="1216" y="826"/>
                  </a:lnTo>
                  <a:lnTo>
                    <a:pt x="1220" y="824"/>
                  </a:lnTo>
                  <a:lnTo>
                    <a:pt x="1224" y="822"/>
                  </a:lnTo>
                  <a:lnTo>
                    <a:pt x="1226" y="818"/>
                  </a:lnTo>
                  <a:close/>
                  <a:moveTo>
                    <a:pt x="1074" y="928"/>
                  </a:moveTo>
                  <a:lnTo>
                    <a:pt x="1074" y="928"/>
                  </a:lnTo>
                  <a:lnTo>
                    <a:pt x="1074" y="930"/>
                  </a:lnTo>
                  <a:lnTo>
                    <a:pt x="1074" y="932"/>
                  </a:lnTo>
                  <a:lnTo>
                    <a:pt x="1078" y="932"/>
                  </a:lnTo>
                  <a:lnTo>
                    <a:pt x="1082" y="930"/>
                  </a:lnTo>
                  <a:lnTo>
                    <a:pt x="1084" y="926"/>
                  </a:lnTo>
                  <a:lnTo>
                    <a:pt x="1084" y="924"/>
                  </a:lnTo>
                  <a:lnTo>
                    <a:pt x="1080" y="924"/>
                  </a:lnTo>
                  <a:lnTo>
                    <a:pt x="1076" y="924"/>
                  </a:lnTo>
                  <a:lnTo>
                    <a:pt x="1074" y="928"/>
                  </a:lnTo>
                  <a:close/>
                  <a:moveTo>
                    <a:pt x="772" y="1274"/>
                  </a:moveTo>
                  <a:lnTo>
                    <a:pt x="772" y="1274"/>
                  </a:lnTo>
                  <a:lnTo>
                    <a:pt x="784" y="1270"/>
                  </a:lnTo>
                  <a:lnTo>
                    <a:pt x="788" y="1270"/>
                  </a:lnTo>
                  <a:lnTo>
                    <a:pt x="790" y="1268"/>
                  </a:lnTo>
                  <a:lnTo>
                    <a:pt x="790" y="1266"/>
                  </a:lnTo>
                  <a:lnTo>
                    <a:pt x="788" y="1264"/>
                  </a:lnTo>
                  <a:lnTo>
                    <a:pt x="786" y="1264"/>
                  </a:lnTo>
                  <a:lnTo>
                    <a:pt x="784" y="1262"/>
                  </a:lnTo>
                  <a:lnTo>
                    <a:pt x="784" y="1260"/>
                  </a:lnTo>
                  <a:lnTo>
                    <a:pt x="778" y="1262"/>
                  </a:lnTo>
                  <a:lnTo>
                    <a:pt x="768" y="1266"/>
                  </a:lnTo>
                  <a:lnTo>
                    <a:pt x="760" y="1268"/>
                  </a:lnTo>
                  <a:lnTo>
                    <a:pt x="758" y="1270"/>
                  </a:lnTo>
                  <a:lnTo>
                    <a:pt x="756" y="1274"/>
                  </a:lnTo>
                  <a:lnTo>
                    <a:pt x="758" y="1276"/>
                  </a:lnTo>
                  <a:lnTo>
                    <a:pt x="760" y="1276"/>
                  </a:lnTo>
                  <a:lnTo>
                    <a:pt x="772" y="1274"/>
                  </a:lnTo>
                  <a:close/>
                  <a:moveTo>
                    <a:pt x="776" y="1258"/>
                  </a:moveTo>
                  <a:lnTo>
                    <a:pt x="776" y="1258"/>
                  </a:lnTo>
                  <a:lnTo>
                    <a:pt x="780" y="1256"/>
                  </a:lnTo>
                  <a:lnTo>
                    <a:pt x="778" y="1252"/>
                  </a:lnTo>
                  <a:lnTo>
                    <a:pt x="776" y="1250"/>
                  </a:lnTo>
                  <a:lnTo>
                    <a:pt x="774" y="1252"/>
                  </a:lnTo>
                  <a:lnTo>
                    <a:pt x="772" y="1254"/>
                  </a:lnTo>
                  <a:lnTo>
                    <a:pt x="764" y="1256"/>
                  </a:lnTo>
                  <a:lnTo>
                    <a:pt x="760" y="1258"/>
                  </a:lnTo>
                  <a:lnTo>
                    <a:pt x="758" y="1258"/>
                  </a:lnTo>
                  <a:lnTo>
                    <a:pt x="758" y="1260"/>
                  </a:lnTo>
                  <a:lnTo>
                    <a:pt x="764" y="1260"/>
                  </a:lnTo>
                  <a:lnTo>
                    <a:pt x="776" y="1258"/>
                  </a:lnTo>
                  <a:close/>
                  <a:moveTo>
                    <a:pt x="892" y="180"/>
                  </a:moveTo>
                  <a:lnTo>
                    <a:pt x="892" y="180"/>
                  </a:lnTo>
                  <a:lnTo>
                    <a:pt x="904" y="186"/>
                  </a:lnTo>
                  <a:lnTo>
                    <a:pt x="912" y="188"/>
                  </a:lnTo>
                  <a:lnTo>
                    <a:pt x="912" y="186"/>
                  </a:lnTo>
                  <a:lnTo>
                    <a:pt x="910" y="182"/>
                  </a:lnTo>
                  <a:lnTo>
                    <a:pt x="906" y="176"/>
                  </a:lnTo>
                  <a:lnTo>
                    <a:pt x="900" y="170"/>
                  </a:lnTo>
                  <a:lnTo>
                    <a:pt x="894" y="164"/>
                  </a:lnTo>
                  <a:lnTo>
                    <a:pt x="888" y="164"/>
                  </a:lnTo>
                  <a:lnTo>
                    <a:pt x="882" y="162"/>
                  </a:lnTo>
                  <a:lnTo>
                    <a:pt x="878" y="158"/>
                  </a:lnTo>
                  <a:lnTo>
                    <a:pt x="870" y="144"/>
                  </a:lnTo>
                  <a:lnTo>
                    <a:pt x="866" y="138"/>
                  </a:lnTo>
                  <a:lnTo>
                    <a:pt x="860" y="134"/>
                  </a:lnTo>
                  <a:lnTo>
                    <a:pt x="856" y="132"/>
                  </a:lnTo>
                  <a:lnTo>
                    <a:pt x="850" y="132"/>
                  </a:lnTo>
                  <a:lnTo>
                    <a:pt x="846" y="136"/>
                  </a:lnTo>
                  <a:lnTo>
                    <a:pt x="846" y="142"/>
                  </a:lnTo>
                  <a:lnTo>
                    <a:pt x="860" y="164"/>
                  </a:lnTo>
                  <a:lnTo>
                    <a:pt x="866" y="174"/>
                  </a:lnTo>
                  <a:lnTo>
                    <a:pt x="868" y="174"/>
                  </a:lnTo>
                  <a:lnTo>
                    <a:pt x="870" y="174"/>
                  </a:lnTo>
                  <a:lnTo>
                    <a:pt x="872" y="172"/>
                  </a:lnTo>
                  <a:lnTo>
                    <a:pt x="876" y="172"/>
                  </a:lnTo>
                  <a:lnTo>
                    <a:pt x="884" y="174"/>
                  </a:lnTo>
                  <a:lnTo>
                    <a:pt x="892" y="180"/>
                  </a:lnTo>
                  <a:close/>
                  <a:moveTo>
                    <a:pt x="1006" y="948"/>
                  </a:moveTo>
                  <a:lnTo>
                    <a:pt x="1006" y="948"/>
                  </a:lnTo>
                  <a:lnTo>
                    <a:pt x="1016" y="944"/>
                  </a:lnTo>
                  <a:lnTo>
                    <a:pt x="1026" y="934"/>
                  </a:lnTo>
                  <a:lnTo>
                    <a:pt x="1030" y="932"/>
                  </a:lnTo>
                  <a:lnTo>
                    <a:pt x="1030" y="930"/>
                  </a:lnTo>
                  <a:lnTo>
                    <a:pt x="1026" y="930"/>
                  </a:lnTo>
                  <a:lnTo>
                    <a:pt x="1018" y="930"/>
                  </a:lnTo>
                  <a:lnTo>
                    <a:pt x="1008" y="932"/>
                  </a:lnTo>
                  <a:lnTo>
                    <a:pt x="1004" y="934"/>
                  </a:lnTo>
                  <a:lnTo>
                    <a:pt x="1006" y="936"/>
                  </a:lnTo>
                  <a:lnTo>
                    <a:pt x="1006" y="938"/>
                  </a:lnTo>
                  <a:lnTo>
                    <a:pt x="1002" y="938"/>
                  </a:lnTo>
                  <a:lnTo>
                    <a:pt x="998" y="938"/>
                  </a:lnTo>
                  <a:lnTo>
                    <a:pt x="998" y="940"/>
                  </a:lnTo>
                  <a:lnTo>
                    <a:pt x="1000" y="942"/>
                  </a:lnTo>
                  <a:lnTo>
                    <a:pt x="998" y="946"/>
                  </a:lnTo>
                  <a:lnTo>
                    <a:pt x="996" y="948"/>
                  </a:lnTo>
                  <a:lnTo>
                    <a:pt x="1000" y="948"/>
                  </a:lnTo>
                  <a:lnTo>
                    <a:pt x="1006" y="948"/>
                  </a:lnTo>
                  <a:close/>
                  <a:moveTo>
                    <a:pt x="1028" y="900"/>
                  </a:moveTo>
                  <a:lnTo>
                    <a:pt x="1028" y="900"/>
                  </a:lnTo>
                  <a:lnTo>
                    <a:pt x="1024" y="900"/>
                  </a:lnTo>
                  <a:lnTo>
                    <a:pt x="1022" y="902"/>
                  </a:lnTo>
                  <a:lnTo>
                    <a:pt x="1022" y="904"/>
                  </a:lnTo>
                  <a:lnTo>
                    <a:pt x="1018" y="906"/>
                  </a:lnTo>
                  <a:lnTo>
                    <a:pt x="1016" y="904"/>
                  </a:lnTo>
                  <a:lnTo>
                    <a:pt x="1014" y="902"/>
                  </a:lnTo>
                  <a:lnTo>
                    <a:pt x="1012" y="902"/>
                  </a:lnTo>
                  <a:lnTo>
                    <a:pt x="1010" y="904"/>
                  </a:lnTo>
                  <a:lnTo>
                    <a:pt x="1008" y="904"/>
                  </a:lnTo>
                  <a:lnTo>
                    <a:pt x="1006" y="904"/>
                  </a:lnTo>
                  <a:lnTo>
                    <a:pt x="1004" y="906"/>
                  </a:lnTo>
                  <a:lnTo>
                    <a:pt x="1004" y="910"/>
                  </a:lnTo>
                  <a:lnTo>
                    <a:pt x="1002" y="912"/>
                  </a:lnTo>
                  <a:lnTo>
                    <a:pt x="1002" y="914"/>
                  </a:lnTo>
                  <a:lnTo>
                    <a:pt x="1004" y="916"/>
                  </a:lnTo>
                  <a:lnTo>
                    <a:pt x="1008" y="918"/>
                  </a:lnTo>
                  <a:lnTo>
                    <a:pt x="1012" y="916"/>
                  </a:lnTo>
                  <a:lnTo>
                    <a:pt x="1016" y="914"/>
                  </a:lnTo>
                  <a:lnTo>
                    <a:pt x="1026" y="910"/>
                  </a:lnTo>
                  <a:lnTo>
                    <a:pt x="1030" y="910"/>
                  </a:lnTo>
                  <a:lnTo>
                    <a:pt x="1026" y="914"/>
                  </a:lnTo>
                  <a:lnTo>
                    <a:pt x="1020" y="918"/>
                  </a:lnTo>
                  <a:lnTo>
                    <a:pt x="1020" y="920"/>
                  </a:lnTo>
                  <a:lnTo>
                    <a:pt x="1030" y="918"/>
                  </a:lnTo>
                  <a:lnTo>
                    <a:pt x="1040" y="916"/>
                  </a:lnTo>
                  <a:lnTo>
                    <a:pt x="1042" y="914"/>
                  </a:lnTo>
                  <a:lnTo>
                    <a:pt x="1042" y="912"/>
                  </a:lnTo>
                  <a:lnTo>
                    <a:pt x="1042" y="910"/>
                  </a:lnTo>
                  <a:lnTo>
                    <a:pt x="1040" y="906"/>
                  </a:lnTo>
                  <a:lnTo>
                    <a:pt x="1040" y="904"/>
                  </a:lnTo>
                  <a:lnTo>
                    <a:pt x="1042" y="902"/>
                  </a:lnTo>
                  <a:lnTo>
                    <a:pt x="1042" y="900"/>
                  </a:lnTo>
                  <a:lnTo>
                    <a:pt x="1038" y="896"/>
                  </a:lnTo>
                  <a:lnTo>
                    <a:pt x="1034" y="890"/>
                  </a:lnTo>
                  <a:lnTo>
                    <a:pt x="1032" y="890"/>
                  </a:lnTo>
                  <a:lnTo>
                    <a:pt x="1030" y="890"/>
                  </a:lnTo>
                  <a:lnTo>
                    <a:pt x="1028" y="890"/>
                  </a:lnTo>
                  <a:lnTo>
                    <a:pt x="1028" y="892"/>
                  </a:lnTo>
                  <a:lnTo>
                    <a:pt x="1030" y="896"/>
                  </a:lnTo>
                  <a:lnTo>
                    <a:pt x="1032" y="900"/>
                  </a:lnTo>
                  <a:lnTo>
                    <a:pt x="1028" y="900"/>
                  </a:lnTo>
                  <a:close/>
                  <a:moveTo>
                    <a:pt x="996" y="942"/>
                  </a:moveTo>
                  <a:lnTo>
                    <a:pt x="996" y="942"/>
                  </a:lnTo>
                  <a:lnTo>
                    <a:pt x="996" y="940"/>
                  </a:lnTo>
                  <a:lnTo>
                    <a:pt x="994" y="938"/>
                  </a:lnTo>
                  <a:lnTo>
                    <a:pt x="990" y="938"/>
                  </a:lnTo>
                  <a:lnTo>
                    <a:pt x="988" y="938"/>
                  </a:lnTo>
                  <a:lnTo>
                    <a:pt x="990" y="940"/>
                  </a:lnTo>
                  <a:lnTo>
                    <a:pt x="992" y="942"/>
                  </a:lnTo>
                  <a:lnTo>
                    <a:pt x="994" y="942"/>
                  </a:lnTo>
                  <a:lnTo>
                    <a:pt x="996" y="942"/>
                  </a:lnTo>
                  <a:close/>
                  <a:moveTo>
                    <a:pt x="942" y="966"/>
                  </a:moveTo>
                  <a:lnTo>
                    <a:pt x="942" y="966"/>
                  </a:lnTo>
                  <a:lnTo>
                    <a:pt x="940" y="974"/>
                  </a:lnTo>
                  <a:lnTo>
                    <a:pt x="946" y="970"/>
                  </a:lnTo>
                  <a:lnTo>
                    <a:pt x="948" y="968"/>
                  </a:lnTo>
                  <a:lnTo>
                    <a:pt x="950" y="964"/>
                  </a:lnTo>
                  <a:lnTo>
                    <a:pt x="950" y="958"/>
                  </a:lnTo>
                  <a:lnTo>
                    <a:pt x="950" y="956"/>
                  </a:lnTo>
                  <a:lnTo>
                    <a:pt x="948" y="956"/>
                  </a:lnTo>
                  <a:lnTo>
                    <a:pt x="942" y="966"/>
                  </a:lnTo>
                  <a:close/>
                  <a:moveTo>
                    <a:pt x="970" y="956"/>
                  </a:moveTo>
                  <a:lnTo>
                    <a:pt x="970" y="956"/>
                  </a:lnTo>
                  <a:lnTo>
                    <a:pt x="972" y="956"/>
                  </a:lnTo>
                  <a:lnTo>
                    <a:pt x="974" y="956"/>
                  </a:lnTo>
                  <a:lnTo>
                    <a:pt x="976" y="956"/>
                  </a:lnTo>
                  <a:lnTo>
                    <a:pt x="978" y="954"/>
                  </a:lnTo>
                  <a:lnTo>
                    <a:pt x="982" y="952"/>
                  </a:lnTo>
                  <a:lnTo>
                    <a:pt x="984" y="950"/>
                  </a:lnTo>
                  <a:lnTo>
                    <a:pt x="988" y="946"/>
                  </a:lnTo>
                  <a:lnTo>
                    <a:pt x="992" y="946"/>
                  </a:lnTo>
                  <a:lnTo>
                    <a:pt x="990" y="944"/>
                  </a:lnTo>
                  <a:lnTo>
                    <a:pt x="980" y="942"/>
                  </a:lnTo>
                  <a:lnTo>
                    <a:pt x="976" y="940"/>
                  </a:lnTo>
                  <a:lnTo>
                    <a:pt x="972" y="942"/>
                  </a:lnTo>
                  <a:lnTo>
                    <a:pt x="970" y="944"/>
                  </a:lnTo>
                  <a:lnTo>
                    <a:pt x="966" y="948"/>
                  </a:lnTo>
                  <a:lnTo>
                    <a:pt x="966" y="952"/>
                  </a:lnTo>
                  <a:lnTo>
                    <a:pt x="966" y="954"/>
                  </a:lnTo>
                  <a:lnTo>
                    <a:pt x="964" y="956"/>
                  </a:lnTo>
                  <a:lnTo>
                    <a:pt x="966" y="958"/>
                  </a:lnTo>
                  <a:lnTo>
                    <a:pt x="968" y="958"/>
                  </a:lnTo>
                  <a:lnTo>
                    <a:pt x="970" y="956"/>
                  </a:lnTo>
                  <a:close/>
                  <a:moveTo>
                    <a:pt x="958" y="954"/>
                  </a:moveTo>
                  <a:lnTo>
                    <a:pt x="958" y="954"/>
                  </a:lnTo>
                  <a:lnTo>
                    <a:pt x="958" y="956"/>
                  </a:lnTo>
                  <a:lnTo>
                    <a:pt x="956" y="956"/>
                  </a:lnTo>
                  <a:lnTo>
                    <a:pt x="954" y="956"/>
                  </a:lnTo>
                  <a:lnTo>
                    <a:pt x="954" y="960"/>
                  </a:lnTo>
                  <a:lnTo>
                    <a:pt x="956" y="962"/>
                  </a:lnTo>
                  <a:lnTo>
                    <a:pt x="962" y="958"/>
                  </a:lnTo>
                  <a:lnTo>
                    <a:pt x="964" y="954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4"/>
                  </a:lnTo>
                  <a:close/>
                  <a:moveTo>
                    <a:pt x="1028" y="966"/>
                  </a:moveTo>
                  <a:lnTo>
                    <a:pt x="1028" y="966"/>
                  </a:lnTo>
                  <a:lnTo>
                    <a:pt x="1032" y="966"/>
                  </a:lnTo>
                  <a:lnTo>
                    <a:pt x="1034" y="964"/>
                  </a:lnTo>
                  <a:lnTo>
                    <a:pt x="1030" y="962"/>
                  </a:lnTo>
                  <a:lnTo>
                    <a:pt x="1028" y="962"/>
                  </a:lnTo>
                  <a:lnTo>
                    <a:pt x="1026" y="964"/>
                  </a:lnTo>
                  <a:lnTo>
                    <a:pt x="1026" y="966"/>
                  </a:lnTo>
                  <a:lnTo>
                    <a:pt x="1028" y="966"/>
                  </a:lnTo>
                  <a:close/>
                  <a:moveTo>
                    <a:pt x="1078" y="890"/>
                  </a:moveTo>
                  <a:lnTo>
                    <a:pt x="1078" y="890"/>
                  </a:lnTo>
                  <a:lnTo>
                    <a:pt x="1080" y="892"/>
                  </a:lnTo>
                  <a:lnTo>
                    <a:pt x="1082" y="894"/>
                  </a:lnTo>
                  <a:lnTo>
                    <a:pt x="1088" y="896"/>
                  </a:lnTo>
                  <a:lnTo>
                    <a:pt x="1092" y="896"/>
                  </a:lnTo>
                  <a:lnTo>
                    <a:pt x="1092" y="894"/>
                  </a:lnTo>
                  <a:lnTo>
                    <a:pt x="1088" y="892"/>
                  </a:lnTo>
                  <a:lnTo>
                    <a:pt x="1082" y="890"/>
                  </a:lnTo>
                  <a:lnTo>
                    <a:pt x="1078" y="890"/>
                  </a:lnTo>
                  <a:close/>
                  <a:moveTo>
                    <a:pt x="1054" y="890"/>
                  </a:moveTo>
                  <a:lnTo>
                    <a:pt x="1054" y="890"/>
                  </a:lnTo>
                  <a:lnTo>
                    <a:pt x="1060" y="890"/>
                  </a:lnTo>
                  <a:lnTo>
                    <a:pt x="1062" y="888"/>
                  </a:lnTo>
                  <a:lnTo>
                    <a:pt x="1068" y="878"/>
                  </a:lnTo>
                  <a:lnTo>
                    <a:pt x="1072" y="872"/>
                  </a:lnTo>
                  <a:lnTo>
                    <a:pt x="1074" y="868"/>
                  </a:lnTo>
                  <a:lnTo>
                    <a:pt x="1072" y="868"/>
                  </a:lnTo>
                  <a:lnTo>
                    <a:pt x="1066" y="870"/>
                  </a:lnTo>
                  <a:lnTo>
                    <a:pt x="1054" y="878"/>
                  </a:lnTo>
                  <a:lnTo>
                    <a:pt x="1050" y="882"/>
                  </a:lnTo>
                  <a:lnTo>
                    <a:pt x="1046" y="890"/>
                  </a:lnTo>
                  <a:lnTo>
                    <a:pt x="1044" y="894"/>
                  </a:lnTo>
                  <a:lnTo>
                    <a:pt x="1044" y="896"/>
                  </a:lnTo>
                  <a:lnTo>
                    <a:pt x="1046" y="898"/>
                  </a:lnTo>
                  <a:lnTo>
                    <a:pt x="1048" y="898"/>
                  </a:lnTo>
                  <a:lnTo>
                    <a:pt x="1048" y="894"/>
                  </a:lnTo>
                  <a:lnTo>
                    <a:pt x="1050" y="892"/>
                  </a:lnTo>
                  <a:lnTo>
                    <a:pt x="1054" y="890"/>
                  </a:lnTo>
                  <a:close/>
                  <a:moveTo>
                    <a:pt x="752" y="1276"/>
                  </a:moveTo>
                  <a:lnTo>
                    <a:pt x="752" y="1276"/>
                  </a:lnTo>
                  <a:lnTo>
                    <a:pt x="750" y="1274"/>
                  </a:lnTo>
                  <a:lnTo>
                    <a:pt x="742" y="1274"/>
                  </a:lnTo>
                  <a:lnTo>
                    <a:pt x="738" y="1276"/>
                  </a:lnTo>
                  <a:lnTo>
                    <a:pt x="736" y="1278"/>
                  </a:lnTo>
                  <a:lnTo>
                    <a:pt x="742" y="1282"/>
                  </a:lnTo>
                  <a:lnTo>
                    <a:pt x="748" y="1282"/>
                  </a:lnTo>
                  <a:lnTo>
                    <a:pt x="750" y="1278"/>
                  </a:lnTo>
                  <a:lnTo>
                    <a:pt x="752" y="1276"/>
                  </a:lnTo>
                  <a:close/>
                  <a:moveTo>
                    <a:pt x="1156" y="42"/>
                  </a:moveTo>
                  <a:lnTo>
                    <a:pt x="1156" y="42"/>
                  </a:lnTo>
                  <a:lnTo>
                    <a:pt x="1164" y="44"/>
                  </a:lnTo>
                  <a:lnTo>
                    <a:pt x="1166" y="46"/>
                  </a:lnTo>
                  <a:lnTo>
                    <a:pt x="1164" y="48"/>
                  </a:lnTo>
                  <a:lnTo>
                    <a:pt x="1162" y="48"/>
                  </a:lnTo>
                  <a:lnTo>
                    <a:pt x="1160" y="50"/>
                  </a:lnTo>
                  <a:lnTo>
                    <a:pt x="1162" y="52"/>
                  </a:lnTo>
                  <a:lnTo>
                    <a:pt x="1166" y="56"/>
                  </a:lnTo>
                  <a:lnTo>
                    <a:pt x="1176" y="62"/>
                  </a:lnTo>
                  <a:lnTo>
                    <a:pt x="1186" y="66"/>
                  </a:lnTo>
                  <a:lnTo>
                    <a:pt x="1194" y="68"/>
                  </a:lnTo>
                  <a:lnTo>
                    <a:pt x="1204" y="68"/>
                  </a:lnTo>
                  <a:lnTo>
                    <a:pt x="1214" y="66"/>
                  </a:lnTo>
                  <a:lnTo>
                    <a:pt x="1238" y="62"/>
                  </a:lnTo>
                  <a:lnTo>
                    <a:pt x="1252" y="60"/>
                  </a:lnTo>
                  <a:lnTo>
                    <a:pt x="1270" y="58"/>
                  </a:lnTo>
                  <a:lnTo>
                    <a:pt x="1296" y="58"/>
                  </a:lnTo>
                  <a:lnTo>
                    <a:pt x="1298" y="60"/>
                  </a:lnTo>
                  <a:lnTo>
                    <a:pt x="1294" y="62"/>
                  </a:lnTo>
                  <a:lnTo>
                    <a:pt x="1274" y="66"/>
                  </a:lnTo>
                  <a:lnTo>
                    <a:pt x="1236" y="74"/>
                  </a:lnTo>
                  <a:lnTo>
                    <a:pt x="1220" y="78"/>
                  </a:lnTo>
                  <a:lnTo>
                    <a:pt x="1216" y="80"/>
                  </a:lnTo>
                  <a:lnTo>
                    <a:pt x="1216" y="82"/>
                  </a:lnTo>
                  <a:lnTo>
                    <a:pt x="1216" y="84"/>
                  </a:lnTo>
                  <a:lnTo>
                    <a:pt x="1220" y="86"/>
                  </a:lnTo>
                  <a:lnTo>
                    <a:pt x="1232" y="88"/>
                  </a:lnTo>
                  <a:lnTo>
                    <a:pt x="1270" y="92"/>
                  </a:lnTo>
                  <a:lnTo>
                    <a:pt x="1308" y="94"/>
                  </a:lnTo>
                  <a:lnTo>
                    <a:pt x="1324" y="96"/>
                  </a:lnTo>
                  <a:lnTo>
                    <a:pt x="1336" y="100"/>
                  </a:lnTo>
                  <a:lnTo>
                    <a:pt x="1360" y="110"/>
                  </a:lnTo>
                  <a:lnTo>
                    <a:pt x="1370" y="114"/>
                  </a:lnTo>
                  <a:lnTo>
                    <a:pt x="1380" y="114"/>
                  </a:lnTo>
                  <a:lnTo>
                    <a:pt x="1390" y="112"/>
                  </a:lnTo>
                  <a:lnTo>
                    <a:pt x="1402" y="106"/>
                  </a:lnTo>
                  <a:lnTo>
                    <a:pt x="1412" y="98"/>
                  </a:lnTo>
                  <a:lnTo>
                    <a:pt x="1420" y="96"/>
                  </a:lnTo>
                  <a:lnTo>
                    <a:pt x="1424" y="94"/>
                  </a:lnTo>
                  <a:lnTo>
                    <a:pt x="1430" y="96"/>
                  </a:lnTo>
                  <a:lnTo>
                    <a:pt x="1438" y="98"/>
                  </a:lnTo>
                  <a:lnTo>
                    <a:pt x="1446" y="98"/>
                  </a:lnTo>
                  <a:lnTo>
                    <a:pt x="1456" y="96"/>
                  </a:lnTo>
                  <a:lnTo>
                    <a:pt x="1464" y="92"/>
                  </a:lnTo>
                  <a:lnTo>
                    <a:pt x="1468" y="88"/>
                  </a:lnTo>
                  <a:lnTo>
                    <a:pt x="1468" y="84"/>
                  </a:lnTo>
                  <a:lnTo>
                    <a:pt x="1468" y="80"/>
                  </a:lnTo>
                  <a:lnTo>
                    <a:pt x="1470" y="76"/>
                  </a:lnTo>
                  <a:lnTo>
                    <a:pt x="1476" y="72"/>
                  </a:lnTo>
                  <a:lnTo>
                    <a:pt x="1488" y="66"/>
                  </a:lnTo>
                  <a:lnTo>
                    <a:pt x="1506" y="58"/>
                  </a:lnTo>
                  <a:lnTo>
                    <a:pt x="1516" y="54"/>
                  </a:lnTo>
                  <a:lnTo>
                    <a:pt x="1522" y="48"/>
                  </a:lnTo>
                  <a:lnTo>
                    <a:pt x="1520" y="42"/>
                  </a:lnTo>
                  <a:lnTo>
                    <a:pt x="1516" y="38"/>
                  </a:lnTo>
                  <a:lnTo>
                    <a:pt x="1510" y="34"/>
                  </a:lnTo>
                  <a:lnTo>
                    <a:pt x="1502" y="30"/>
                  </a:lnTo>
                  <a:lnTo>
                    <a:pt x="1492" y="28"/>
                  </a:lnTo>
                  <a:lnTo>
                    <a:pt x="1484" y="28"/>
                  </a:lnTo>
                  <a:lnTo>
                    <a:pt x="1468" y="28"/>
                  </a:lnTo>
                  <a:lnTo>
                    <a:pt x="1450" y="24"/>
                  </a:lnTo>
                  <a:lnTo>
                    <a:pt x="1430" y="18"/>
                  </a:lnTo>
                  <a:lnTo>
                    <a:pt x="1406" y="14"/>
                  </a:lnTo>
                  <a:lnTo>
                    <a:pt x="1394" y="12"/>
                  </a:lnTo>
                  <a:lnTo>
                    <a:pt x="1388" y="14"/>
                  </a:lnTo>
                  <a:lnTo>
                    <a:pt x="1384" y="16"/>
                  </a:lnTo>
                  <a:lnTo>
                    <a:pt x="1382" y="20"/>
                  </a:lnTo>
                  <a:lnTo>
                    <a:pt x="1378" y="28"/>
                  </a:lnTo>
                  <a:lnTo>
                    <a:pt x="1374" y="30"/>
                  </a:lnTo>
                  <a:lnTo>
                    <a:pt x="1366" y="30"/>
                  </a:lnTo>
                  <a:lnTo>
                    <a:pt x="1360" y="28"/>
                  </a:lnTo>
                  <a:lnTo>
                    <a:pt x="1358" y="24"/>
                  </a:lnTo>
                  <a:lnTo>
                    <a:pt x="1358" y="20"/>
                  </a:lnTo>
                  <a:lnTo>
                    <a:pt x="1360" y="16"/>
                  </a:lnTo>
                  <a:lnTo>
                    <a:pt x="1362" y="10"/>
                  </a:lnTo>
                  <a:lnTo>
                    <a:pt x="1362" y="6"/>
                  </a:lnTo>
                  <a:lnTo>
                    <a:pt x="1360" y="4"/>
                  </a:lnTo>
                  <a:lnTo>
                    <a:pt x="1350" y="0"/>
                  </a:lnTo>
                  <a:lnTo>
                    <a:pt x="1344" y="0"/>
                  </a:lnTo>
                  <a:lnTo>
                    <a:pt x="1340" y="2"/>
                  </a:lnTo>
                  <a:lnTo>
                    <a:pt x="1334" y="4"/>
                  </a:lnTo>
                  <a:lnTo>
                    <a:pt x="1332" y="8"/>
                  </a:lnTo>
                  <a:lnTo>
                    <a:pt x="1328" y="14"/>
                  </a:lnTo>
                  <a:lnTo>
                    <a:pt x="1326" y="22"/>
                  </a:lnTo>
                  <a:lnTo>
                    <a:pt x="1324" y="36"/>
                  </a:lnTo>
                  <a:lnTo>
                    <a:pt x="1322" y="40"/>
                  </a:lnTo>
                  <a:lnTo>
                    <a:pt x="1320" y="40"/>
                  </a:lnTo>
                  <a:lnTo>
                    <a:pt x="1318" y="40"/>
                  </a:lnTo>
                  <a:lnTo>
                    <a:pt x="1314" y="36"/>
                  </a:lnTo>
                  <a:lnTo>
                    <a:pt x="1306" y="24"/>
                  </a:lnTo>
                  <a:lnTo>
                    <a:pt x="1300" y="20"/>
                  </a:lnTo>
                  <a:lnTo>
                    <a:pt x="1296" y="18"/>
                  </a:lnTo>
                  <a:lnTo>
                    <a:pt x="1292" y="18"/>
                  </a:lnTo>
                  <a:lnTo>
                    <a:pt x="1286" y="18"/>
                  </a:lnTo>
                  <a:lnTo>
                    <a:pt x="1278" y="20"/>
                  </a:lnTo>
                  <a:lnTo>
                    <a:pt x="1268" y="18"/>
                  </a:lnTo>
                  <a:lnTo>
                    <a:pt x="1252" y="16"/>
                  </a:lnTo>
                  <a:lnTo>
                    <a:pt x="1232" y="8"/>
                  </a:lnTo>
                  <a:lnTo>
                    <a:pt x="1216" y="2"/>
                  </a:lnTo>
                  <a:lnTo>
                    <a:pt x="1208" y="2"/>
                  </a:lnTo>
                  <a:lnTo>
                    <a:pt x="1208" y="4"/>
                  </a:lnTo>
                  <a:lnTo>
                    <a:pt x="1212" y="10"/>
                  </a:lnTo>
                  <a:lnTo>
                    <a:pt x="1216" y="16"/>
                  </a:lnTo>
                  <a:lnTo>
                    <a:pt x="1216" y="20"/>
                  </a:lnTo>
                  <a:lnTo>
                    <a:pt x="1216" y="22"/>
                  </a:lnTo>
                  <a:lnTo>
                    <a:pt x="1212" y="22"/>
                  </a:lnTo>
                  <a:lnTo>
                    <a:pt x="1200" y="16"/>
                  </a:lnTo>
                  <a:lnTo>
                    <a:pt x="1188" y="12"/>
                  </a:lnTo>
                  <a:lnTo>
                    <a:pt x="1182" y="12"/>
                  </a:lnTo>
                  <a:lnTo>
                    <a:pt x="1184" y="14"/>
                  </a:lnTo>
                  <a:lnTo>
                    <a:pt x="1188" y="18"/>
                  </a:lnTo>
                  <a:lnTo>
                    <a:pt x="1192" y="24"/>
                  </a:lnTo>
                  <a:lnTo>
                    <a:pt x="1194" y="28"/>
                  </a:lnTo>
                  <a:lnTo>
                    <a:pt x="1194" y="30"/>
                  </a:lnTo>
                  <a:lnTo>
                    <a:pt x="1190" y="30"/>
                  </a:lnTo>
                  <a:lnTo>
                    <a:pt x="1180" y="28"/>
                  </a:lnTo>
                  <a:lnTo>
                    <a:pt x="1166" y="26"/>
                  </a:lnTo>
                  <a:lnTo>
                    <a:pt x="1154" y="24"/>
                  </a:lnTo>
                  <a:lnTo>
                    <a:pt x="1148" y="24"/>
                  </a:lnTo>
                  <a:lnTo>
                    <a:pt x="1142" y="26"/>
                  </a:lnTo>
                  <a:lnTo>
                    <a:pt x="1142" y="30"/>
                  </a:lnTo>
                  <a:lnTo>
                    <a:pt x="1144" y="34"/>
                  </a:lnTo>
                  <a:lnTo>
                    <a:pt x="1148" y="38"/>
                  </a:lnTo>
                  <a:lnTo>
                    <a:pt x="1156" y="42"/>
                  </a:lnTo>
                  <a:close/>
                  <a:moveTo>
                    <a:pt x="388" y="1446"/>
                  </a:moveTo>
                  <a:lnTo>
                    <a:pt x="388" y="1446"/>
                  </a:lnTo>
                  <a:lnTo>
                    <a:pt x="384" y="1448"/>
                  </a:lnTo>
                  <a:lnTo>
                    <a:pt x="384" y="1450"/>
                  </a:lnTo>
                  <a:lnTo>
                    <a:pt x="384" y="1452"/>
                  </a:lnTo>
                  <a:lnTo>
                    <a:pt x="386" y="1456"/>
                  </a:lnTo>
                  <a:lnTo>
                    <a:pt x="388" y="1454"/>
                  </a:lnTo>
                  <a:lnTo>
                    <a:pt x="390" y="1452"/>
                  </a:lnTo>
                  <a:lnTo>
                    <a:pt x="390" y="1448"/>
                  </a:lnTo>
                  <a:lnTo>
                    <a:pt x="388" y="1446"/>
                  </a:lnTo>
                  <a:close/>
                  <a:moveTo>
                    <a:pt x="164" y="1358"/>
                  </a:moveTo>
                  <a:lnTo>
                    <a:pt x="164" y="1358"/>
                  </a:lnTo>
                  <a:lnTo>
                    <a:pt x="166" y="1356"/>
                  </a:lnTo>
                  <a:lnTo>
                    <a:pt x="168" y="1358"/>
                  </a:lnTo>
                  <a:lnTo>
                    <a:pt x="170" y="1356"/>
                  </a:lnTo>
                  <a:lnTo>
                    <a:pt x="172" y="1354"/>
                  </a:lnTo>
                  <a:lnTo>
                    <a:pt x="170" y="1354"/>
                  </a:lnTo>
                  <a:lnTo>
                    <a:pt x="168" y="1350"/>
                  </a:lnTo>
                  <a:lnTo>
                    <a:pt x="164" y="1346"/>
                  </a:lnTo>
                  <a:lnTo>
                    <a:pt x="164" y="1348"/>
                  </a:lnTo>
                  <a:lnTo>
                    <a:pt x="164" y="1350"/>
                  </a:lnTo>
                  <a:lnTo>
                    <a:pt x="164" y="1352"/>
                  </a:lnTo>
                  <a:lnTo>
                    <a:pt x="164" y="1354"/>
                  </a:lnTo>
                  <a:lnTo>
                    <a:pt x="164" y="1358"/>
                  </a:lnTo>
                  <a:close/>
                  <a:moveTo>
                    <a:pt x="148" y="1644"/>
                  </a:moveTo>
                  <a:lnTo>
                    <a:pt x="148" y="1644"/>
                  </a:lnTo>
                  <a:lnTo>
                    <a:pt x="150" y="1642"/>
                  </a:lnTo>
                  <a:lnTo>
                    <a:pt x="150" y="1640"/>
                  </a:lnTo>
                  <a:lnTo>
                    <a:pt x="152" y="1636"/>
                  </a:lnTo>
                  <a:lnTo>
                    <a:pt x="156" y="1634"/>
                  </a:lnTo>
                  <a:lnTo>
                    <a:pt x="160" y="1634"/>
                  </a:lnTo>
                  <a:lnTo>
                    <a:pt x="162" y="1634"/>
                  </a:lnTo>
                  <a:lnTo>
                    <a:pt x="162" y="1632"/>
                  </a:lnTo>
                  <a:lnTo>
                    <a:pt x="162" y="1630"/>
                  </a:lnTo>
                  <a:lnTo>
                    <a:pt x="164" y="1630"/>
                  </a:lnTo>
                  <a:lnTo>
                    <a:pt x="166" y="1628"/>
                  </a:lnTo>
                  <a:lnTo>
                    <a:pt x="166" y="1626"/>
                  </a:lnTo>
                  <a:lnTo>
                    <a:pt x="164" y="1624"/>
                  </a:lnTo>
                  <a:lnTo>
                    <a:pt x="166" y="1622"/>
                  </a:lnTo>
                  <a:lnTo>
                    <a:pt x="164" y="1620"/>
                  </a:lnTo>
                  <a:lnTo>
                    <a:pt x="166" y="1618"/>
                  </a:lnTo>
                  <a:lnTo>
                    <a:pt x="168" y="1618"/>
                  </a:lnTo>
                  <a:lnTo>
                    <a:pt x="170" y="1618"/>
                  </a:lnTo>
                  <a:lnTo>
                    <a:pt x="174" y="1616"/>
                  </a:lnTo>
                  <a:lnTo>
                    <a:pt x="176" y="1614"/>
                  </a:lnTo>
                  <a:lnTo>
                    <a:pt x="172" y="1614"/>
                  </a:lnTo>
                  <a:lnTo>
                    <a:pt x="168" y="1614"/>
                  </a:lnTo>
                  <a:lnTo>
                    <a:pt x="172" y="1610"/>
                  </a:lnTo>
                  <a:lnTo>
                    <a:pt x="174" y="1606"/>
                  </a:lnTo>
                  <a:lnTo>
                    <a:pt x="174" y="1600"/>
                  </a:lnTo>
                  <a:lnTo>
                    <a:pt x="172" y="1598"/>
                  </a:lnTo>
                  <a:lnTo>
                    <a:pt x="170" y="1598"/>
                  </a:lnTo>
                  <a:lnTo>
                    <a:pt x="164" y="1602"/>
                  </a:lnTo>
                  <a:lnTo>
                    <a:pt x="158" y="1606"/>
                  </a:lnTo>
                  <a:lnTo>
                    <a:pt x="150" y="1610"/>
                  </a:lnTo>
                  <a:lnTo>
                    <a:pt x="148" y="1612"/>
                  </a:lnTo>
                  <a:lnTo>
                    <a:pt x="148" y="1614"/>
                  </a:lnTo>
                  <a:lnTo>
                    <a:pt x="148" y="1616"/>
                  </a:lnTo>
                  <a:lnTo>
                    <a:pt x="148" y="1620"/>
                  </a:lnTo>
                  <a:lnTo>
                    <a:pt x="146" y="1620"/>
                  </a:lnTo>
                  <a:lnTo>
                    <a:pt x="144" y="1618"/>
                  </a:lnTo>
                  <a:lnTo>
                    <a:pt x="142" y="1616"/>
                  </a:lnTo>
                  <a:lnTo>
                    <a:pt x="140" y="1616"/>
                  </a:lnTo>
                  <a:lnTo>
                    <a:pt x="136" y="1622"/>
                  </a:lnTo>
                  <a:lnTo>
                    <a:pt x="136" y="1624"/>
                  </a:lnTo>
                  <a:lnTo>
                    <a:pt x="138" y="1628"/>
                  </a:lnTo>
                  <a:lnTo>
                    <a:pt x="140" y="1630"/>
                  </a:lnTo>
                  <a:lnTo>
                    <a:pt x="138" y="1632"/>
                  </a:lnTo>
                  <a:lnTo>
                    <a:pt x="144" y="1636"/>
                  </a:lnTo>
                  <a:lnTo>
                    <a:pt x="146" y="1636"/>
                  </a:lnTo>
                  <a:lnTo>
                    <a:pt x="142" y="1638"/>
                  </a:lnTo>
                  <a:lnTo>
                    <a:pt x="138" y="1642"/>
                  </a:lnTo>
                  <a:lnTo>
                    <a:pt x="136" y="1644"/>
                  </a:lnTo>
                  <a:lnTo>
                    <a:pt x="138" y="1646"/>
                  </a:lnTo>
                  <a:lnTo>
                    <a:pt x="140" y="1648"/>
                  </a:lnTo>
                  <a:lnTo>
                    <a:pt x="142" y="1648"/>
                  </a:lnTo>
                  <a:lnTo>
                    <a:pt x="144" y="1644"/>
                  </a:lnTo>
                  <a:lnTo>
                    <a:pt x="148" y="1644"/>
                  </a:lnTo>
                  <a:close/>
                  <a:moveTo>
                    <a:pt x="84" y="2020"/>
                  </a:moveTo>
                  <a:lnTo>
                    <a:pt x="84" y="2020"/>
                  </a:lnTo>
                  <a:lnTo>
                    <a:pt x="88" y="2008"/>
                  </a:lnTo>
                  <a:lnTo>
                    <a:pt x="90" y="2008"/>
                  </a:lnTo>
                  <a:lnTo>
                    <a:pt x="92" y="2012"/>
                  </a:lnTo>
                  <a:lnTo>
                    <a:pt x="94" y="2014"/>
                  </a:lnTo>
                  <a:lnTo>
                    <a:pt x="96" y="2014"/>
                  </a:lnTo>
                  <a:lnTo>
                    <a:pt x="106" y="2008"/>
                  </a:lnTo>
                  <a:lnTo>
                    <a:pt x="120" y="2000"/>
                  </a:lnTo>
                  <a:lnTo>
                    <a:pt x="126" y="1996"/>
                  </a:lnTo>
                  <a:lnTo>
                    <a:pt x="132" y="1994"/>
                  </a:lnTo>
                  <a:lnTo>
                    <a:pt x="142" y="1992"/>
                  </a:lnTo>
                  <a:lnTo>
                    <a:pt x="148" y="1990"/>
                  </a:lnTo>
                  <a:lnTo>
                    <a:pt x="152" y="1990"/>
                  </a:lnTo>
                  <a:lnTo>
                    <a:pt x="160" y="1990"/>
                  </a:lnTo>
                  <a:lnTo>
                    <a:pt x="166" y="1992"/>
                  </a:lnTo>
                  <a:lnTo>
                    <a:pt x="168" y="1988"/>
                  </a:lnTo>
                  <a:lnTo>
                    <a:pt x="168" y="1980"/>
                  </a:lnTo>
                  <a:lnTo>
                    <a:pt x="168" y="1974"/>
                  </a:lnTo>
                  <a:lnTo>
                    <a:pt x="172" y="1966"/>
                  </a:lnTo>
                  <a:lnTo>
                    <a:pt x="176" y="1958"/>
                  </a:lnTo>
                  <a:lnTo>
                    <a:pt x="178" y="1950"/>
                  </a:lnTo>
                  <a:lnTo>
                    <a:pt x="180" y="1934"/>
                  </a:lnTo>
                  <a:lnTo>
                    <a:pt x="178" y="1920"/>
                  </a:lnTo>
                  <a:lnTo>
                    <a:pt x="174" y="1906"/>
                  </a:lnTo>
                  <a:lnTo>
                    <a:pt x="168" y="1888"/>
                  </a:lnTo>
                  <a:lnTo>
                    <a:pt x="166" y="1884"/>
                  </a:lnTo>
                  <a:lnTo>
                    <a:pt x="170" y="1884"/>
                  </a:lnTo>
                  <a:lnTo>
                    <a:pt x="172" y="1882"/>
                  </a:lnTo>
                  <a:lnTo>
                    <a:pt x="172" y="1880"/>
                  </a:lnTo>
                  <a:lnTo>
                    <a:pt x="168" y="1874"/>
                  </a:lnTo>
                  <a:lnTo>
                    <a:pt x="172" y="1874"/>
                  </a:lnTo>
                  <a:lnTo>
                    <a:pt x="176" y="1876"/>
                  </a:lnTo>
                  <a:lnTo>
                    <a:pt x="178" y="1878"/>
                  </a:lnTo>
                  <a:lnTo>
                    <a:pt x="180" y="1878"/>
                  </a:lnTo>
                  <a:lnTo>
                    <a:pt x="186" y="1870"/>
                  </a:lnTo>
                  <a:lnTo>
                    <a:pt x="190" y="1866"/>
                  </a:lnTo>
                  <a:lnTo>
                    <a:pt x="194" y="1866"/>
                  </a:lnTo>
                  <a:lnTo>
                    <a:pt x="196" y="1864"/>
                  </a:lnTo>
                  <a:lnTo>
                    <a:pt x="198" y="1862"/>
                  </a:lnTo>
                  <a:lnTo>
                    <a:pt x="196" y="1858"/>
                  </a:lnTo>
                  <a:lnTo>
                    <a:pt x="194" y="1858"/>
                  </a:lnTo>
                  <a:lnTo>
                    <a:pt x="192" y="1858"/>
                  </a:lnTo>
                  <a:lnTo>
                    <a:pt x="194" y="1854"/>
                  </a:lnTo>
                  <a:lnTo>
                    <a:pt x="196" y="1850"/>
                  </a:lnTo>
                  <a:lnTo>
                    <a:pt x="196" y="1848"/>
                  </a:lnTo>
                  <a:lnTo>
                    <a:pt x="196" y="1850"/>
                  </a:lnTo>
                  <a:lnTo>
                    <a:pt x="200" y="1858"/>
                  </a:lnTo>
                  <a:lnTo>
                    <a:pt x="202" y="1858"/>
                  </a:lnTo>
                  <a:lnTo>
                    <a:pt x="204" y="1856"/>
                  </a:lnTo>
                  <a:lnTo>
                    <a:pt x="204" y="1850"/>
                  </a:lnTo>
                  <a:lnTo>
                    <a:pt x="202" y="1844"/>
                  </a:lnTo>
                  <a:lnTo>
                    <a:pt x="198" y="1840"/>
                  </a:lnTo>
                  <a:lnTo>
                    <a:pt x="196" y="1838"/>
                  </a:lnTo>
                  <a:lnTo>
                    <a:pt x="194" y="1838"/>
                  </a:lnTo>
                  <a:lnTo>
                    <a:pt x="186" y="1840"/>
                  </a:lnTo>
                  <a:lnTo>
                    <a:pt x="184" y="1840"/>
                  </a:lnTo>
                  <a:lnTo>
                    <a:pt x="186" y="1838"/>
                  </a:lnTo>
                  <a:lnTo>
                    <a:pt x="192" y="1834"/>
                  </a:lnTo>
                  <a:lnTo>
                    <a:pt x="194" y="1832"/>
                  </a:lnTo>
                  <a:lnTo>
                    <a:pt x="192" y="1828"/>
                  </a:lnTo>
                  <a:lnTo>
                    <a:pt x="190" y="1828"/>
                  </a:lnTo>
                  <a:lnTo>
                    <a:pt x="186" y="1826"/>
                  </a:lnTo>
                  <a:lnTo>
                    <a:pt x="182" y="1820"/>
                  </a:lnTo>
                  <a:lnTo>
                    <a:pt x="176" y="1808"/>
                  </a:lnTo>
                  <a:lnTo>
                    <a:pt x="174" y="1806"/>
                  </a:lnTo>
                  <a:lnTo>
                    <a:pt x="172" y="1804"/>
                  </a:lnTo>
                  <a:lnTo>
                    <a:pt x="164" y="1806"/>
                  </a:lnTo>
                  <a:lnTo>
                    <a:pt x="156" y="1808"/>
                  </a:lnTo>
                  <a:lnTo>
                    <a:pt x="148" y="1808"/>
                  </a:lnTo>
                  <a:lnTo>
                    <a:pt x="142" y="1810"/>
                  </a:lnTo>
                  <a:lnTo>
                    <a:pt x="140" y="1812"/>
                  </a:lnTo>
                  <a:lnTo>
                    <a:pt x="138" y="1814"/>
                  </a:lnTo>
                  <a:lnTo>
                    <a:pt x="130" y="1816"/>
                  </a:lnTo>
                  <a:lnTo>
                    <a:pt x="126" y="1818"/>
                  </a:lnTo>
                  <a:lnTo>
                    <a:pt x="124" y="1822"/>
                  </a:lnTo>
                  <a:lnTo>
                    <a:pt x="122" y="1828"/>
                  </a:lnTo>
                  <a:lnTo>
                    <a:pt x="120" y="1834"/>
                  </a:lnTo>
                  <a:lnTo>
                    <a:pt x="116" y="1836"/>
                  </a:lnTo>
                  <a:lnTo>
                    <a:pt x="112" y="1836"/>
                  </a:lnTo>
                  <a:lnTo>
                    <a:pt x="116" y="1836"/>
                  </a:lnTo>
                  <a:lnTo>
                    <a:pt x="120" y="1832"/>
                  </a:lnTo>
                  <a:lnTo>
                    <a:pt x="122" y="1826"/>
                  </a:lnTo>
                  <a:lnTo>
                    <a:pt x="124" y="1818"/>
                  </a:lnTo>
                  <a:lnTo>
                    <a:pt x="128" y="1816"/>
                  </a:lnTo>
                  <a:lnTo>
                    <a:pt x="132" y="1814"/>
                  </a:lnTo>
                  <a:lnTo>
                    <a:pt x="132" y="1810"/>
                  </a:lnTo>
                  <a:lnTo>
                    <a:pt x="134" y="1808"/>
                  </a:lnTo>
                  <a:lnTo>
                    <a:pt x="138" y="1806"/>
                  </a:lnTo>
                  <a:lnTo>
                    <a:pt x="140" y="1804"/>
                  </a:lnTo>
                  <a:lnTo>
                    <a:pt x="134" y="1798"/>
                  </a:lnTo>
                  <a:lnTo>
                    <a:pt x="130" y="1796"/>
                  </a:lnTo>
                  <a:lnTo>
                    <a:pt x="126" y="1796"/>
                  </a:lnTo>
                  <a:lnTo>
                    <a:pt x="124" y="1798"/>
                  </a:lnTo>
                  <a:lnTo>
                    <a:pt x="122" y="1800"/>
                  </a:lnTo>
                  <a:lnTo>
                    <a:pt x="118" y="1804"/>
                  </a:lnTo>
                  <a:lnTo>
                    <a:pt x="116" y="1804"/>
                  </a:lnTo>
                  <a:lnTo>
                    <a:pt x="112" y="1804"/>
                  </a:lnTo>
                  <a:lnTo>
                    <a:pt x="104" y="1806"/>
                  </a:lnTo>
                  <a:lnTo>
                    <a:pt x="94" y="1810"/>
                  </a:lnTo>
                  <a:lnTo>
                    <a:pt x="86" y="1816"/>
                  </a:lnTo>
                  <a:lnTo>
                    <a:pt x="84" y="1820"/>
                  </a:lnTo>
                  <a:lnTo>
                    <a:pt x="84" y="1824"/>
                  </a:lnTo>
                  <a:lnTo>
                    <a:pt x="84" y="1828"/>
                  </a:lnTo>
                  <a:lnTo>
                    <a:pt x="82" y="1830"/>
                  </a:lnTo>
                  <a:lnTo>
                    <a:pt x="76" y="1834"/>
                  </a:lnTo>
                  <a:lnTo>
                    <a:pt x="70" y="1836"/>
                  </a:lnTo>
                  <a:lnTo>
                    <a:pt x="68" y="1838"/>
                  </a:lnTo>
                  <a:lnTo>
                    <a:pt x="68" y="1840"/>
                  </a:lnTo>
                  <a:lnTo>
                    <a:pt x="70" y="1842"/>
                  </a:lnTo>
                  <a:lnTo>
                    <a:pt x="76" y="1842"/>
                  </a:lnTo>
                  <a:lnTo>
                    <a:pt x="86" y="1842"/>
                  </a:lnTo>
                  <a:lnTo>
                    <a:pt x="94" y="1844"/>
                  </a:lnTo>
                  <a:lnTo>
                    <a:pt x="94" y="1846"/>
                  </a:lnTo>
                  <a:lnTo>
                    <a:pt x="90" y="1848"/>
                  </a:lnTo>
                  <a:lnTo>
                    <a:pt x="82" y="1856"/>
                  </a:lnTo>
                  <a:lnTo>
                    <a:pt x="78" y="1862"/>
                  </a:lnTo>
                  <a:lnTo>
                    <a:pt x="74" y="1866"/>
                  </a:lnTo>
                  <a:lnTo>
                    <a:pt x="70" y="1866"/>
                  </a:lnTo>
                  <a:lnTo>
                    <a:pt x="62" y="1864"/>
                  </a:lnTo>
                  <a:lnTo>
                    <a:pt x="58" y="1866"/>
                  </a:lnTo>
                  <a:lnTo>
                    <a:pt x="54" y="1866"/>
                  </a:lnTo>
                  <a:lnTo>
                    <a:pt x="48" y="1864"/>
                  </a:lnTo>
                  <a:lnTo>
                    <a:pt x="40" y="1860"/>
                  </a:lnTo>
                  <a:lnTo>
                    <a:pt x="30" y="1860"/>
                  </a:lnTo>
                  <a:lnTo>
                    <a:pt x="22" y="1862"/>
                  </a:lnTo>
                  <a:lnTo>
                    <a:pt x="14" y="1868"/>
                  </a:lnTo>
                  <a:lnTo>
                    <a:pt x="14" y="1870"/>
                  </a:lnTo>
                  <a:lnTo>
                    <a:pt x="18" y="1870"/>
                  </a:lnTo>
                  <a:lnTo>
                    <a:pt x="20" y="1870"/>
                  </a:lnTo>
                  <a:lnTo>
                    <a:pt x="20" y="1872"/>
                  </a:lnTo>
                  <a:lnTo>
                    <a:pt x="20" y="1874"/>
                  </a:lnTo>
                  <a:lnTo>
                    <a:pt x="18" y="1878"/>
                  </a:lnTo>
                  <a:lnTo>
                    <a:pt x="16" y="1884"/>
                  </a:lnTo>
                  <a:lnTo>
                    <a:pt x="18" y="1886"/>
                  </a:lnTo>
                  <a:lnTo>
                    <a:pt x="22" y="1888"/>
                  </a:lnTo>
                  <a:lnTo>
                    <a:pt x="28" y="1888"/>
                  </a:lnTo>
                  <a:lnTo>
                    <a:pt x="38" y="1888"/>
                  </a:lnTo>
                  <a:lnTo>
                    <a:pt x="38" y="1890"/>
                  </a:lnTo>
                  <a:lnTo>
                    <a:pt x="34" y="1892"/>
                  </a:lnTo>
                  <a:lnTo>
                    <a:pt x="24" y="1898"/>
                  </a:lnTo>
                  <a:lnTo>
                    <a:pt x="22" y="1900"/>
                  </a:lnTo>
                  <a:lnTo>
                    <a:pt x="20" y="1904"/>
                  </a:lnTo>
                  <a:lnTo>
                    <a:pt x="16" y="1908"/>
                  </a:lnTo>
                  <a:lnTo>
                    <a:pt x="14" y="1912"/>
                  </a:lnTo>
                  <a:lnTo>
                    <a:pt x="16" y="1914"/>
                  </a:lnTo>
                  <a:lnTo>
                    <a:pt x="24" y="1922"/>
                  </a:lnTo>
                  <a:lnTo>
                    <a:pt x="36" y="1928"/>
                  </a:lnTo>
                  <a:lnTo>
                    <a:pt x="40" y="1928"/>
                  </a:lnTo>
                  <a:lnTo>
                    <a:pt x="44" y="1928"/>
                  </a:lnTo>
                  <a:lnTo>
                    <a:pt x="52" y="1926"/>
                  </a:lnTo>
                  <a:lnTo>
                    <a:pt x="58" y="1928"/>
                  </a:lnTo>
                  <a:lnTo>
                    <a:pt x="60" y="1928"/>
                  </a:lnTo>
                  <a:lnTo>
                    <a:pt x="60" y="1930"/>
                  </a:lnTo>
                  <a:lnTo>
                    <a:pt x="50" y="1934"/>
                  </a:lnTo>
                  <a:lnTo>
                    <a:pt x="44" y="1936"/>
                  </a:lnTo>
                  <a:lnTo>
                    <a:pt x="42" y="1938"/>
                  </a:lnTo>
                  <a:lnTo>
                    <a:pt x="42" y="1940"/>
                  </a:lnTo>
                  <a:lnTo>
                    <a:pt x="42" y="1944"/>
                  </a:lnTo>
                  <a:lnTo>
                    <a:pt x="42" y="1948"/>
                  </a:lnTo>
                  <a:lnTo>
                    <a:pt x="40" y="1952"/>
                  </a:lnTo>
                  <a:lnTo>
                    <a:pt x="36" y="1956"/>
                  </a:lnTo>
                  <a:lnTo>
                    <a:pt x="28" y="1962"/>
                  </a:lnTo>
                  <a:lnTo>
                    <a:pt x="22" y="1966"/>
                  </a:lnTo>
                  <a:lnTo>
                    <a:pt x="22" y="1968"/>
                  </a:lnTo>
                  <a:lnTo>
                    <a:pt x="26" y="1968"/>
                  </a:lnTo>
                  <a:lnTo>
                    <a:pt x="30" y="1968"/>
                  </a:lnTo>
                  <a:lnTo>
                    <a:pt x="58" y="1960"/>
                  </a:lnTo>
                  <a:lnTo>
                    <a:pt x="64" y="1960"/>
                  </a:lnTo>
                  <a:lnTo>
                    <a:pt x="66" y="1960"/>
                  </a:lnTo>
                  <a:lnTo>
                    <a:pt x="66" y="1962"/>
                  </a:lnTo>
                  <a:lnTo>
                    <a:pt x="66" y="1964"/>
                  </a:lnTo>
                  <a:lnTo>
                    <a:pt x="62" y="1966"/>
                  </a:lnTo>
                  <a:lnTo>
                    <a:pt x="50" y="1968"/>
                  </a:lnTo>
                  <a:lnTo>
                    <a:pt x="36" y="1970"/>
                  </a:lnTo>
                  <a:lnTo>
                    <a:pt x="28" y="1974"/>
                  </a:lnTo>
                  <a:lnTo>
                    <a:pt x="24" y="1978"/>
                  </a:lnTo>
                  <a:lnTo>
                    <a:pt x="26" y="1982"/>
                  </a:lnTo>
                  <a:lnTo>
                    <a:pt x="28" y="1984"/>
                  </a:lnTo>
                  <a:lnTo>
                    <a:pt x="26" y="1986"/>
                  </a:lnTo>
                  <a:lnTo>
                    <a:pt x="22" y="1984"/>
                  </a:lnTo>
                  <a:lnTo>
                    <a:pt x="14" y="1984"/>
                  </a:lnTo>
                  <a:lnTo>
                    <a:pt x="10" y="1986"/>
                  </a:lnTo>
                  <a:lnTo>
                    <a:pt x="4" y="1988"/>
                  </a:lnTo>
                  <a:lnTo>
                    <a:pt x="0" y="1994"/>
                  </a:lnTo>
                  <a:lnTo>
                    <a:pt x="0" y="1996"/>
                  </a:lnTo>
                  <a:lnTo>
                    <a:pt x="2" y="1996"/>
                  </a:lnTo>
                  <a:lnTo>
                    <a:pt x="6" y="1996"/>
                  </a:lnTo>
                  <a:lnTo>
                    <a:pt x="10" y="1996"/>
                  </a:lnTo>
                  <a:lnTo>
                    <a:pt x="14" y="1996"/>
                  </a:lnTo>
                  <a:lnTo>
                    <a:pt x="14" y="2000"/>
                  </a:lnTo>
                  <a:lnTo>
                    <a:pt x="10" y="2004"/>
                  </a:lnTo>
                  <a:lnTo>
                    <a:pt x="6" y="2010"/>
                  </a:lnTo>
                  <a:lnTo>
                    <a:pt x="4" y="2012"/>
                  </a:lnTo>
                  <a:lnTo>
                    <a:pt x="8" y="2014"/>
                  </a:lnTo>
                  <a:lnTo>
                    <a:pt x="12" y="2016"/>
                  </a:lnTo>
                  <a:lnTo>
                    <a:pt x="18" y="2018"/>
                  </a:lnTo>
                  <a:lnTo>
                    <a:pt x="20" y="2020"/>
                  </a:lnTo>
                  <a:lnTo>
                    <a:pt x="16" y="2024"/>
                  </a:lnTo>
                  <a:lnTo>
                    <a:pt x="14" y="2026"/>
                  </a:lnTo>
                  <a:lnTo>
                    <a:pt x="16" y="2026"/>
                  </a:lnTo>
                  <a:lnTo>
                    <a:pt x="28" y="2022"/>
                  </a:lnTo>
                  <a:lnTo>
                    <a:pt x="36" y="2020"/>
                  </a:lnTo>
                  <a:lnTo>
                    <a:pt x="36" y="2022"/>
                  </a:lnTo>
                  <a:lnTo>
                    <a:pt x="30" y="2026"/>
                  </a:lnTo>
                  <a:lnTo>
                    <a:pt x="28" y="2030"/>
                  </a:lnTo>
                  <a:lnTo>
                    <a:pt x="28" y="2032"/>
                  </a:lnTo>
                  <a:lnTo>
                    <a:pt x="30" y="2034"/>
                  </a:lnTo>
                  <a:lnTo>
                    <a:pt x="38" y="2034"/>
                  </a:lnTo>
                  <a:lnTo>
                    <a:pt x="48" y="2032"/>
                  </a:lnTo>
                  <a:lnTo>
                    <a:pt x="70" y="2028"/>
                  </a:lnTo>
                  <a:lnTo>
                    <a:pt x="78" y="2024"/>
                  </a:lnTo>
                  <a:lnTo>
                    <a:pt x="84" y="2020"/>
                  </a:lnTo>
                  <a:close/>
                  <a:moveTo>
                    <a:pt x="154" y="1672"/>
                  </a:moveTo>
                  <a:lnTo>
                    <a:pt x="154" y="1672"/>
                  </a:lnTo>
                  <a:lnTo>
                    <a:pt x="156" y="1672"/>
                  </a:lnTo>
                  <a:lnTo>
                    <a:pt x="158" y="1670"/>
                  </a:lnTo>
                  <a:lnTo>
                    <a:pt x="162" y="1672"/>
                  </a:lnTo>
                  <a:lnTo>
                    <a:pt x="162" y="1674"/>
                  </a:lnTo>
                  <a:lnTo>
                    <a:pt x="162" y="1676"/>
                  </a:lnTo>
                  <a:lnTo>
                    <a:pt x="162" y="1678"/>
                  </a:lnTo>
                  <a:lnTo>
                    <a:pt x="164" y="1682"/>
                  </a:lnTo>
                  <a:lnTo>
                    <a:pt x="168" y="1684"/>
                  </a:lnTo>
                  <a:lnTo>
                    <a:pt x="170" y="1684"/>
                  </a:lnTo>
                  <a:lnTo>
                    <a:pt x="174" y="1682"/>
                  </a:lnTo>
                  <a:lnTo>
                    <a:pt x="180" y="1682"/>
                  </a:lnTo>
                  <a:lnTo>
                    <a:pt x="182" y="1684"/>
                  </a:lnTo>
                  <a:lnTo>
                    <a:pt x="182" y="1688"/>
                  </a:lnTo>
                  <a:lnTo>
                    <a:pt x="180" y="1692"/>
                  </a:lnTo>
                  <a:lnTo>
                    <a:pt x="180" y="1694"/>
                  </a:lnTo>
                  <a:lnTo>
                    <a:pt x="182" y="1692"/>
                  </a:lnTo>
                  <a:lnTo>
                    <a:pt x="186" y="1688"/>
                  </a:lnTo>
                  <a:lnTo>
                    <a:pt x="192" y="1678"/>
                  </a:lnTo>
                  <a:lnTo>
                    <a:pt x="192" y="1676"/>
                  </a:lnTo>
                  <a:lnTo>
                    <a:pt x="190" y="1676"/>
                  </a:lnTo>
                  <a:lnTo>
                    <a:pt x="184" y="1678"/>
                  </a:lnTo>
                  <a:lnTo>
                    <a:pt x="180" y="1676"/>
                  </a:lnTo>
                  <a:lnTo>
                    <a:pt x="178" y="1674"/>
                  </a:lnTo>
                  <a:lnTo>
                    <a:pt x="176" y="1672"/>
                  </a:lnTo>
                  <a:lnTo>
                    <a:pt x="174" y="1662"/>
                  </a:lnTo>
                  <a:lnTo>
                    <a:pt x="172" y="1654"/>
                  </a:lnTo>
                  <a:lnTo>
                    <a:pt x="170" y="1652"/>
                  </a:lnTo>
                  <a:lnTo>
                    <a:pt x="168" y="1650"/>
                  </a:lnTo>
                  <a:lnTo>
                    <a:pt x="166" y="1650"/>
                  </a:lnTo>
                  <a:lnTo>
                    <a:pt x="166" y="1652"/>
                  </a:lnTo>
                  <a:lnTo>
                    <a:pt x="166" y="1656"/>
                  </a:lnTo>
                  <a:lnTo>
                    <a:pt x="166" y="1662"/>
                  </a:lnTo>
                  <a:lnTo>
                    <a:pt x="166" y="1664"/>
                  </a:lnTo>
                  <a:lnTo>
                    <a:pt x="162" y="1664"/>
                  </a:lnTo>
                  <a:lnTo>
                    <a:pt x="160" y="1660"/>
                  </a:lnTo>
                  <a:lnTo>
                    <a:pt x="158" y="1658"/>
                  </a:lnTo>
                  <a:lnTo>
                    <a:pt x="154" y="1656"/>
                  </a:lnTo>
                  <a:lnTo>
                    <a:pt x="154" y="1658"/>
                  </a:lnTo>
                  <a:lnTo>
                    <a:pt x="154" y="1660"/>
                  </a:lnTo>
                  <a:lnTo>
                    <a:pt x="156" y="1664"/>
                  </a:lnTo>
                  <a:lnTo>
                    <a:pt x="154" y="1666"/>
                  </a:lnTo>
                  <a:lnTo>
                    <a:pt x="150" y="1666"/>
                  </a:lnTo>
                  <a:lnTo>
                    <a:pt x="150" y="1668"/>
                  </a:lnTo>
                  <a:lnTo>
                    <a:pt x="154" y="1672"/>
                  </a:lnTo>
                  <a:close/>
                  <a:moveTo>
                    <a:pt x="146" y="1346"/>
                  </a:moveTo>
                  <a:lnTo>
                    <a:pt x="146" y="1346"/>
                  </a:lnTo>
                  <a:lnTo>
                    <a:pt x="142" y="1346"/>
                  </a:lnTo>
                  <a:lnTo>
                    <a:pt x="144" y="1352"/>
                  </a:lnTo>
                  <a:lnTo>
                    <a:pt x="148" y="1358"/>
                  </a:lnTo>
                  <a:lnTo>
                    <a:pt x="154" y="1362"/>
                  </a:lnTo>
                  <a:lnTo>
                    <a:pt x="158" y="1364"/>
                  </a:lnTo>
                  <a:lnTo>
                    <a:pt x="160" y="1364"/>
                  </a:lnTo>
                  <a:lnTo>
                    <a:pt x="162" y="1362"/>
                  </a:lnTo>
                  <a:lnTo>
                    <a:pt x="160" y="1360"/>
                  </a:lnTo>
                  <a:lnTo>
                    <a:pt x="158" y="1358"/>
                  </a:lnTo>
                  <a:lnTo>
                    <a:pt x="160" y="1358"/>
                  </a:lnTo>
                  <a:lnTo>
                    <a:pt x="160" y="1356"/>
                  </a:lnTo>
                  <a:lnTo>
                    <a:pt x="158" y="1356"/>
                  </a:lnTo>
                  <a:lnTo>
                    <a:pt x="154" y="1354"/>
                  </a:lnTo>
                  <a:lnTo>
                    <a:pt x="154" y="1352"/>
                  </a:lnTo>
                  <a:lnTo>
                    <a:pt x="154" y="1350"/>
                  </a:lnTo>
                  <a:lnTo>
                    <a:pt x="152" y="1350"/>
                  </a:lnTo>
                  <a:lnTo>
                    <a:pt x="148" y="1350"/>
                  </a:lnTo>
                  <a:lnTo>
                    <a:pt x="148" y="1348"/>
                  </a:lnTo>
                  <a:lnTo>
                    <a:pt x="148" y="1346"/>
                  </a:lnTo>
                  <a:lnTo>
                    <a:pt x="146" y="1346"/>
                  </a:lnTo>
                  <a:close/>
                  <a:moveTo>
                    <a:pt x="166" y="1740"/>
                  </a:moveTo>
                  <a:lnTo>
                    <a:pt x="166" y="1740"/>
                  </a:lnTo>
                  <a:lnTo>
                    <a:pt x="166" y="1742"/>
                  </a:lnTo>
                  <a:lnTo>
                    <a:pt x="168" y="1742"/>
                  </a:lnTo>
                  <a:lnTo>
                    <a:pt x="174" y="1740"/>
                  </a:lnTo>
                  <a:lnTo>
                    <a:pt x="188" y="1736"/>
                  </a:lnTo>
                  <a:lnTo>
                    <a:pt x="194" y="1734"/>
                  </a:lnTo>
                  <a:lnTo>
                    <a:pt x="192" y="1732"/>
                  </a:lnTo>
                  <a:lnTo>
                    <a:pt x="190" y="1728"/>
                  </a:lnTo>
                  <a:lnTo>
                    <a:pt x="184" y="1724"/>
                  </a:lnTo>
                  <a:lnTo>
                    <a:pt x="178" y="1722"/>
                  </a:lnTo>
                  <a:lnTo>
                    <a:pt x="176" y="1718"/>
                  </a:lnTo>
                  <a:lnTo>
                    <a:pt x="174" y="1718"/>
                  </a:lnTo>
                  <a:lnTo>
                    <a:pt x="170" y="1720"/>
                  </a:lnTo>
                  <a:lnTo>
                    <a:pt x="168" y="1722"/>
                  </a:lnTo>
                  <a:lnTo>
                    <a:pt x="166" y="1724"/>
                  </a:lnTo>
                  <a:lnTo>
                    <a:pt x="174" y="1728"/>
                  </a:lnTo>
                  <a:lnTo>
                    <a:pt x="176" y="1730"/>
                  </a:lnTo>
                  <a:lnTo>
                    <a:pt x="174" y="1730"/>
                  </a:lnTo>
                  <a:lnTo>
                    <a:pt x="172" y="1732"/>
                  </a:lnTo>
                  <a:lnTo>
                    <a:pt x="172" y="1734"/>
                  </a:lnTo>
                  <a:lnTo>
                    <a:pt x="172" y="1736"/>
                  </a:lnTo>
                  <a:lnTo>
                    <a:pt x="170" y="1736"/>
                  </a:lnTo>
                  <a:lnTo>
                    <a:pt x="168" y="1738"/>
                  </a:lnTo>
                  <a:lnTo>
                    <a:pt x="166" y="1740"/>
                  </a:lnTo>
                  <a:close/>
                  <a:moveTo>
                    <a:pt x="362" y="2084"/>
                  </a:moveTo>
                  <a:lnTo>
                    <a:pt x="362" y="2084"/>
                  </a:lnTo>
                  <a:lnTo>
                    <a:pt x="370" y="2088"/>
                  </a:lnTo>
                  <a:lnTo>
                    <a:pt x="376" y="2088"/>
                  </a:lnTo>
                  <a:lnTo>
                    <a:pt x="380" y="2086"/>
                  </a:lnTo>
                  <a:lnTo>
                    <a:pt x="378" y="2082"/>
                  </a:lnTo>
                  <a:lnTo>
                    <a:pt x="376" y="2080"/>
                  </a:lnTo>
                  <a:lnTo>
                    <a:pt x="372" y="2078"/>
                  </a:lnTo>
                  <a:lnTo>
                    <a:pt x="366" y="2080"/>
                  </a:lnTo>
                  <a:lnTo>
                    <a:pt x="362" y="2084"/>
                  </a:lnTo>
                  <a:close/>
                  <a:moveTo>
                    <a:pt x="174" y="1354"/>
                  </a:moveTo>
                  <a:lnTo>
                    <a:pt x="174" y="1354"/>
                  </a:lnTo>
                  <a:lnTo>
                    <a:pt x="176" y="1352"/>
                  </a:lnTo>
                  <a:lnTo>
                    <a:pt x="176" y="1350"/>
                  </a:lnTo>
                  <a:lnTo>
                    <a:pt x="174" y="1348"/>
                  </a:lnTo>
                  <a:lnTo>
                    <a:pt x="174" y="1350"/>
                  </a:lnTo>
                  <a:lnTo>
                    <a:pt x="172" y="1350"/>
                  </a:lnTo>
                  <a:lnTo>
                    <a:pt x="172" y="1352"/>
                  </a:lnTo>
                  <a:lnTo>
                    <a:pt x="174" y="1354"/>
                  </a:lnTo>
                  <a:close/>
                  <a:moveTo>
                    <a:pt x="168" y="1784"/>
                  </a:moveTo>
                  <a:lnTo>
                    <a:pt x="168" y="1784"/>
                  </a:lnTo>
                  <a:lnTo>
                    <a:pt x="170" y="1784"/>
                  </a:lnTo>
                  <a:lnTo>
                    <a:pt x="176" y="1780"/>
                  </a:lnTo>
                  <a:lnTo>
                    <a:pt x="178" y="1776"/>
                  </a:lnTo>
                  <a:lnTo>
                    <a:pt x="178" y="1772"/>
                  </a:lnTo>
                  <a:lnTo>
                    <a:pt x="176" y="1768"/>
                  </a:lnTo>
                  <a:lnTo>
                    <a:pt x="176" y="1764"/>
                  </a:lnTo>
                  <a:lnTo>
                    <a:pt x="176" y="1762"/>
                  </a:lnTo>
                  <a:lnTo>
                    <a:pt x="174" y="1762"/>
                  </a:lnTo>
                  <a:lnTo>
                    <a:pt x="172" y="1764"/>
                  </a:lnTo>
                  <a:lnTo>
                    <a:pt x="170" y="1766"/>
                  </a:lnTo>
                  <a:lnTo>
                    <a:pt x="168" y="1766"/>
                  </a:lnTo>
                  <a:lnTo>
                    <a:pt x="166" y="1764"/>
                  </a:lnTo>
                  <a:lnTo>
                    <a:pt x="166" y="1766"/>
                  </a:lnTo>
                  <a:lnTo>
                    <a:pt x="162" y="1768"/>
                  </a:lnTo>
                  <a:lnTo>
                    <a:pt x="158" y="1772"/>
                  </a:lnTo>
                  <a:lnTo>
                    <a:pt x="158" y="1774"/>
                  </a:lnTo>
                  <a:lnTo>
                    <a:pt x="160" y="1776"/>
                  </a:lnTo>
                  <a:lnTo>
                    <a:pt x="162" y="1776"/>
                  </a:lnTo>
                  <a:lnTo>
                    <a:pt x="166" y="1774"/>
                  </a:lnTo>
                  <a:lnTo>
                    <a:pt x="168" y="1774"/>
                  </a:lnTo>
                  <a:lnTo>
                    <a:pt x="170" y="1776"/>
                  </a:lnTo>
                  <a:lnTo>
                    <a:pt x="170" y="1778"/>
                  </a:lnTo>
                  <a:lnTo>
                    <a:pt x="168" y="1780"/>
                  </a:lnTo>
                  <a:lnTo>
                    <a:pt x="166" y="1782"/>
                  </a:lnTo>
                  <a:lnTo>
                    <a:pt x="168" y="1784"/>
                  </a:lnTo>
                  <a:close/>
                  <a:moveTo>
                    <a:pt x="190" y="1748"/>
                  </a:moveTo>
                  <a:lnTo>
                    <a:pt x="190" y="1748"/>
                  </a:lnTo>
                  <a:lnTo>
                    <a:pt x="186" y="1752"/>
                  </a:lnTo>
                  <a:lnTo>
                    <a:pt x="182" y="1756"/>
                  </a:lnTo>
                  <a:lnTo>
                    <a:pt x="178" y="1762"/>
                  </a:lnTo>
                  <a:lnTo>
                    <a:pt x="178" y="1768"/>
                  </a:lnTo>
                  <a:lnTo>
                    <a:pt x="180" y="1768"/>
                  </a:lnTo>
                  <a:lnTo>
                    <a:pt x="182" y="1766"/>
                  </a:lnTo>
                  <a:lnTo>
                    <a:pt x="188" y="1758"/>
                  </a:lnTo>
                  <a:lnTo>
                    <a:pt x="192" y="1750"/>
                  </a:lnTo>
                  <a:lnTo>
                    <a:pt x="192" y="1748"/>
                  </a:lnTo>
                  <a:lnTo>
                    <a:pt x="190" y="1748"/>
                  </a:lnTo>
                  <a:close/>
                  <a:moveTo>
                    <a:pt x="700" y="1324"/>
                  </a:moveTo>
                  <a:lnTo>
                    <a:pt x="700" y="1324"/>
                  </a:lnTo>
                  <a:lnTo>
                    <a:pt x="698" y="1322"/>
                  </a:lnTo>
                  <a:lnTo>
                    <a:pt x="694" y="1322"/>
                  </a:lnTo>
                  <a:lnTo>
                    <a:pt x="690" y="1324"/>
                  </a:lnTo>
                  <a:lnTo>
                    <a:pt x="690" y="1326"/>
                  </a:lnTo>
                  <a:lnTo>
                    <a:pt x="692" y="1326"/>
                  </a:lnTo>
                  <a:lnTo>
                    <a:pt x="696" y="1326"/>
                  </a:lnTo>
                  <a:lnTo>
                    <a:pt x="700" y="1326"/>
                  </a:lnTo>
                  <a:lnTo>
                    <a:pt x="700" y="1324"/>
                  </a:lnTo>
                  <a:close/>
                  <a:moveTo>
                    <a:pt x="494" y="1970"/>
                  </a:moveTo>
                  <a:lnTo>
                    <a:pt x="494" y="1970"/>
                  </a:lnTo>
                  <a:lnTo>
                    <a:pt x="492" y="1962"/>
                  </a:lnTo>
                  <a:lnTo>
                    <a:pt x="486" y="1954"/>
                  </a:lnTo>
                  <a:lnTo>
                    <a:pt x="478" y="1948"/>
                  </a:lnTo>
                  <a:lnTo>
                    <a:pt x="470" y="1944"/>
                  </a:lnTo>
                  <a:lnTo>
                    <a:pt x="460" y="1942"/>
                  </a:lnTo>
                  <a:lnTo>
                    <a:pt x="452" y="1942"/>
                  </a:lnTo>
                  <a:lnTo>
                    <a:pt x="446" y="1944"/>
                  </a:lnTo>
                  <a:lnTo>
                    <a:pt x="442" y="1948"/>
                  </a:lnTo>
                  <a:lnTo>
                    <a:pt x="438" y="1954"/>
                  </a:lnTo>
                  <a:lnTo>
                    <a:pt x="434" y="1954"/>
                  </a:lnTo>
                  <a:lnTo>
                    <a:pt x="432" y="1952"/>
                  </a:lnTo>
                  <a:lnTo>
                    <a:pt x="428" y="1950"/>
                  </a:lnTo>
                  <a:lnTo>
                    <a:pt x="424" y="1948"/>
                  </a:lnTo>
                  <a:lnTo>
                    <a:pt x="424" y="1946"/>
                  </a:lnTo>
                  <a:lnTo>
                    <a:pt x="428" y="1942"/>
                  </a:lnTo>
                  <a:lnTo>
                    <a:pt x="434" y="1938"/>
                  </a:lnTo>
                  <a:lnTo>
                    <a:pt x="436" y="1936"/>
                  </a:lnTo>
                  <a:lnTo>
                    <a:pt x="438" y="1932"/>
                  </a:lnTo>
                  <a:lnTo>
                    <a:pt x="434" y="1924"/>
                  </a:lnTo>
                  <a:lnTo>
                    <a:pt x="428" y="1914"/>
                  </a:lnTo>
                  <a:lnTo>
                    <a:pt x="418" y="1906"/>
                  </a:lnTo>
                  <a:lnTo>
                    <a:pt x="410" y="1902"/>
                  </a:lnTo>
                  <a:lnTo>
                    <a:pt x="408" y="1898"/>
                  </a:lnTo>
                  <a:lnTo>
                    <a:pt x="410" y="1898"/>
                  </a:lnTo>
                  <a:lnTo>
                    <a:pt x="418" y="1902"/>
                  </a:lnTo>
                  <a:lnTo>
                    <a:pt x="424" y="1906"/>
                  </a:lnTo>
                  <a:lnTo>
                    <a:pt x="428" y="1906"/>
                  </a:lnTo>
                  <a:lnTo>
                    <a:pt x="430" y="1904"/>
                  </a:lnTo>
                  <a:lnTo>
                    <a:pt x="428" y="1902"/>
                  </a:lnTo>
                  <a:lnTo>
                    <a:pt x="422" y="1894"/>
                  </a:lnTo>
                  <a:lnTo>
                    <a:pt x="418" y="1888"/>
                  </a:lnTo>
                  <a:lnTo>
                    <a:pt x="416" y="1884"/>
                  </a:lnTo>
                  <a:lnTo>
                    <a:pt x="416" y="1876"/>
                  </a:lnTo>
                  <a:lnTo>
                    <a:pt x="416" y="1872"/>
                  </a:lnTo>
                  <a:lnTo>
                    <a:pt x="416" y="1870"/>
                  </a:lnTo>
                  <a:lnTo>
                    <a:pt x="412" y="1868"/>
                  </a:lnTo>
                  <a:lnTo>
                    <a:pt x="408" y="1866"/>
                  </a:lnTo>
                  <a:lnTo>
                    <a:pt x="406" y="1864"/>
                  </a:lnTo>
                  <a:lnTo>
                    <a:pt x="404" y="1858"/>
                  </a:lnTo>
                  <a:lnTo>
                    <a:pt x="400" y="1852"/>
                  </a:lnTo>
                  <a:lnTo>
                    <a:pt x="396" y="1850"/>
                  </a:lnTo>
                  <a:lnTo>
                    <a:pt x="390" y="1848"/>
                  </a:lnTo>
                  <a:lnTo>
                    <a:pt x="380" y="1844"/>
                  </a:lnTo>
                  <a:lnTo>
                    <a:pt x="376" y="1842"/>
                  </a:lnTo>
                  <a:lnTo>
                    <a:pt x="372" y="1836"/>
                  </a:lnTo>
                  <a:lnTo>
                    <a:pt x="366" y="1822"/>
                  </a:lnTo>
                  <a:lnTo>
                    <a:pt x="360" y="1806"/>
                  </a:lnTo>
                  <a:lnTo>
                    <a:pt x="358" y="1794"/>
                  </a:lnTo>
                  <a:lnTo>
                    <a:pt x="356" y="1786"/>
                  </a:lnTo>
                  <a:lnTo>
                    <a:pt x="354" y="1782"/>
                  </a:lnTo>
                  <a:lnTo>
                    <a:pt x="352" y="1780"/>
                  </a:lnTo>
                  <a:lnTo>
                    <a:pt x="346" y="1774"/>
                  </a:lnTo>
                  <a:lnTo>
                    <a:pt x="342" y="1768"/>
                  </a:lnTo>
                  <a:lnTo>
                    <a:pt x="336" y="1762"/>
                  </a:lnTo>
                  <a:lnTo>
                    <a:pt x="322" y="1756"/>
                  </a:lnTo>
                  <a:lnTo>
                    <a:pt x="314" y="1754"/>
                  </a:lnTo>
                  <a:lnTo>
                    <a:pt x="310" y="1754"/>
                  </a:lnTo>
                  <a:lnTo>
                    <a:pt x="308" y="1754"/>
                  </a:lnTo>
                  <a:lnTo>
                    <a:pt x="306" y="1756"/>
                  </a:lnTo>
                  <a:lnTo>
                    <a:pt x="302" y="1758"/>
                  </a:lnTo>
                  <a:lnTo>
                    <a:pt x="298" y="1760"/>
                  </a:lnTo>
                  <a:lnTo>
                    <a:pt x="290" y="1758"/>
                  </a:lnTo>
                  <a:lnTo>
                    <a:pt x="286" y="1758"/>
                  </a:lnTo>
                  <a:lnTo>
                    <a:pt x="288" y="1756"/>
                  </a:lnTo>
                  <a:lnTo>
                    <a:pt x="294" y="1754"/>
                  </a:lnTo>
                  <a:lnTo>
                    <a:pt x="300" y="1748"/>
                  </a:lnTo>
                  <a:lnTo>
                    <a:pt x="302" y="1746"/>
                  </a:lnTo>
                  <a:lnTo>
                    <a:pt x="304" y="1746"/>
                  </a:lnTo>
                  <a:lnTo>
                    <a:pt x="308" y="1746"/>
                  </a:lnTo>
                  <a:lnTo>
                    <a:pt x="316" y="1742"/>
                  </a:lnTo>
                  <a:lnTo>
                    <a:pt x="318" y="1742"/>
                  </a:lnTo>
                  <a:lnTo>
                    <a:pt x="318" y="1740"/>
                  </a:lnTo>
                  <a:lnTo>
                    <a:pt x="316" y="1738"/>
                  </a:lnTo>
                  <a:lnTo>
                    <a:pt x="310" y="1736"/>
                  </a:lnTo>
                  <a:lnTo>
                    <a:pt x="308" y="1734"/>
                  </a:lnTo>
                  <a:lnTo>
                    <a:pt x="308" y="1730"/>
                  </a:lnTo>
                  <a:lnTo>
                    <a:pt x="304" y="1728"/>
                  </a:lnTo>
                  <a:lnTo>
                    <a:pt x="304" y="1726"/>
                  </a:lnTo>
                  <a:lnTo>
                    <a:pt x="306" y="1728"/>
                  </a:lnTo>
                  <a:lnTo>
                    <a:pt x="312" y="1728"/>
                  </a:lnTo>
                  <a:lnTo>
                    <a:pt x="314" y="1728"/>
                  </a:lnTo>
                  <a:lnTo>
                    <a:pt x="318" y="1726"/>
                  </a:lnTo>
                  <a:lnTo>
                    <a:pt x="326" y="1716"/>
                  </a:lnTo>
                  <a:lnTo>
                    <a:pt x="334" y="1696"/>
                  </a:lnTo>
                  <a:lnTo>
                    <a:pt x="342" y="1678"/>
                  </a:lnTo>
                  <a:lnTo>
                    <a:pt x="348" y="1668"/>
                  </a:lnTo>
                  <a:lnTo>
                    <a:pt x="350" y="1664"/>
                  </a:lnTo>
                  <a:lnTo>
                    <a:pt x="348" y="1656"/>
                  </a:lnTo>
                  <a:lnTo>
                    <a:pt x="346" y="1652"/>
                  </a:lnTo>
                  <a:lnTo>
                    <a:pt x="342" y="1650"/>
                  </a:lnTo>
                  <a:lnTo>
                    <a:pt x="332" y="1650"/>
                  </a:lnTo>
                  <a:lnTo>
                    <a:pt x="320" y="1650"/>
                  </a:lnTo>
                  <a:lnTo>
                    <a:pt x="302" y="1650"/>
                  </a:lnTo>
                  <a:lnTo>
                    <a:pt x="286" y="1650"/>
                  </a:lnTo>
                  <a:lnTo>
                    <a:pt x="274" y="1652"/>
                  </a:lnTo>
                  <a:lnTo>
                    <a:pt x="268" y="1656"/>
                  </a:lnTo>
                  <a:lnTo>
                    <a:pt x="262" y="1658"/>
                  </a:lnTo>
                  <a:lnTo>
                    <a:pt x="258" y="1658"/>
                  </a:lnTo>
                  <a:lnTo>
                    <a:pt x="258" y="1654"/>
                  </a:lnTo>
                  <a:lnTo>
                    <a:pt x="268" y="1644"/>
                  </a:lnTo>
                  <a:lnTo>
                    <a:pt x="270" y="1642"/>
                  </a:lnTo>
                  <a:lnTo>
                    <a:pt x="268" y="1642"/>
                  </a:lnTo>
                  <a:lnTo>
                    <a:pt x="264" y="1642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70" y="1632"/>
                  </a:lnTo>
                  <a:lnTo>
                    <a:pt x="284" y="1620"/>
                  </a:lnTo>
                  <a:lnTo>
                    <a:pt x="296" y="1608"/>
                  </a:lnTo>
                  <a:lnTo>
                    <a:pt x="300" y="1604"/>
                  </a:lnTo>
                  <a:lnTo>
                    <a:pt x="300" y="1600"/>
                  </a:lnTo>
                  <a:lnTo>
                    <a:pt x="298" y="1598"/>
                  </a:lnTo>
                  <a:lnTo>
                    <a:pt x="298" y="1596"/>
                  </a:lnTo>
                  <a:lnTo>
                    <a:pt x="300" y="1592"/>
                  </a:lnTo>
                  <a:lnTo>
                    <a:pt x="300" y="1590"/>
                  </a:lnTo>
                  <a:lnTo>
                    <a:pt x="292" y="1588"/>
                  </a:lnTo>
                  <a:lnTo>
                    <a:pt x="286" y="1588"/>
                  </a:lnTo>
                  <a:lnTo>
                    <a:pt x="284" y="1590"/>
                  </a:lnTo>
                  <a:lnTo>
                    <a:pt x="284" y="1592"/>
                  </a:lnTo>
                  <a:lnTo>
                    <a:pt x="280" y="1592"/>
                  </a:lnTo>
                  <a:lnTo>
                    <a:pt x="272" y="1592"/>
                  </a:lnTo>
                  <a:lnTo>
                    <a:pt x="262" y="1594"/>
                  </a:lnTo>
                  <a:lnTo>
                    <a:pt x="254" y="1596"/>
                  </a:lnTo>
                  <a:lnTo>
                    <a:pt x="246" y="1596"/>
                  </a:lnTo>
                  <a:lnTo>
                    <a:pt x="242" y="1594"/>
                  </a:lnTo>
                  <a:lnTo>
                    <a:pt x="238" y="1596"/>
                  </a:lnTo>
                  <a:lnTo>
                    <a:pt x="236" y="1596"/>
                  </a:lnTo>
                  <a:lnTo>
                    <a:pt x="232" y="1594"/>
                  </a:lnTo>
                  <a:lnTo>
                    <a:pt x="226" y="1592"/>
                  </a:lnTo>
                  <a:lnTo>
                    <a:pt x="222" y="1590"/>
                  </a:lnTo>
                  <a:lnTo>
                    <a:pt x="218" y="1594"/>
                  </a:lnTo>
                  <a:lnTo>
                    <a:pt x="218" y="1600"/>
                  </a:lnTo>
                  <a:lnTo>
                    <a:pt x="218" y="1602"/>
                  </a:lnTo>
                  <a:lnTo>
                    <a:pt x="218" y="1604"/>
                  </a:lnTo>
                  <a:lnTo>
                    <a:pt x="214" y="1606"/>
                  </a:lnTo>
                  <a:lnTo>
                    <a:pt x="212" y="1606"/>
                  </a:lnTo>
                  <a:lnTo>
                    <a:pt x="216" y="1612"/>
                  </a:lnTo>
                  <a:lnTo>
                    <a:pt x="218" y="1616"/>
                  </a:lnTo>
                  <a:lnTo>
                    <a:pt x="212" y="1616"/>
                  </a:lnTo>
                  <a:lnTo>
                    <a:pt x="206" y="1614"/>
                  </a:lnTo>
                  <a:lnTo>
                    <a:pt x="206" y="1618"/>
                  </a:lnTo>
                  <a:lnTo>
                    <a:pt x="210" y="1622"/>
                  </a:lnTo>
                  <a:lnTo>
                    <a:pt x="210" y="1624"/>
                  </a:lnTo>
                  <a:lnTo>
                    <a:pt x="210" y="1626"/>
                  </a:lnTo>
                  <a:lnTo>
                    <a:pt x="208" y="1626"/>
                  </a:lnTo>
                  <a:lnTo>
                    <a:pt x="204" y="1626"/>
                  </a:lnTo>
                  <a:lnTo>
                    <a:pt x="202" y="1626"/>
                  </a:lnTo>
                  <a:lnTo>
                    <a:pt x="204" y="1628"/>
                  </a:lnTo>
                  <a:lnTo>
                    <a:pt x="206" y="1632"/>
                  </a:lnTo>
                  <a:lnTo>
                    <a:pt x="206" y="1636"/>
                  </a:lnTo>
                  <a:lnTo>
                    <a:pt x="206" y="1638"/>
                  </a:lnTo>
                  <a:lnTo>
                    <a:pt x="202" y="1638"/>
                  </a:lnTo>
                  <a:lnTo>
                    <a:pt x="190" y="1638"/>
                  </a:lnTo>
                  <a:lnTo>
                    <a:pt x="188" y="1640"/>
                  </a:lnTo>
                  <a:lnTo>
                    <a:pt x="188" y="1646"/>
                  </a:lnTo>
                  <a:lnTo>
                    <a:pt x="190" y="1650"/>
                  </a:lnTo>
                  <a:lnTo>
                    <a:pt x="190" y="1654"/>
                  </a:lnTo>
                  <a:lnTo>
                    <a:pt x="188" y="1660"/>
                  </a:lnTo>
                  <a:lnTo>
                    <a:pt x="188" y="1668"/>
                  </a:lnTo>
                  <a:lnTo>
                    <a:pt x="188" y="1672"/>
                  </a:lnTo>
                  <a:lnTo>
                    <a:pt x="190" y="1674"/>
                  </a:lnTo>
                  <a:lnTo>
                    <a:pt x="194" y="1674"/>
                  </a:lnTo>
                  <a:lnTo>
                    <a:pt x="196" y="1676"/>
                  </a:lnTo>
                  <a:lnTo>
                    <a:pt x="194" y="1682"/>
                  </a:lnTo>
                  <a:lnTo>
                    <a:pt x="192" y="1686"/>
                  </a:lnTo>
                  <a:lnTo>
                    <a:pt x="190" y="1690"/>
                  </a:lnTo>
                  <a:lnTo>
                    <a:pt x="188" y="1690"/>
                  </a:lnTo>
                  <a:lnTo>
                    <a:pt x="190" y="1692"/>
                  </a:lnTo>
                  <a:lnTo>
                    <a:pt x="190" y="1694"/>
                  </a:lnTo>
                  <a:lnTo>
                    <a:pt x="190" y="1696"/>
                  </a:lnTo>
                  <a:lnTo>
                    <a:pt x="186" y="1698"/>
                  </a:lnTo>
                  <a:lnTo>
                    <a:pt x="184" y="1700"/>
                  </a:lnTo>
                  <a:lnTo>
                    <a:pt x="188" y="1702"/>
                  </a:lnTo>
                  <a:lnTo>
                    <a:pt x="188" y="1704"/>
                  </a:lnTo>
                  <a:lnTo>
                    <a:pt x="186" y="1706"/>
                  </a:lnTo>
                  <a:lnTo>
                    <a:pt x="182" y="1708"/>
                  </a:lnTo>
                  <a:lnTo>
                    <a:pt x="178" y="1708"/>
                  </a:lnTo>
                  <a:lnTo>
                    <a:pt x="174" y="1708"/>
                  </a:lnTo>
                  <a:lnTo>
                    <a:pt x="172" y="1710"/>
                  </a:lnTo>
                  <a:lnTo>
                    <a:pt x="172" y="1712"/>
                  </a:lnTo>
                  <a:lnTo>
                    <a:pt x="174" y="1714"/>
                  </a:lnTo>
                  <a:lnTo>
                    <a:pt x="182" y="1714"/>
                  </a:lnTo>
                  <a:lnTo>
                    <a:pt x="190" y="1712"/>
                  </a:lnTo>
                  <a:lnTo>
                    <a:pt x="192" y="1714"/>
                  </a:lnTo>
                  <a:lnTo>
                    <a:pt x="184" y="1716"/>
                  </a:lnTo>
                  <a:lnTo>
                    <a:pt x="180" y="1718"/>
                  </a:lnTo>
                  <a:lnTo>
                    <a:pt x="180" y="1720"/>
                  </a:lnTo>
                  <a:lnTo>
                    <a:pt x="184" y="1722"/>
                  </a:lnTo>
                  <a:lnTo>
                    <a:pt x="188" y="1722"/>
                  </a:lnTo>
                  <a:lnTo>
                    <a:pt x="190" y="1722"/>
                  </a:lnTo>
                  <a:lnTo>
                    <a:pt x="192" y="1724"/>
                  </a:lnTo>
                  <a:lnTo>
                    <a:pt x="196" y="1724"/>
                  </a:lnTo>
                  <a:lnTo>
                    <a:pt x="200" y="1720"/>
                  </a:lnTo>
                  <a:lnTo>
                    <a:pt x="208" y="1714"/>
                  </a:lnTo>
                  <a:lnTo>
                    <a:pt x="206" y="1720"/>
                  </a:lnTo>
                  <a:lnTo>
                    <a:pt x="202" y="1726"/>
                  </a:lnTo>
                  <a:lnTo>
                    <a:pt x="202" y="1730"/>
                  </a:lnTo>
                  <a:lnTo>
                    <a:pt x="202" y="1734"/>
                  </a:lnTo>
                  <a:lnTo>
                    <a:pt x="198" y="1738"/>
                  </a:lnTo>
                  <a:lnTo>
                    <a:pt x="196" y="1740"/>
                  </a:lnTo>
                  <a:lnTo>
                    <a:pt x="196" y="1744"/>
                  </a:lnTo>
                  <a:lnTo>
                    <a:pt x="198" y="1748"/>
                  </a:lnTo>
                  <a:lnTo>
                    <a:pt x="194" y="1754"/>
                  </a:lnTo>
                  <a:lnTo>
                    <a:pt x="192" y="1758"/>
                  </a:lnTo>
                  <a:lnTo>
                    <a:pt x="192" y="1762"/>
                  </a:lnTo>
                  <a:lnTo>
                    <a:pt x="194" y="1764"/>
                  </a:lnTo>
                  <a:lnTo>
                    <a:pt x="194" y="1768"/>
                  </a:lnTo>
                  <a:lnTo>
                    <a:pt x="194" y="1772"/>
                  </a:lnTo>
                  <a:lnTo>
                    <a:pt x="194" y="1774"/>
                  </a:lnTo>
                  <a:lnTo>
                    <a:pt x="200" y="1770"/>
                  </a:lnTo>
                  <a:lnTo>
                    <a:pt x="198" y="1774"/>
                  </a:lnTo>
                  <a:lnTo>
                    <a:pt x="194" y="1784"/>
                  </a:lnTo>
                  <a:lnTo>
                    <a:pt x="188" y="1794"/>
                  </a:lnTo>
                  <a:lnTo>
                    <a:pt x="188" y="1800"/>
                  </a:lnTo>
                  <a:lnTo>
                    <a:pt x="192" y="1802"/>
                  </a:lnTo>
                  <a:lnTo>
                    <a:pt x="194" y="1802"/>
                  </a:lnTo>
                  <a:lnTo>
                    <a:pt x="196" y="1800"/>
                  </a:lnTo>
                  <a:lnTo>
                    <a:pt x="198" y="1792"/>
                  </a:lnTo>
                  <a:lnTo>
                    <a:pt x="202" y="1780"/>
                  </a:lnTo>
                  <a:lnTo>
                    <a:pt x="204" y="1776"/>
                  </a:lnTo>
                  <a:lnTo>
                    <a:pt x="206" y="1772"/>
                  </a:lnTo>
                  <a:lnTo>
                    <a:pt x="208" y="1770"/>
                  </a:lnTo>
                  <a:lnTo>
                    <a:pt x="208" y="1768"/>
                  </a:lnTo>
                  <a:lnTo>
                    <a:pt x="204" y="1764"/>
                  </a:lnTo>
                  <a:lnTo>
                    <a:pt x="202" y="1760"/>
                  </a:lnTo>
                  <a:lnTo>
                    <a:pt x="204" y="1758"/>
                  </a:lnTo>
                  <a:lnTo>
                    <a:pt x="206" y="1756"/>
                  </a:lnTo>
                  <a:lnTo>
                    <a:pt x="210" y="1754"/>
                  </a:lnTo>
                  <a:lnTo>
                    <a:pt x="208" y="1756"/>
                  </a:lnTo>
                  <a:lnTo>
                    <a:pt x="208" y="1762"/>
                  </a:lnTo>
                  <a:lnTo>
                    <a:pt x="208" y="1764"/>
                  </a:lnTo>
                  <a:lnTo>
                    <a:pt x="210" y="1766"/>
                  </a:lnTo>
                  <a:lnTo>
                    <a:pt x="214" y="1766"/>
                  </a:lnTo>
                  <a:lnTo>
                    <a:pt x="216" y="1764"/>
                  </a:lnTo>
                  <a:lnTo>
                    <a:pt x="216" y="1762"/>
                  </a:lnTo>
                  <a:lnTo>
                    <a:pt x="220" y="1764"/>
                  </a:lnTo>
                  <a:lnTo>
                    <a:pt x="222" y="1764"/>
                  </a:lnTo>
                  <a:lnTo>
                    <a:pt x="224" y="1758"/>
                  </a:lnTo>
                  <a:lnTo>
                    <a:pt x="224" y="1756"/>
                  </a:lnTo>
                  <a:lnTo>
                    <a:pt x="228" y="1756"/>
                  </a:lnTo>
                  <a:lnTo>
                    <a:pt x="232" y="1758"/>
                  </a:lnTo>
                  <a:lnTo>
                    <a:pt x="238" y="1762"/>
                  </a:lnTo>
                  <a:lnTo>
                    <a:pt x="230" y="1764"/>
                  </a:lnTo>
                  <a:lnTo>
                    <a:pt x="224" y="1766"/>
                  </a:lnTo>
                  <a:lnTo>
                    <a:pt x="224" y="1768"/>
                  </a:lnTo>
                  <a:lnTo>
                    <a:pt x="224" y="1772"/>
                  </a:lnTo>
                  <a:lnTo>
                    <a:pt x="230" y="1780"/>
                  </a:lnTo>
                  <a:lnTo>
                    <a:pt x="234" y="1786"/>
                  </a:lnTo>
                  <a:lnTo>
                    <a:pt x="234" y="1790"/>
                  </a:lnTo>
                  <a:lnTo>
                    <a:pt x="234" y="1794"/>
                  </a:lnTo>
                  <a:lnTo>
                    <a:pt x="230" y="1798"/>
                  </a:lnTo>
                  <a:lnTo>
                    <a:pt x="224" y="1806"/>
                  </a:lnTo>
                  <a:lnTo>
                    <a:pt x="222" y="1810"/>
                  </a:lnTo>
                  <a:lnTo>
                    <a:pt x="220" y="1816"/>
                  </a:lnTo>
                  <a:lnTo>
                    <a:pt x="222" y="1822"/>
                  </a:lnTo>
                  <a:lnTo>
                    <a:pt x="220" y="1822"/>
                  </a:lnTo>
                  <a:lnTo>
                    <a:pt x="216" y="1818"/>
                  </a:lnTo>
                  <a:lnTo>
                    <a:pt x="214" y="1820"/>
                  </a:lnTo>
                  <a:lnTo>
                    <a:pt x="214" y="1822"/>
                  </a:lnTo>
                  <a:lnTo>
                    <a:pt x="214" y="1826"/>
                  </a:lnTo>
                  <a:lnTo>
                    <a:pt x="220" y="1834"/>
                  </a:lnTo>
                  <a:lnTo>
                    <a:pt x="224" y="1840"/>
                  </a:lnTo>
                  <a:lnTo>
                    <a:pt x="224" y="1838"/>
                  </a:lnTo>
                  <a:lnTo>
                    <a:pt x="224" y="1836"/>
                  </a:lnTo>
                  <a:lnTo>
                    <a:pt x="222" y="1830"/>
                  </a:lnTo>
                  <a:lnTo>
                    <a:pt x="224" y="1828"/>
                  </a:lnTo>
                  <a:lnTo>
                    <a:pt x="228" y="1828"/>
                  </a:lnTo>
                  <a:lnTo>
                    <a:pt x="234" y="1832"/>
                  </a:lnTo>
                  <a:lnTo>
                    <a:pt x="240" y="1838"/>
                  </a:lnTo>
                  <a:lnTo>
                    <a:pt x="244" y="1840"/>
                  </a:lnTo>
                  <a:lnTo>
                    <a:pt x="246" y="1838"/>
                  </a:lnTo>
                  <a:lnTo>
                    <a:pt x="246" y="1834"/>
                  </a:lnTo>
                  <a:lnTo>
                    <a:pt x="246" y="1828"/>
                  </a:lnTo>
                  <a:lnTo>
                    <a:pt x="246" y="1826"/>
                  </a:lnTo>
                  <a:lnTo>
                    <a:pt x="246" y="1828"/>
                  </a:lnTo>
                  <a:lnTo>
                    <a:pt x="252" y="1830"/>
                  </a:lnTo>
                  <a:lnTo>
                    <a:pt x="260" y="1834"/>
                  </a:lnTo>
                  <a:lnTo>
                    <a:pt x="264" y="1834"/>
                  </a:lnTo>
                  <a:lnTo>
                    <a:pt x="266" y="1830"/>
                  </a:lnTo>
                  <a:lnTo>
                    <a:pt x="270" y="1826"/>
                  </a:lnTo>
                  <a:lnTo>
                    <a:pt x="274" y="1826"/>
                  </a:lnTo>
                  <a:lnTo>
                    <a:pt x="276" y="1828"/>
                  </a:lnTo>
                  <a:lnTo>
                    <a:pt x="278" y="1824"/>
                  </a:lnTo>
                  <a:lnTo>
                    <a:pt x="282" y="1822"/>
                  </a:lnTo>
                  <a:lnTo>
                    <a:pt x="286" y="1820"/>
                  </a:lnTo>
                  <a:lnTo>
                    <a:pt x="292" y="1820"/>
                  </a:lnTo>
                  <a:lnTo>
                    <a:pt x="292" y="1822"/>
                  </a:lnTo>
                  <a:lnTo>
                    <a:pt x="288" y="1826"/>
                  </a:lnTo>
                  <a:lnTo>
                    <a:pt x="280" y="1838"/>
                  </a:lnTo>
                  <a:lnTo>
                    <a:pt x="276" y="1844"/>
                  </a:lnTo>
                  <a:lnTo>
                    <a:pt x="276" y="1850"/>
                  </a:lnTo>
                  <a:lnTo>
                    <a:pt x="276" y="1854"/>
                  </a:lnTo>
                  <a:lnTo>
                    <a:pt x="278" y="1858"/>
                  </a:lnTo>
                  <a:lnTo>
                    <a:pt x="286" y="1866"/>
                  </a:lnTo>
                  <a:lnTo>
                    <a:pt x="292" y="1872"/>
                  </a:lnTo>
                  <a:lnTo>
                    <a:pt x="294" y="1876"/>
                  </a:lnTo>
                  <a:lnTo>
                    <a:pt x="296" y="1874"/>
                  </a:lnTo>
                  <a:lnTo>
                    <a:pt x="300" y="1872"/>
                  </a:lnTo>
                  <a:lnTo>
                    <a:pt x="302" y="1870"/>
                  </a:lnTo>
                  <a:lnTo>
                    <a:pt x="304" y="1870"/>
                  </a:lnTo>
                  <a:lnTo>
                    <a:pt x="308" y="1870"/>
                  </a:lnTo>
                  <a:lnTo>
                    <a:pt x="308" y="1872"/>
                  </a:lnTo>
                  <a:lnTo>
                    <a:pt x="308" y="1874"/>
                  </a:lnTo>
                  <a:lnTo>
                    <a:pt x="306" y="1878"/>
                  </a:lnTo>
                  <a:lnTo>
                    <a:pt x="306" y="1880"/>
                  </a:lnTo>
                  <a:lnTo>
                    <a:pt x="306" y="1882"/>
                  </a:lnTo>
                  <a:lnTo>
                    <a:pt x="308" y="1882"/>
                  </a:lnTo>
                  <a:lnTo>
                    <a:pt x="306" y="1884"/>
                  </a:lnTo>
                  <a:lnTo>
                    <a:pt x="300" y="1888"/>
                  </a:lnTo>
                  <a:lnTo>
                    <a:pt x="298" y="1890"/>
                  </a:lnTo>
                  <a:lnTo>
                    <a:pt x="298" y="1892"/>
                  </a:lnTo>
                  <a:lnTo>
                    <a:pt x="298" y="1894"/>
                  </a:lnTo>
                  <a:lnTo>
                    <a:pt x="302" y="1896"/>
                  </a:lnTo>
                  <a:lnTo>
                    <a:pt x="304" y="1898"/>
                  </a:lnTo>
                  <a:lnTo>
                    <a:pt x="302" y="1900"/>
                  </a:lnTo>
                  <a:lnTo>
                    <a:pt x="300" y="1902"/>
                  </a:lnTo>
                  <a:lnTo>
                    <a:pt x="300" y="1906"/>
                  </a:lnTo>
                  <a:lnTo>
                    <a:pt x="300" y="1910"/>
                  </a:lnTo>
                  <a:lnTo>
                    <a:pt x="302" y="1916"/>
                  </a:lnTo>
                  <a:lnTo>
                    <a:pt x="308" y="1924"/>
                  </a:lnTo>
                  <a:lnTo>
                    <a:pt x="304" y="1922"/>
                  </a:lnTo>
                  <a:lnTo>
                    <a:pt x="300" y="1918"/>
                  </a:lnTo>
                  <a:lnTo>
                    <a:pt x="296" y="1916"/>
                  </a:lnTo>
                  <a:lnTo>
                    <a:pt x="294" y="1918"/>
                  </a:lnTo>
                  <a:lnTo>
                    <a:pt x="296" y="1922"/>
                  </a:lnTo>
                  <a:lnTo>
                    <a:pt x="298" y="1926"/>
                  </a:lnTo>
                  <a:lnTo>
                    <a:pt x="294" y="1924"/>
                  </a:lnTo>
                  <a:lnTo>
                    <a:pt x="290" y="1922"/>
                  </a:lnTo>
                  <a:lnTo>
                    <a:pt x="286" y="1922"/>
                  </a:lnTo>
                  <a:lnTo>
                    <a:pt x="282" y="1922"/>
                  </a:lnTo>
                  <a:lnTo>
                    <a:pt x="276" y="1924"/>
                  </a:lnTo>
                  <a:lnTo>
                    <a:pt x="272" y="1924"/>
                  </a:lnTo>
                  <a:lnTo>
                    <a:pt x="270" y="1922"/>
                  </a:lnTo>
                  <a:lnTo>
                    <a:pt x="266" y="1924"/>
                  </a:lnTo>
                  <a:lnTo>
                    <a:pt x="264" y="1926"/>
                  </a:lnTo>
                  <a:lnTo>
                    <a:pt x="260" y="1926"/>
                  </a:lnTo>
                  <a:lnTo>
                    <a:pt x="256" y="1928"/>
                  </a:lnTo>
                  <a:lnTo>
                    <a:pt x="252" y="1932"/>
                  </a:lnTo>
                  <a:lnTo>
                    <a:pt x="246" y="1940"/>
                  </a:lnTo>
                  <a:lnTo>
                    <a:pt x="240" y="1944"/>
                  </a:lnTo>
                  <a:lnTo>
                    <a:pt x="236" y="1946"/>
                  </a:lnTo>
                  <a:lnTo>
                    <a:pt x="232" y="1950"/>
                  </a:lnTo>
                  <a:lnTo>
                    <a:pt x="230" y="1956"/>
                  </a:lnTo>
                  <a:lnTo>
                    <a:pt x="234" y="1954"/>
                  </a:lnTo>
                  <a:lnTo>
                    <a:pt x="238" y="1954"/>
                  </a:lnTo>
                  <a:lnTo>
                    <a:pt x="240" y="1954"/>
                  </a:lnTo>
                  <a:lnTo>
                    <a:pt x="244" y="1952"/>
                  </a:lnTo>
                  <a:lnTo>
                    <a:pt x="252" y="1948"/>
                  </a:lnTo>
                  <a:lnTo>
                    <a:pt x="256" y="1946"/>
                  </a:lnTo>
                  <a:lnTo>
                    <a:pt x="258" y="1946"/>
                  </a:lnTo>
                  <a:lnTo>
                    <a:pt x="256" y="1948"/>
                  </a:lnTo>
                  <a:lnTo>
                    <a:pt x="256" y="1954"/>
                  </a:lnTo>
                  <a:lnTo>
                    <a:pt x="258" y="1954"/>
                  </a:lnTo>
                  <a:lnTo>
                    <a:pt x="260" y="1956"/>
                  </a:lnTo>
                  <a:lnTo>
                    <a:pt x="258" y="1960"/>
                  </a:lnTo>
                  <a:lnTo>
                    <a:pt x="256" y="1964"/>
                  </a:lnTo>
                  <a:lnTo>
                    <a:pt x="256" y="1968"/>
                  </a:lnTo>
                  <a:lnTo>
                    <a:pt x="258" y="1974"/>
                  </a:lnTo>
                  <a:lnTo>
                    <a:pt x="258" y="1978"/>
                  </a:lnTo>
                  <a:lnTo>
                    <a:pt x="256" y="1982"/>
                  </a:lnTo>
                  <a:lnTo>
                    <a:pt x="252" y="1986"/>
                  </a:lnTo>
                  <a:lnTo>
                    <a:pt x="246" y="1990"/>
                  </a:lnTo>
                  <a:lnTo>
                    <a:pt x="232" y="1998"/>
                  </a:lnTo>
                  <a:lnTo>
                    <a:pt x="222" y="2000"/>
                  </a:lnTo>
                  <a:lnTo>
                    <a:pt x="216" y="2000"/>
                  </a:lnTo>
                  <a:lnTo>
                    <a:pt x="210" y="2006"/>
                  </a:lnTo>
                  <a:lnTo>
                    <a:pt x="208" y="2008"/>
                  </a:lnTo>
                  <a:lnTo>
                    <a:pt x="208" y="2010"/>
                  </a:lnTo>
                  <a:lnTo>
                    <a:pt x="212" y="2012"/>
                  </a:lnTo>
                  <a:lnTo>
                    <a:pt x="216" y="2012"/>
                  </a:lnTo>
                  <a:lnTo>
                    <a:pt x="216" y="2014"/>
                  </a:lnTo>
                  <a:lnTo>
                    <a:pt x="214" y="2016"/>
                  </a:lnTo>
                  <a:lnTo>
                    <a:pt x="214" y="2020"/>
                  </a:lnTo>
                  <a:lnTo>
                    <a:pt x="216" y="2024"/>
                  </a:lnTo>
                  <a:lnTo>
                    <a:pt x="224" y="2024"/>
                  </a:lnTo>
                  <a:lnTo>
                    <a:pt x="232" y="2022"/>
                  </a:lnTo>
                  <a:lnTo>
                    <a:pt x="240" y="2018"/>
                  </a:lnTo>
                  <a:lnTo>
                    <a:pt x="246" y="2018"/>
                  </a:lnTo>
                  <a:lnTo>
                    <a:pt x="250" y="2022"/>
                  </a:lnTo>
                  <a:lnTo>
                    <a:pt x="250" y="2026"/>
                  </a:lnTo>
                  <a:lnTo>
                    <a:pt x="248" y="2028"/>
                  </a:lnTo>
                  <a:lnTo>
                    <a:pt x="250" y="2030"/>
                  </a:lnTo>
                  <a:lnTo>
                    <a:pt x="256" y="2028"/>
                  </a:lnTo>
                  <a:lnTo>
                    <a:pt x="260" y="2028"/>
                  </a:lnTo>
                  <a:lnTo>
                    <a:pt x="264" y="2028"/>
                  </a:lnTo>
                  <a:lnTo>
                    <a:pt x="270" y="2030"/>
                  </a:lnTo>
                  <a:lnTo>
                    <a:pt x="274" y="2034"/>
                  </a:lnTo>
                  <a:lnTo>
                    <a:pt x="280" y="2038"/>
                  </a:lnTo>
                  <a:lnTo>
                    <a:pt x="284" y="2040"/>
                  </a:lnTo>
                  <a:lnTo>
                    <a:pt x="288" y="2040"/>
                  </a:lnTo>
                  <a:lnTo>
                    <a:pt x="292" y="2038"/>
                  </a:lnTo>
                  <a:lnTo>
                    <a:pt x="298" y="2032"/>
                  </a:lnTo>
                  <a:lnTo>
                    <a:pt x="302" y="2030"/>
                  </a:lnTo>
                  <a:lnTo>
                    <a:pt x="304" y="2028"/>
                  </a:lnTo>
                  <a:lnTo>
                    <a:pt x="310" y="2026"/>
                  </a:lnTo>
                  <a:lnTo>
                    <a:pt x="314" y="2024"/>
                  </a:lnTo>
                  <a:lnTo>
                    <a:pt x="320" y="2020"/>
                  </a:lnTo>
                  <a:lnTo>
                    <a:pt x="326" y="2016"/>
                  </a:lnTo>
                  <a:lnTo>
                    <a:pt x="322" y="2022"/>
                  </a:lnTo>
                  <a:lnTo>
                    <a:pt x="318" y="2026"/>
                  </a:lnTo>
                  <a:lnTo>
                    <a:pt x="312" y="2032"/>
                  </a:lnTo>
                  <a:lnTo>
                    <a:pt x="306" y="2036"/>
                  </a:lnTo>
                  <a:lnTo>
                    <a:pt x="304" y="2044"/>
                  </a:lnTo>
                  <a:lnTo>
                    <a:pt x="302" y="2048"/>
                  </a:lnTo>
                  <a:lnTo>
                    <a:pt x="294" y="2050"/>
                  </a:lnTo>
                  <a:lnTo>
                    <a:pt x="284" y="2050"/>
                  </a:lnTo>
                  <a:lnTo>
                    <a:pt x="280" y="2050"/>
                  </a:lnTo>
                  <a:lnTo>
                    <a:pt x="274" y="2048"/>
                  </a:lnTo>
                  <a:lnTo>
                    <a:pt x="262" y="2048"/>
                  </a:lnTo>
                  <a:lnTo>
                    <a:pt x="256" y="2048"/>
                  </a:lnTo>
                  <a:lnTo>
                    <a:pt x="252" y="2050"/>
                  </a:lnTo>
                  <a:lnTo>
                    <a:pt x="252" y="2052"/>
                  </a:lnTo>
                  <a:lnTo>
                    <a:pt x="252" y="2054"/>
                  </a:lnTo>
                  <a:lnTo>
                    <a:pt x="252" y="2058"/>
                  </a:lnTo>
                  <a:lnTo>
                    <a:pt x="250" y="2058"/>
                  </a:lnTo>
                  <a:lnTo>
                    <a:pt x="246" y="2060"/>
                  </a:lnTo>
                  <a:lnTo>
                    <a:pt x="242" y="2060"/>
                  </a:lnTo>
                  <a:lnTo>
                    <a:pt x="238" y="2062"/>
                  </a:lnTo>
                  <a:lnTo>
                    <a:pt x="238" y="2066"/>
                  </a:lnTo>
                  <a:lnTo>
                    <a:pt x="238" y="2070"/>
                  </a:lnTo>
                  <a:lnTo>
                    <a:pt x="238" y="2074"/>
                  </a:lnTo>
                  <a:lnTo>
                    <a:pt x="236" y="2076"/>
                  </a:lnTo>
                  <a:lnTo>
                    <a:pt x="232" y="2078"/>
                  </a:lnTo>
                  <a:lnTo>
                    <a:pt x="230" y="2082"/>
                  </a:lnTo>
                  <a:lnTo>
                    <a:pt x="230" y="2084"/>
                  </a:lnTo>
                  <a:lnTo>
                    <a:pt x="226" y="2086"/>
                  </a:lnTo>
                  <a:lnTo>
                    <a:pt x="220" y="2092"/>
                  </a:lnTo>
                  <a:lnTo>
                    <a:pt x="214" y="2100"/>
                  </a:lnTo>
                  <a:lnTo>
                    <a:pt x="210" y="2106"/>
                  </a:lnTo>
                  <a:lnTo>
                    <a:pt x="206" y="2106"/>
                  </a:lnTo>
                  <a:lnTo>
                    <a:pt x="202" y="2108"/>
                  </a:lnTo>
                  <a:lnTo>
                    <a:pt x="198" y="2108"/>
                  </a:lnTo>
                  <a:lnTo>
                    <a:pt x="194" y="2108"/>
                  </a:lnTo>
                  <a:lnTo>
                    <a:pt x="192" y="2112"/>
                  </a:lnTo>
                  <a:lnTo>
                    <a:pt x="192" y="2114"/>
                  </a:lnTo>
                  <a:lnTo>
                    <a:pt x="192" y="2118"/>
                  </a:lnTo>
                  <a:lnTo>
                    <a:pt x="194" y="2118"/>
                  </a:lnTo>
                  <a:lnTo>
                    <a:pt x="196" y="2118"/>
                  </a:lnTo>
                  <a:lnTo>
                    <a:pt x="200" y="2116"/>
                  </a:lnTo>
                  <a:lnTo>
                    <a:pt x="202" y="2116"/>
                  </a:lnTo>
                  <a:lnTo>
                    <a:pt x="206" y="2118"/>
                  </a:lnTo>
                  <a:lnTo>
                    <a:pt x="210" y="2122"/>
                  </a:lnTo>
                  <a:lnTo>
                    <a:pt x="212" y="2122"/>
                  </a:lnTo>
                  <a:lnTo>
                    <a:pt x="214" y="2122"/>
                  </a:lnTo>
                  <a:lnTo>
                    <a:pt x="216" y="2120"/>
                  </a:lnTo>
                  <a:lnTo>
                    <a:pt x="216" y="2118"/>
                  </a:lnTo>
                  <a:lnTo>
                    <a:pt x="218" y="2116"/>
                  </a:lnTo>
                  <a:lnTo>
                    <a:pt x="222" y="2112"/>
                  </a:lnTo>
                  <a:lnTo>
                    <a:pt x="226" y="2110"/>
                  </a:lnTo>
                  <a:lnTo>
                    <a:pt x="230" y="2106"/>
                  </a:lnTo>
                  <a:lnTo>
                    <a:pt x="234" y="2102"/>
                  </a:lnTo>
                  <a:lnTo>
                    <a:pt x="244" y="2100"/>
                  </a:lnTo>
                  <a:lnTo>
                    <a:pt x="252" y="2100"/>
                  </a:lnTo>
                  <a:lnTo>
                    <a:pt x="258" y="2102"/>
                  </a:lnTo>
                  <a:lnTo>
                    <a:pt x="270" y="2108"/>
                  </a:lnTo>
                  <a:lnTo>
                    <a:pt x="274" y="2110"/>
                  </a:lnTo>
                  <a:lnTo>
                    <a:pt x="276" y="2108"/>
                  </a:lnTo>
                  <a:lnTo>
                    <a:pt x="280" y="2098"/>
                  </a:lnTo>
                  <a:lnTo>
                    <a:pt x="282" y="2088"/>
                  </a:lnTo>
                  <a:lnTo>
                    <a:pt x="284" y="2086"/>
                  </a:lnTo>
                  <a:lnTo>
                    <a:pt x="286" y="2084"/>
                  </a:lnTo>
                  <a:lnTo>
                    <a:pt x="288" y="2086"/>
                  </a:lnTo>
                  <a:lnTo>
                    <a:pt x="290" y="2084"/>
                  </a:lnTo>
                  <a:lnTo>
                    <a:pt x="298" y="2080"/>
                  </a:lnTo>
                  <a:lnTo>
                    <a:pt x="302" y="2078"/>
                  </a:lnTo>
                  <a:lnTo>
                    <a:pt x="306" y="2078"/>
                  </a:lnTo>
                  <a:lnTo>
                    <a:pt x="312" y="2080"/>
                  </a:lnTo>
                  <a:lnTo>
                    <a:pt x="316" y="2084"/>
                  </a:lnTo>
                  <a:lnTo>
                    <a:pt x="322" y="2088"/>
                  </a:lnTo>
                  <a:lnTo>
                    <a:pt x="324" y="2088"/>
                  </a:lnTo>
                  <a:lnTo>
                    <a:pt x="328" y="2086"/>
                  </a:lnTo>
                  <a:lnTo>
                    <a:pt x="330" y="2086"/>
                  </a:lnTo>
                  <a:lnTo>
                    <a:pt x="334" y="2086"/>
                  </a:lnTo>
                  <a:lnTo>
                    <a:pt x="342" y="2086"/>
                  </a:lnTo>
                  <a:lnTo>
                    <a:pt x="344" y="2084"/>
                  </a:lnTo>
                  <a:lnTo>
                    <a:pt x="346" y="2082"/>
                  </a:lnTo>
                  <a:lnTo>
                    <a:pt x="356" y="2078"/>
                  </a:lnTo>
                  <a:lnTo>
                    <a:pt x="366" y="2076"/>
                  </a:lnTo>
                  <a:lnTo>
                    <a:pt x="368" y="2074"/>
                  </a:lnTo>
                  <a:lnTo>
                    <a:pt x="368" y="2072"/>
                  </a:lnTo>
                  <a:lnTo>
                    <a:pt x="374" y="2074"/>
                  </a:lnTo>
                  <a:lnTo>
                    <a:pt x="380" y="2076"/>
                  </a:lnTo>
                  <a:lnTo>
                    <a:pt x="382" y="2076"/>
                  </a:lnTo>
                  <a:lnTo>
                    <a:pt x="384" y="2074"/>
                  </a:lnTo>
                  <a:lnTo>
                    <a:pt x="386" y="2076"/>
                  </a:lnTo>
                  <a:lnTo>
                    <a:pt x="388" y="2078"/>
                  </a:lnTo>
                  <a:lnTo>
                    <a:pt x="392" y="2078"/>
                  </a:lnTo>
                  <a:lnTo>
                    <a:pt x="400" y="2074"/>
                  </a:lnTo>
                  <a:lnTo>
                    <a:pt x="410" y="2072"/>
                  </a:lnTo>
                  <a:lnTo>
                    <a:pt x="416" y="2074"/>
                  </a:lnTo>
                  <a:lnTo>
                    <a:pt x="422" y="2074"/>
                  </a:lnTo>
                  <a:lnTo>
                    <a:pt x="428" y="2076"/>
                  </a:lnTo>
                  <a:lnTo>
                    <a:pt x="432" y="2076"/>
                  </a:lnTo>
                  <a:lnTo>
                    <a:pt x="440" y="2074"/>
                  </a:lnTo>
                  <a:lnTo>
                    <a:pt x="448" y="2070"/>
                  </a:lnTo>
                  <a:lnTo>
                    <a:pt x="456" y="2068"/>
                  </a:lnTo>
                  <a:lnTo>
                    <a:pt x="460" y="2068"/>
                  </a:lnTo>
                  <a:lnTo>
                    <a:pt x="462" y="2064"/>
                  </a:lnTo>
                  <a:lnTo>
                    <a:pt x="464" y="2060"/>
                  </a:lnTo>
                  <a:lnTo>
                    <a:pt x="470" y="2056"/>
                  </a:lnTo>
                  <a:lnTo>
                    <a:pt x="478" y="2052"/>
                  </a:lnTo>
                  <a:lnTo>
                    <a:pt x="480" y="2048"/>
                  </a:lnTo>
                  <a:lnTo>
                    <a:pt x="480" y="2044"/>
                  </a:lnTo>
                  <a:lnTo>
                    <a:pt x="480" y="2040"/>
                  </a:lnTo>
                  <a:lnTo>
                    <a:pt x="480" y="2038"/>
                  </a:lnTo>
                  <a:lnTo>
                    <a:pt x="478" y="2038"/>
                  </a:lnTo>
                  <a:lnTo>
                    <a:pt x="472" y="2038"/>
                  </a:lnTo>
                  <a:lnTo>
                    <a:pt x="462" y="2040"/>
                  </a:lnTo>
                  <a:lnTo>
                    <a:pt x="456" y="2040"/>
                  </a:lnTo>
                  <a:lnTo>
                    <a:pt x="450" y="2038"/>
                  </a:lnTo>
                  <a:lnTo>
                    <a:pt x="448" y="2036"/>
                  </a:lnTo>
                  <a:lnTo>
                    <a:pt x="450" y="2036"/>
                  </a:lnTo>
                  <a:lnTo>
                    <a:pt x="446" y="2034"/>
                  </a:lnTo>
                  <a:lnTo>
                    <a:pt x="444" y="2032"/>
                  </a:lnTo>
                  <a:lnTo>
                    <a:pt x="448" y="2030"/>
                  </a:lnTo>
                  <a:lnTo>
                    <a:pt x="456" y="2030"/>
                  </a:lnTo>
                  <a:lnTo>
                    <a:pt x="458" y="2028"/>
                  </a:lnTo>
                  <a:lnTo>
                    <a:pt x="460" y="2026"/>
                  </a:lnTo>
                  <a:lnTo>
                    <a:pt x="460" y="2020"/>
                  </a:lnTo>
                  <a:lnTo>
                    <a:pt x="458" y="2020"/>
                  </a:lnTo>
                  <a:lnTo>
                    <a:pt x="456" y="2020"/>
                  </a:lnTo>
                  <a:lnTo>
                    <a:pt x="458" y="2016"/>
                  </a:lnTo>
                  <a:lnTo>
                    <a:pt x="462" y="2014"/>
                  </a:lnTo>
                  <a:lnTo>
                    <a:pt x="464" y="2014"/>
                  </a:lnTo>
                  <a:lnTo>
                    <a:pt x="472" y="2014"/>
                  </a:lnTo>
                  <a:lnTo>
                    <a:pt x="476" y="2014"/>
                  </a:lnTo>
                  <a:lnTo>
                    <a:pt x="476" y="2012"/>
                  </a:lnTo>
                  <a:lnTo>
                    <a:pt x="474" y="2010"/>
                  </a:lnTo>
                  <a:lnTo>
                    <a:pt x="474" y="2008"/>
                  </a:lnTo>
                  <a:lnTo>
                    <a:pt x="474" y="2006"/>
                  </a:lnTo>
                  <a:lnTo>
                    <a:pt x="482" y="2000"/>
                  </a:lnTo>
                  <a:lnTo>
                    <a:pt x="486" y="1996"/>
                  </a:lnTo>
                  <a:lnTo>
                    <a:pt x="490" y="1990"/>
                  </a:lnTo>
                  <a:lnTo>
                    <a:pt x="494" y="1982"/>
                  </a:lnTo>
                  <a:lnTo>
                    <a:pt x="494" y="1970"/>
                  </a:lnTo>
                  <a:close/>
                  <a:moveTo>
                    <a:pt x="662" y="1344"/>
                  </a:moveTo>
                  <a:lnTo>
                    <a:pt x="662" y="1344"/>
                  </a:lnTo>
                  <a:lnTo>
                    <a:pt x="660" y="1344"/>
                  </a:lnTo>
                  <a:lnTo>
                    <a:pt x="656" y="1346"/>
                  </a:lnTo>
                  <a:lnTo>
                    <a:pt x="656" y="1350"/>
                  </a:lnTo>
                  <a:lnTo>
                    <a:pt x="656" y="1354"/>
                  </a:lnTo>
                  <a:lnTo>
                    <a:pt x="660" y="1354"/>
                  </a:lnTo>
                  <a:lnTo>
                    <a:pt x="662" y="1352"/>
                  </a:lnTo>
                  <a:lnTo>
                    <a:pt x="664" y="1348"/>
                  </a:lnTo>
                  <a:lnTo>
                    <a:pt x="664" y="1346"/>
                  </a:lnTo>
                  <a:lnTo>
                    <a:pt x="662" y="1344"/>
                  </a:lnTo>
                  <a:close/>
                  <a:moveTo>
                    <a:pt x="652" y="1354"/>
                  </a:moveTo>
                  <a:lnTo>
                    <a:pt x="652" y="1354"/>
                  </a:lnTo>
                  <a:lnTo>
                    <a:pt x="650" y="1352"/>
                  </a:lnTo>
                  <a:lnTo>
                    <a:pt x="648" y="1352"/>
                  </a:lnTo>
                  <a:lnTo>
                    <a:pt x="646" y="1352"/>
                  </a:lnTo>
                  <a:lnTo>
                    <a:pt x="644" y="1356"/>
                  </a:lnTo>
                  <a:lnTo>
                    <a:pt x="646" y="1358"/>
                  </a:lnTo>
                  <a:lnTo>
                    <a:pt x="648" y="1358"/>
                  </a:lnTo>
                  <a:lnTo>
                    <a:pt x="652" y="1356"/>
                  </a:lnTo>
                  <a:lnTo>
                    <a:pt x="652" y="1354"/>
                  </a:lnTo>
                  <a:close/>
                  <a:moveTo>
                    <a:pt x="150" y="1398"/>
                  </a:moveTo>
                  <a:lnTo>
                    <a:pt x="150" y="1398"/>
                  </a:lnTo>
                  <a:lnTo>
                    <a:pt x="148" y="1396"/>
                  </a:lnTo>
                  <a:lnTo>
                    <a:pt x="146" y="1394"/>
                  </a:lnTo>
                  <a:lnTo>
                    <a:pt x="146" y="1396"/>
                  </a:lnTo>
                  <a:lnTo>
                    <a:pt x="144" y="1398"/>
                  </a:lnTo>
                  <a:lnTo>
                    <a:pt x="146" y="1402"/>
                  </a:lnTo>
                  <a:lnTo>
                    <a:pt x="152" y="1410"/>
                  </a:lnTo>
                  <a:lnTo>
                    <a:pt x="154" y="1412"/>
                  </a:lnTo>
                  <a:lnTo>
                    <a:pt x="156" y="1412"/>
                  </a:lnTo>
                  <a:lnTo>
                    <a:pt x="158" y="1412"/>
                  </a:lnTo>
                  <a:lnTo>
                    <a:pt x="156" y="1410"/>
                  </a:lnTo>
                  <a:lnTo>
                    <a:pt x="154" y="1404"/>
                  </a:lnTo>
                  <a:lnTo>
                    <a:pt x="154" y="1400"/>
                  </a:lnTo>
                  <a:lnTo>
                    <a:pt x="150" y="1398"/>
                  </a:lnTo>
                  <a:close/>
                  <a:moveTo>
                    <a:pt x="732" y="1304"/>
                  </a:moveTo>
                  <a:lnTo>
                    <a:pt x="732" y="1304"/>
                  </a:lnTo>
                  <a:lnTo>
                    <a:pt x="734" y="1302"/>
                  </a:lnTo>
                  <a:lnTo>
                    <a:pt x="732" y="1300"/>
                  </a:lnTo>
                  <a:lnTo>
                    <a:pt x="730" y="1298"/>
                  </a:lnTo>
                  <a:lnTo>
                    <a:pt x="728" y="1300"/>
                  </a:lnTo>
                  <a:lnTo>
                    <a:pt x="726" y="1302"/>
                  </a:lnTo>
                  <a:lnTo>
                    <a:pt x="724" y="1302"/>
                  </a:lnTo>
                  <a:lnTo>
                    <a:pt x="722" y="1300"/>
                  </a:lnTo>
                  <a:lnTo>
                    <a:pt x="720" y="1302"/>
                  </a:lnTo>
                  <a:lnTo>
                    <a:pt x="720" y="1304"/>
                  </a:lnTo>
                  <a:lnTo>
                    <a:pt x="724" y="1306"/>
                  </a:lnTo>
                  <a:lnTo>
                    <a:pt x="732" y="1304"/>
                  </a:lnTo>
                  <a:close/>
                  <a:moveTo>
                    <a:pt x="618" y="1384"/>
                  </a:moveTo>
                  <a:lnTo>
                    <a:pt x="618" y="1384"/>
                  </a:lnTo>
                  <a:lnTo>
                    <a:pt x="622" y="1384"/>
                  </a:lnTo>
                  <a:lnTo>
                    <a:pt x="626" y="1382"/>
                  </a:lnTo>
                  <a:lnTo>
                    <a:pt x="628" y="1380"/>
                  </a:lnTo>
                  <a:lnTo>
                    <a:pt x="628" y="1378"/>
                  </a:lnTo>
                  <a:lnTo>
                    <a:pt x="622" y="1378"/>
                  </a:lnTo>
                  <a:lnTo>
                    <a:pt x="618" y="1378"/>
                  </a:lnTo>
                  <a:lnTo>
                    <a:pt x="616" y="1380"/>
                  </a:lnTo>
                  <a:lnTo>
                    <a:pt x="618" y="1384"/>
                  </a:lnTo>
                  <a:close/>
                  <a:moveTo>
                    <a:pt x="620" y="1456"/>
                  </a:moveTo>
                  <a:lnTo>
                    <a:pt x="620" y="1456"/>
                  </a:lnTo>
                  <a:lnTo>
                    <a:pt x="616" y="1454"/>
                  </a:lnTo>
                  <a:lnTo>
                    <a:pt x="618" y="1456"/>
                  </a:lnTo>
                  <a:lnTo>
                    <a:pt x="622" y="1462"/>
                  </a:lnTo>
                  <a:lnTo>
                    <a:pt x="624" y="1462"/>
                  </a:lnTo>
                  <a:lnTo>
                    <a:pt x="626" y="1464"/>
                  </a:lnTo>
                  <a:lnTo>
                    <a:pt x="624" y="1462"/>
                  </a:lnTo>
                  <a:lnTo>
                    <a:pt x="622" y="1458"/>
                  </a:lnTo>
                  <a:lnTo>
                    <a:pt x="620" y="1456"/>
                  </a:lnTo>
                  <a:close/>
                  <a:moveTo>
                    <a:pt x="630" y="1474"/>
                  </a:moveTo>
                  <a:lnTo>
                    <a:pt x="630" y="1474"/>
                  </a:lnTo>
                  <a:lnTo>
                    <a:pt x="626" y="1468"/>
                  </a:lnTo>
                  <a:lnTo>
                    <a:pt x="622" y="1466"/>
                  </a:lnTo>
                  <a:lnTo>
                    <a:pt x="622" y="1468"/>
                  </a:lnTo>
                  <a:lnTo>
                    <a:pt x="626" y="1474"/>
                  </a:lnTo>
                  <a:lnTo>
                    <a:pt x="628" y="1476"/>
                  </a:lnTo>
                  <a:lnTo>
                    <a:pt x="630" y="1474"/>
                  </a:lnTo>
                  <a:close/>
                  <a:moveTo>
                    <a:pt x="624" y="1490"/>
                  </a:moveTo>
                  <a:lnTo>
                    <a:pt x="624" y="1490"/>
                  </a:lnTo>
                  <a:lnTo>
                    <a:pt x="626" y="1490"/>
                  </a:lnTo>
                  <a:lnTo>
                    <a:pt x="626" y="1486"/>
                  </a:lnTo>
                  <a:lnTo>
                    <a:pt x="624" y="1476"/>
                  </a:lnTo>
                  <a:lnTo>
                    <a:pt x="622" y="1474"/>
                  </a:lnTo>
                  <a:lnTo>
                    <a:pt x="622" y="1476"/>
                  </a:lnTo>
                  <a:lnTo>
                    <a:pt x="622" y="1480"/>
                  </a:lnTo>
                  <a:lnTo>
                    <a:pt x="622" y="1486"/>
                  </a:lnTo>
                  <a:lnTo>
                    <a:pt x="622" y="1490"/>
                  </a:lnTo>
                  <a:lnTo>
                    <a:pt x="624" y="1490"/>
                  </a:lnTo>
                  <a:close/>
                  <a:moveTo>
                    <a:pt x="302" y="1578"/>
                  </a:moveTo>
                  <a:lnTo>
                    <a:pt x="302" y="1578"/>
                  </a:lnTo>
                  <a:lnTo>
                    <a:pt x="300" y="1580"/>
                  </a:lnTo>
                  <a:lnTo>
                    <a:pt x="300" y="1582"/>
                  </a:lnTo>
                  <a:lnTo>
                    <a:pt x="302" y="1582"/>
                  </a:lnTo>
                  <a:lnTo>
                    <a:pt x="304" y="1584"/>
                  </a:lnTo>
                  <a:lnTo>
                    <a:pt x="306" y="1582"/>
                  </a:lnTo>
                  <a:lnTo>
                    <a:pt x="306" y="1580"/>
                  </a:lnTo>
                  <a:lnTo>
                    <a:pt x="304" y="1578"/>
                  </a:lnTo>
                  <a:lnTo>
                    <a:pt x="302" y="1578"/>
                  </a:lnTo>
                  <a:close/>
                  <a:moveTo>
                    <a:pt x="160" y="1386"/>
                  </a:moveTo>
                  <a:lnTo>
                    <a:pt x="160" y="1386"/>
                  </a:lnTo>
                  <a:lnTo>
                    <a:pt x="158" y="1382"/>
                  </a:lnTo>
                  <a:lnTo>
                    <a:pt x="154" y="1378"/>
                  </a:lnTo>
                  <a:lnTo>
                    <a:pt x="150" y="1378"/>
                  </a:lnTo>
                  <a:lnTo>
                    <a:pt x="148" y="1378"/>
                  </a:lnTo>
                  <a:lnTo>
                    <a:pt x="148" y="1380"/>
                  </a:lnTo>
                  <a:lnTo>
                    <a:pt x="148" y="1382"/>
                  </a:lnTo>
                  <a:lnTo>
                    <a:pt x="152" y="1384"/>
                  </a:lnTo>
                  <a:lnTo>
                    <a:pt x="156" y="1386"/>
                  </a:lnTo>
                  <a:lnTo>
                    <a:pt x="160" y="1386"/>
                  </a:lnTo>
                  <a:close/>
                  <a:moveTo>
                    <a:pt x="320" y="1546"/>
                  </a:moveTo>
                  <a:lnTo>
                    <a:pt x="320" y="1546"/>
                  </a:lnTo>
                  <a:lnTo>
                    <a:pt x="318" y="1546"/>
                  </a:lnTo>
                  <a:lnTo>
                    <a:pt x="316" y="1546"/>
                  </a:lnTo>
                  <a:lnTo>
                    <a:pt x="314" y="1548"/>
                  </a:lnTo>
                  <a:lnTo>
                    <a:pt x="312" y="1552"/>
                  </a:lnTo>
                  <a:lnTo>
                    <a:pt x="314" y="1552"/>
                  </a:lnTo>
                  <a:lnTo>
                    <a:pt x="318" y="1552"/>
                  </a:lnTo>
                  <a:lnTo>
                    <a:pt x="318" y="1550"/>
                  </a:lnTo>
                  <a:lnTo>
                    <a:pt x="320" y="1548"/>
                  </a:lnTo>
                  <a:lnTo>
                    <a:pt x="322" y="1546"/>
                  </a:lnTo>
                  <a:lnTo>
                    <a:pt x="320" y="1546"/>
                  </a:lnTo>
                  <a:close/>
                  <a:moveTo>
                    <a:pt x="354" y="1486"/>
                  </a:moveTo>
                  <a:lnTo>
                    <a:pt x="354" y="1486"/>
                  </a:lnTo>
                  <a:lnTo>
                    <a:pt x="356" y="1488"/>
                  </a:lnTo>
                  <a:lnTo>
                    <a:pt x="356" y="1490"/>
                  </a:lnTo>
                  <a:lnTo>
                    <a:pt x="358" y="1488"/>
                  </a:lnTo>
                  <a:lnTo>
                    <a:pt x="362" y="1490"/>
                  </a:lnTo>
                  <a:lnTo>
                    <a:pt x="364" y="1492"/>
                  </a:lnTo>
                  <a:lnTo>
                    <a:pt x="364" y="1490"/>
                  </a:lnTo>
                  <a:lnTo>
                    <a:pt x="366" y="1488"/>
                  </a:lnTo>
                  <a:lnTo>
                    <a:pt x="370" y="1490"/>
                  </a:lnTo>
                  <a:lnTo>
                    <a:pt x="372" y="1492"/>
                  </a:lnTo>
                  <a:lnTo>
                    <a:pt x="372" y="1494"/>
                  </a:lnTo>
                  <a:lnTo>
                    <a:pt x="370" y="1500"/>
                  </a:lnTo>
                  <a:lnTo>
                    <a:pt x="368" y="1506"/>
                  </a:lnTo>
                  <a:lnTo>
                    <a:pt x="368" y="1508"/>
                  </a:lnTo>
                  <a:lnTo>
                    <a:pt x="370" y="1512"/>
                  </a:lnTo>
                  <a:lnTo>
                    <a:pt x="372" y="1512"/>
                  </a:lnTo>
                  <a:lnTo>
                    <a:pt x="372" y="1510"/>
                  </a:lnTo>
                  <a:lnTo>
                    <a:pt x="374" y="1502"/>
                  </a:lnTo>
                  <a:lnTo>
                    <a:pt x="376" y="1496"/>
                  </a:lnTo>
                  <a:lnTo>
                    <a:pt x="374" y="1490"/>
                  </a:lnTo>
                  <a:lnTo>
                    <a:pt x="374" y="1488"/>
                  </a:lnTo>
                  <a:lnTo>
                    <a:pt x="376" y="1484"/>
                  </a:lnTo>
                  <a:lnTo>
                    <a:pt x="380" y="1476"/>
                  </a:lnTo>
                  <a:lnTo>
                    <a:pt x="380" y="1472"/>
                  </a:lnTo>
                  <a:lnTo>
                    <a:pt x="378" y="1474"/>
                  </a:lnTo>
                  <a:lnTo>
                    <a:pt x="376" y="1476"/>
                  </a:lnTo>
                  <a:lnTo>
                    <a:pt x="376" y="1474"/>
                  </a:lnTo>
                  <a:lnTo>
                    <a:pt x="376" y="1472"/>
                  </a:lnTo>
                  <a:lnTo>
                    <a:pt x="374" y="1470"/>
                  </a:lnTo>
                  <a:lnTo>
                    <a:pt x="372" y="1470"/>
                  </a:lnTo>
                  <a:lnTo>
                    <a:pt x="372" y="1472"/>
                  </a:lnTo>
                  <a:lnTo>
                    <a:pt x="370" y="1474"/>
                  </a:lnTo>
                  <a:lnTo>
                    <a:pt x="370" y="1472"/>
                  </a:lnTo>
                  <a:lnTo>
                    <a:pt x="370" y="1462"/>
                  </a:lnTo>
                  <a:lnTo>
                    <a:pt x="370" y="1460"/>
                  </a:lnTo>
                  <a:lnTo>
                    <a:pt x="368" y="1460"/>
                  </a:lnTo>
                  <a:lnTo>
                    <a:pt x="364" y="1464"/>
                  </a:lnTo>
                  <a:lnTo>
                    <a:pt x="358" y="1468"/>
                  </a:lnTo>
                  <a:lnTo>
                    <a:pt x="358" y="1470"/>
                  </a:lnTo>
                  <a:lnTo>
                    <a:pt x="364" y="1474"/>
                  </a:lnTo>
                  <a:lnTo>
                    <a:pt x="368" y="1476"/>
                  </a:lnTo>
                  <a:lnTo>
                    <a:pt x="368" y="1480"/>
                  </a:lnTo>
                  <a:lnTo>
                    <a:pt x="366" y="1482"/>
                  </a:lnTo>
                  <a:lnTo>
                    <a:pt x="360" y="1482"/>
                  </a:lnTo>
                  <a:lnTo>
                    <a:pt x="356" y="1482"/>
                  </a:lnTo>
                  <a:lnTo>
                    <a:pt x="356" y="1484"/>
                  </a:lnTo>
                  <a:lnTo>
                    <a:pt x="354" y="1486"/>
                  </a:lnTo>
                  <a:close/>
                  <a:moveTo>
                    <a:pt x="312" y="1560"/>
                  </a:moveTo>
                  <a:lnTo>
                    <a:pt x="312" y="1560"/>
                  </a:lnTo>
                  <a:lnTo>
                    <a:pt x="312" y="1562"/>
                  </a:lnTo>
                  <a:lnTo>
                    <a:pt x="314" y="1562"/>
                  </a:lnTo>
                  <a:lnTo>
                    <a:pt x="318" y="1560"/>
                  </a:lnTo>
                  <a:lnTo>
                    <a:pt x="316" y="1558"/>
                  </a:lnTo>
                  <a:lnTo>
                    <a:pt x="314" y="1556"/>
                  </a:lnTo>
                  <a:lnTo>
                    <a:pt x="312" y="1560"/>
                  </a:lnTo>
                  <a:close/>
                  <a:moveTo>
                    <a:pt x="744" y="1294"/>
                  </a:moveTo>
                  <a:lnTo>
                    <a:pt x="744" y="1294"/>
                  </a:lnTo>
                  <a:lnTo>
                    <a:pt x="746" y="1296"/>
                  </a:lnTo>
                  <a:lnTo>
                    <a:pt x="748" y="1296"/>
                  </a:lnTo>
                  <a:lnTo>
                    <a:pt x="750" y="1294"/>
                  </a:lnTo>
                  <a:lnTo>
                    <a:pt x="752" y="1292"/>
                  </a:lnTo>
                  <a:lnTo>
                    <a:pt x="748" y="1288"/>
                  </a:lnTo>
                  <a:lnTo>
                    <a:pt x="746" y="1288"/>
                  </a:lnTo>
                  <a:lnTo>
                    <a:pt x="744" y="1290"/>
                  </a:lnTo>
                  <a:lnTo>
                    <a:pt x="744" y="1294"/>
                  </a:lnTo>
                  <a:close/>
                  <a:moveTo>
                    <a:pt x="380" y="1462"/>
                  </a:moveTo>
                  <a:lnTo>
                    <a:pt x="380" y="1462"/>
                  </a:lnTo>
                  <a:lnTo>
                    <a:pt x="382" y="1460"/>
                  </a:lnTo>
                  <a:lnTo>
                    <a:pt x="382" y="1456"/>
                  </a:lnTo>
                  <a:lnTo>
                    <a:pt x="382" y="1454"/>
                  </a:lnTo>
                  <a:lnTo>
                    <a:pt x="380" y="1454"/>
                  </a:lnTo>
                  <a:lnTo>
                    <a:pt x="378" y="1454"/>
                  </a:lnTo>
                  <a:lnTo>
                    <a:pt x="378" y="1456"/>
                  </a:lnTo>
                  <a:lnTo>
                    <a:pt x="376" y="1460"/>
                  </a:lnTo>
                  <a:lnTo>
                    <a:pt x="374" y="1462"/>
                  </a:lnTo>
                  <a:lnTo>
                    <a:pt x="376" y="1468"/>
                  </a:lnTo>
                  <a:lnTo>
                    <a:pt x="378" y="1468"/>
                  </a:lnTo>
                  <a:lnTo>
                    <a:pt x="378" y="1466"/>
                  </a:lnTo>
                  <a:lnTo>
                    <a:pt x="380" y="1464"/>
                  </a:lnTo>
                  <a:lnTo>
                    <a:pt x="380" y="1462"/>
                  </a:lnTo>
                  <a:close/>
                  <a:moveTo>
                    <a:pt x="134" y="1090"/>
                  </a:moveTo>
                  <a:lnTo>
                    <a:pt x="134" y="1090"/>
                  </a:lnTo>
                  <a:lnTo>
                    <a:pt x="148" y="1086"/>
                  </a:lnTo>
                  <a:lnTo>
                    <a:pt x="158" y="1086"/>
                  </a:lnTo>
                  <a:lnTo>
                    <a:pt x="190" y="1088"/>
                  </a:lnTo>
                  <a:lnTo>
                    <a:pt x="200" y="1088"/>
                  </a:lnTo>
                  <a:lnTo>
                    <a:pt x="202" y="1090"/>
                  </a:lnTo>
                  <a:lnTo>
                    <a:pt x="202" y="1092"/>
                  </a:lnTo>
                  <a:lnTo>
                    <a:pt x="198" y="1094"/>
                  </a:lnTo>
                  <a:lnTo>
                    <a:pt x="186" y="1100"/>
                  </a:lnTo>
                  <a:lnTo>
                    <a:pt x="182" y="1104"/>
                  </a:lnTo>
                  <a:lnTo>
                    <a:pt x="180" y="1108"/>
                  </a:lnTo>
                  <a:lnTo>
                    <a:pt x="182" y="1110"/>
                  </a:lnTo>
                  <a:lnTo>
                    <a:pt x="186" y="1112"/>
                  </a:lnTo>
                  <a:lnTo>
                    <a:pt x="196" y="1112"/>
                  </a:lnTo>
                  <a:lnTo>
                    <a:pt x="204" y="1114"/>
                  </a:lnTo>
                  <a:lnTo>
                    <a:pt x="198" y="1118"/>
                  </a:lnTo>
                  <a:lnTo>
                    <a:pt x="190" y="1120"/>
                  </a:lnTo>
                  <a:lnTo>
                    <a:pt x="182" y="1120"/>
                  </a:lnTo>
                  <a:lnTo>
                    <a:pt x="174" y="1118"/>
                  </a:lnTo>
                  <a:lnTo>
                    <a:pt x="166" y="1116"/>
                  </a:lnTo>
                  <a:lnTo>
                    <a:pt x="162" y="1116"/>
                  </a:lnTo>
                  <a:lnTo>
                    <a:pt x="156" y="1120"/>
                  </a:lnTo>
                  <a:lnTo>
                    <a:pt x="150" y="1122"/>
                  </a:lnTo>
                  <a:lnTo>
                    <a:pt x="144" y="1124"/>
                  </a:lnTo>
                  <a:lnTo>
                    <a:pt x="132" y="1124"/>
                  </a:lnTo>
                  <a:lnTo>
                    <a:pt x="122" y="1126"/>
                  </a:lnTo>
                  <a:lnTo>
                    <a:pt x="120" y="1130"/>
                  </a:lnTo>
                  <a:lnTo>
                    <a:pt x="120" y="1132"/>
                  </a:lnTo>
                  <a:lnTo>
                    <a:pt x="122" y="1136"/>
                  </a:lnTo>
                  <a:lnTo>
                    <a:pt x="124" y="1138"/>
                  </a:lnTo>
                  <a:lnTo>
                    <a:pt x="134" y="1136"/>
                  </a:lnTo>
                  <a:lnTo>
                    <a:pt x="152" y="1134"/>
                  </a:lnTo>
                  <a:lnTo>
                    <a:pt x="162" y="1134"/>
                  </a:lnTo>
                  <a:lnTo>
                    <a:pt x="174" y="1136"/>
                  </a:lnTo>
                  <a:lnTo>
                    <a:pt x="180" y="1138"/>
                  </a:lnTo>
                  <a:lnTo>
                    <a:pt x="184" y="1140"/>
                  </a:lnTo>
                  <a:lnTo>
                    <a:pt x="186" y="1142"/>
                  </a:lnTo>
                  <a:lnTo>
                    <a:pt x="186" y="1146"/>
                  </a:lnTo>
                  <a:lnTo>
                    <a:pt x="186" y="1152"/>
                  </a:lnTo>
                  <a:lnTo>
                    <a:pt x="188" y="1154"/>
                  </a:lnTo>
                  <a:lnTo>
                    <a:pt x="190" y="1156"/>
                  </a:lnTo>
                  <a:lnTo>
                    <a:pt x="198" y="1160"/>
                  </a:lnTo>
                  <a:lnTo>
                    <a:pt x="202" y="1166"/>
                  </a:lnTo>
                  <a:lnTo>
                    <a:pt x="202" y="1174"/>
                  </a:lnTo>
                  <a:lnTo>
                    <a:pt x="198" y="1184"/>
                  </a:lnTo>
                  <a:lnTo>
                    <a:pt x="196" y="1186"/>
                  </a:lnTo>
                  <a:lnTo>
                    <a:pt x="190" y="1186"/>
                  </a:lnTo>
                  <a:lnTo>
                    <a:pt x="180" y="1184"/>
                  </a:lnTo>
                  <a:lnTo>
                    <a:pt x="172" y="1184"/>
                  </a:lnTo>
                  <a:lnTo>
                    <a:pt x="170" y="1186"/>
                  </a:lnTo>
                  <a:lnTo>
                    <a:pt x="170" y="1190"/>
                  </a:lnTo>
                  <a:lnTo>
                    <a:pt x="172" y="1196"/>
                  </a:lnTo>
                  <a:lnTo>
                    <a:pt x="174" y="1198"/>
                  </a:lnTo>
                  <a:lnTo>
                    <a:pt x="176" y="1200"/>
                  </a:lnTo>
                  <a:lnTo>
                    <a:pt x="182" y="1202"/>
                  </a:lnTo>
                  <a:lnTo>
                    <a:pt x="196" y="1202"/>
                  </a:lnTo>
                  <a:lnTo>
                    <a:pt x="220" y="1200"/>
                  </a:lnTo>
                  <a:lnTo>
                    <a:pt x="232" y="1200"/>
                  </a:lnTo>
                  <a:lnTo>
                    <a:pt x="242" y="1202"/>
                  </a:lnTo>
                  <a:lnTo>
                    <a:pt x="252" y="1206"/>
                  </a:lnTo>
                  <a:lnTo>
                    <a:pt x="260" y="1208"/>
                  </a:lnTo>
                  <a:lnTo>
                    <a:pt x="274" y="1216"/>
                  </a:lnTo>
                  <a:lnTo>
                    <a:pt x="282" y="1218"/>
                  </a:lnTo>
                  <a:lnTo>
                    <a:pt x="292" y="1220"/>
                  </a:lnTo>
                  <a:lnTo>
                    <a:pt x="300" y="1220"/>
                  </a:lnTo>
                  <a:lnTo>
                    <a:pt x="308" y="1224"/>
                  </a:lnTo>
                  <a:lnTo>
                    <a:pt x="318" y="1228"/>
                  </a:lnTo>
                  <a:lnTo>
                    <a:pt x="322" y="1230"/>
                  </a:lnTo>
                  <a:lnTo>
                    <a:pt x="328" y="1232"/>
                  </a:lnTo>
                  <a:lnTo>
                    <a:pt x="336" y="1232"/>
                  </a:lnTo>
                  <a:lnTo>
                    <a:pt x="346" y="1230"/>
                  </a:lnTo>
                  <a:lnTo>
                    <a:pt x="356" y="1226"/>
                  </a:lnTo>
                  <a:lnTo>
                    <a:pt x="362" y="1222"/>
                  </a:lnTo>
                  <a:lnTo>
                    <a:pt x="368" y="1214"/>
                  </a:lnTo>
                  <a:lnTo>
                    <a:pt x="370" y="1210"/>
                  </a:lnTo>
                  <a:lnTo>
                    <a:pt x="374" y="1206"/>
                  </a:lnTo>
                  <a:lnTo>
                    <a:pt x="380" y="1206"/>
                  </a:lnTo>
                  <a:lnTo>
                    <a:pt x="388" y="1206"/>
                  </a:lnTo>
                  <a:lnTo>
                    <a:pt x="396" y="1204"/>
                  </a:lnTo>
                  <a:lnTo>
                    <a:pt x="404" y="1204"/>
                  </a:lnTo>
                  <a:lnTo>
                    <a:pt x="418" y="1198"/>
                  </a:lnTo>
                  <a:lnTo>
                    <a:pt x="452" y="1176"/>
                  </a:lnTo>
                  <a:lnTo>
                    <a:pt x="462" y="1172"/>
                  </a:lnTo>
                  <a:lnTo>
                    <a:pt x="470" y="1170"/>
                  </a:lnTo>
                  <a:lnTo>
                    <a:pt x="484" y="1168"/>
                  </a:lnTo>
                  <a:lnTo>
                    <a:pt x="488" y="1166"/>
                  </a:lnTo>
                  <a:lnTo>
                    <a:pt x="494" y="1164"/>
                  </a:lnTo>
                  <a:lnTo>
                    <a:pt x="500" y="1160"/>
                  </a:lnTo>
                  <a:lnTo>
                    <a:pt x="504" y="1154"/>
                  </a:lnTo>
                  <a:lnTo>
                    <a:pt x="514" y="1142"/>
                  </a:lnTo>
                  <a:lnTo>
                    <a:pt x="522" y="1136"/>
                  </a:lnTo>
                  <a:lnTo>
                    <a:pt x="528" y="1134"/>
                  </a:lnTo>
                  <a:lnTo>
                    <a:pt x="534" y="1126"/>
                  </a:lnTo>
                  <a:lnTo>
                    <a:pt x="540" y="1112"/>
                  </a:lnTo>
                  <a:lnTo>
                    <a:pt x="542" y="1104"/>
                  </a:lnTo>
                  <a:lnTo>
                    <a:pt x="542" y="1098"/>
                  </a:lnTo>
                  <a:lnTo>
                    <a:pt x="542" y="1090"/>
                  </a:lnTo>
                  <a:lnTo>
                    <a:pt x="538" y="1086"/>
                  </a:lnTo>
                  <a:lnTo>
                    <a:pt x="532" y="1082"/>
                  </a:lnTo>
                  <a:lnTo>
                    <a:pt x="526" y="1080"/>
                  </a:lnTo>
                  <a:lnTo>
                    <a:pt x="518" y="1078"/>
                  </a:lnTo>
                  <a:lnTo>
                    <a:pt x="514" y="1076"/>
                  </a:lnTo>
                  <a:lnTo>
                    <a:pt x="510" y="1072"/>
                  </a:lnTo>
                  <a:lnTo>
                    <a:pt x="506" y="1068"/>
                  </a:lnTo>
                  <a:lnTo>
                    <a:pt x="502" y="1066"/>
                  </a:lnTo>
                  <a:lnTo>
                    <a:pt x="496" y="1068"/>
                  </a:lnTo>
                  <a:lnTo>
                    <a:pt x="494" y="1066"/>
                  </a:lnTo>
                  <a:lnTo>
                    <a:pt x="492" y="1064"/>
                  </a:lnTo>
                  <a:lnTo>
                    <a:pt x="496" y="1058"/>
                  </a:lnTo>
                  <a:lnTo>
                    <a:pt x="500" y="1052"/>
                  </a:lnTo>
                  <a:lnTo>
                    <a:pt x="500" y="1048"/>
                  </a:lnTo>
                  <a:lnTo>
                    <a:pt x="496" y="1046"/>
                  </a:lnTo>
                  <a:lnTo>
                    <a:pt x="492" y="1046"/>
                  </a:lnTo>
                  <a:lnTo>
                    <a:pt x="486" y="1044"/>
                  </a:lnTo>
                  <a:lnTo>
                    <a:pt x="484" y="1044"/>
                  </a:lnTo>
                  <a:lnTo>
                    <a:pt x="484" y="1040"/>
                  </a:lnTo>
                  <a:lnTo>
                    <a:pt x="488" y="1036"/>
                  </a:lnTo>
                  <a:lnTo>
                    <a:pt x="500" y="1028"/>
                  </a:lnTo>
                  <a:lnTo>
                    <a:pt x="500" y="1024"/>
                  </a:lnTo>
                  <a:lnTo>
                    <a:pt x="500" y="1022"/>
                  </a:lnTo>
                  <a:lnTo>
                    <a:pt x="494" y="1022"/>
                  </a:lnTo>
                  <a:lnTo>
                    <a:pt x="484" y="1026"/>
                  </a:lnTo>
                  <a:lnTo>
                    <a:pt x="474" y="1032"/>
                  </a:lnTo>
                  <a:lnTo>
                    <a:pt x="466" y="1036"/>
                  </a:lnTo>
                  <a:lnTo>
                    <a:pt x="462" y="1036"/>
                  </a:lnTo>
                  <a:lnTo>
                    <a:pt x="460" y="1034"/>
                  </a:lnTo>
                  <a:lnTo>
                    <a:pt x="456" y="1028"/>
                  </a:lnTo>
                  <a:lnTo>
                    <a:pt x="450" y="1020"/>
                  </a:lnTo>
                  <a:lnTo>
                    <a:pt x="446" y="1016"/>
                  </a:lnTo>
                  <a:lnTo>
                    <a:pt x="442" y="1012"/>
                  </a:lnTo>
                  <a:lnTo>
                    <a:pt x="436" y="1012"/>
                  </a:lnTo>
                  <a:lnTo>
                    <a:pt x="430" y="1012"/>
                  </a:lnTo>
                  <a:lnTo>
                    <a:pt x="424" y="1014"/>
                  </a:lnTo>
                  <a:lnTo>
                    <a:pt x="420" y="1018"/>
                  </a:lnTo>
                  <a:lnTo>
                    <a:pt x="418" y="1022"/>
                  </a:lnTo>
                  <a:lnTo>
                    <a:pt x="420" y="1026"/>
                  </a:lnTo>
                  <a:lnTo>
                    <a:pt x="424" y="1034"/>
                  </a:lnTo>
                  <a:lnTo>
                    <a:pt x="424" y="1038"/>
                  </a:lnTo>
                  <a:lnTo>
                    <a:pt x="424" y="1040"/>
                  </a:lnTo>
                  <a:lnTo>
                    <a:pt x="420" y="1042"/>
                  </a:lnTo>
                  <a:lnTo>
                    <a:pt x="418" y="1042"/>
                  </a:lnTo>
                  <a:lnTo>
                    <a:pt x="406" y="1038"/>
                  </a:lnTo>
                  <a:lnTo>
                    <a:pt x="402" y="1036"/>
                  </a:lnTo>
                  <a:lnTo>
                    <a:pt x="396" y="1038"/>
                  </a:lnTo>
                  <a:lnTo>
                    <a:pt x="390" y="1046"/>
                  </a:lnTo>
                  <a:lnTo>
                    <a:pt x="386" y="1050"/>
                  </a:lnTo>
                  <a:lnTo>
                    <a:pt x="382" y="1052"/>
                  </a:lnTo>
                  <a:lnTo>
                    <a:pt x="378" y="1052"/>
                  </a:lnTo>
                  <a:lnTo>
                    <a:pt x="374" y="1048"/>
                  </a:lnTo>
                  <a:lnTo>
                    <a:pt x="362" y="1038"/>
                  </a:lnTo>
                  <a:lnTo>
                    <a:pt x="358" y="1038"/>
                  </a:lnTo>
                  <a:lnTo>
                    <a:pt x="356" y="1038"/>
                  </a:lnTo>
                  <a:lnTo>
                    <a:pt x="354" y="1038"/>
                  </a:lnTo>
                  <a:lnTo>
                    <a:pt x="352" y="1042"/>
                  </a:lnTo>
                  <a:lnTo>
                    <a:pt x="352" y="1052"/>
                  </a:lnTo>
                  <a:lnTo>
                    <a:pt x="352" y="1056"/>
                  </a:lnTo>
                  <a:lnTo>
                    <a:pt x="350" y="1058"/>
                  </a:lnTo>
                  <a:lnTo>
                    <a:pt x="350" y="1060"/>
                  </a:lnTo>
                  <a:lnTo>
                    <a:pt x="346" y="1058"/>
                  </a:lnTo>
                  <a:lnTo>
                    <a:pt x="342" y="1052"/>
                  </a:lnTo>
                  <a:lnTo>
                    <a:pt x="338" y="1042"/>
                  </a:lnTo>
                  <a:lnTo>
                    <a:pt x="336" y="1038"/>
                  </a:lnTo>
                  <a:lnTo>
                    <a:pt x="330" y="1036"/>
                  </a:lnTo>
                  <a:lnTo>
                    <a:pt x="326" y="1036"/>
                  </a:lnTo>
                  <a:lnTo>
                    <a:pt x="320" y="1038"/>
                  </a:lnTo>
                  <a:lnTo>
                    <a:pt x="314" y="1042"/>
                  </a:lnTo>
                  <a:lnTo>
                    <a:pt x="308" y="1048"/>
                  </a:lnTo>
                  <a:lnTo>
                    <a:pt x="306" y="1054"/>
                  </a:lnTo>
                  <a:lnTo>
                    <a:pt x="306" y="1060"/>
                  </a:lnTo>
                  <a:lnTo>
                    <a:pt x="304" y="1070"/>
                  </a:lnTo>
                  <a:lnTo>
                    <a:pt x="304" y="1072"/>
                  </a:lnTo>
                  <a:lnTo>
                    <a:pt x="302" y="1072"/>
                  </a:lnTo>
                  <a:lnTo>
                    <a:pt x="294" y="1066"/>
                  </a:lnTo>
                  <a:lnTo>
                    <a:pt x="286" y="1052"/>
                  </a:lnTo>
                  <a:lnTo>
                    <a:pt x="280" y="1044"/>
                  </a:lnTo>
                  <a:lnTo>
                    <a:pt x="276" y="1042"/>
                  </a:lnTo>
                  <a:lnTo>
                    <a:pt x="272" y="1040"/>
                  </a:lnTo>
                  <a:lnTo>
                    <a:pt x="268" y="1042"/>
                  </a:lnTo>
                  <a:lnTo>
                    <a:pt x="266" y="1046"/>
                  </a:lnTo>
                  <a:lnTo>
                    <a:pt x="266" y="1052"/>
                  </a:lnTo>
                  <a:lnTo>
                    <a:pt x="266" y="1056"/>
                  </a:lnTo>
                  <a:lnTo>
                    <a:pt x="268" y="1062"/>
                  </a:lnTo>
                  <a:lnTo>
                    <a:pt x="270" y="1074"/>
                  </a:lnTo>
                  <a:lnTo>
                    <a:pt x="270" y="1078"/>
                  </a:lnTo>
                  <a:lnTo>
                    <a:pt x="270" y="1080"/>
                  </a:lnTo>
                  <a:lnTo>
                    <a:pt x="266" y="1082"/>
                  </a:lnTo>
                  <a:lnTo>
                    <a:pt x="264" y="1082"/>
                  </a:lnTo>
                  <a:lnTo>
                    <a:pt x="260" y="1080"/>
                  </a:lnTo>
                  <a:lnTo>
                    <a:pt x="256" y="1074"/>
                  </a:lnTo>
                  <a:lnTo>
                    <a:pt x="252" y="1070"/>
                  </a:lnTo>
                  <a:lnTo>
                    <a:pt x="248" y="1072"/>
                  </a:lnTo>
                  <a:lnTo>
                    <a:pt x="246" y="1076"/>
                  </a:lnTo>
                  <a:lnTo>
                    <a:pt x="242" y="1082"/>
                  </a:lnTo>
                  <a:lnTo>
                    <a:pt x="240" y="1088"/>
                  </a:lnTo>
                  <a:lnTo>
                    <a:pt x="236" y="1090"/>
                  </a:lnTo>
                  <a:lnTo>
                    <a:pt x="234" y="1092"/>
                  </a:lnTo>
                  <a:lnTo>
                    <a:pt x="232" y="1090"/>
                  </a:lnTo>
                  <a:lnTo>
                    <a:pt x="228" y="1084"/>
                  </a:lnTo>
                  <a:lnTo>
                    <a:pt x="226" y="1076"/>
                  </a:lnTo>
                  <a:lnTo>
                    <a:pt x="226" y="1070"/>
                  </a:lnTo>
                  <a:lnTo>
                    <a:pt x="228" y="1060"/>
                  </a:lnTo>
                  <a:lnTo>
                    <a:pt x="228" y="1058"/>
                  </a:lnTo>
                  <a:lnTo>
                    <a:pt x="228" y="1054"/>
                  </a:lnTo>
                  <a:lnTo>
                    <a:pt x="224" y="1050"/>
                  </a:lnTo>
                  <a:lnTo>
                    <a:pt x="216" y="1046"/>
                  </a:lnTo>
                  <a:lnTo>
                    <a:pt x="204" y="1036"/>
                  </a:lnTo>
                  <a:lnTo>
                    <a:pt x="200" y="1030"/>
                  </a:lnTo>
                  <a:lnTo>
                    <a:pt x="194" y="1026"/>
                  </a:lnTo>
                  <a:lnTo>
                    <a:pt x="184" y="1020"/>
                  </a:lnTo>
                  <a:lnTo>
                    <a:pt x="174" y="1018"/>
                  </a:lnTo>
                  <a:lnTo>
                    <a:pt x="168" y="1018"/>
                  </a:lnTo>
                  <a:lnTo>
                    <a:pt x="162" y="1018"/>
                  </a:lnTo>
                  <a:lnTo>
                    <a:pt x="158" y="1020"/>
                  </a:lnTo>
                  <a:lnTo>
                    <a:pt x="154" y="1024"/>
                  </a:lnTo>
                  <a:lnTo>
                    <a:pt x="152" y="1026"/>
                  </a:lnTo>
                  <a:lnTo>
                    <a:pt x="152" y="1030"/>
                  </a:lnTo>
                  <a:lnTo>
                    <a:pt x="154" y="1032"/>
                  </a:lnTo>
                  <a:lnTo>
                    <a:pt x="162" y="1038"/>
                  </a:lnTo>
                  <a:lnTo>
                    <a:pt x="170" y="1042"/>
                  </a:lnTo>
                  <a:lnTo>
                    <a:pt x="180" y="1048"/>
                  </a:lnTo>
                  <a:lnTo>
                    <a:pt x="186" y="1054"/>
                  </a:lnTo>
                  <a:lnTo>
                    <a:pt x="188" y="1058"/>
                  </a:lnTo>
                  <a:lnTo>
                    <a:pt x="186" y="1058"/>
                  </a:lnTo>
                  <a:lnTo>
                    <a:pt x="178" y="1056"/>
                  </a:lnTo>
                  <a:lnTo>
                    <a:pt x="166" y="1048"/>
                  </a:lnTo>
                  <a:lnTo>
                    <a:pt x="154" y="1040"/>
                  </a:lnTo>
                  <a:lnTo>
                    <a:pt x="148" y="1038"/>
                  </a:lnTo>
                  <a:lnTo>
                    <a:pt x="144" y="1036"/>
                  </a:lnTo>
                  <a:lnTo>
                    <a:pt x="140" y="1038"/>
                  </a:lnTo>
                  <a:lnTo>
                    <a:pt x="136" y="1040"/>
                  </a:lnTo>
                  <a:lnTo>
                    <a:pt x="130" y="1048"/>
                  </a:lnTo>
                  <a:lnTo>
                    <a:pt x="128" y="1058"/>
                  </a:lnTo>
                  <a:lnTo>
                    <a:pt x="128" y="1064"/>
                  </a:lnTo>
                  <a:lnTo>
                    <a:pt x="126" y="1066"/>
                  </a:lnTo>
                  <a:lnTo>
                    <a:pt x="122" y="1068"/>
                  </a:lnTo>
                  <a:lnTo>
                    <a:pt x="118" y="1068"/>
                  </a:lnTo>
                  <a:lnTo>
                    <a:pt x="116" y="1070"/>
                  </a:lnTo>
                  <a:lnTo>
                    <a:pt x="116" y="1074"/>
                  </a:lnTo>
                  <a:lnTo>
                    <a:pt x="114" y="1080"/>
                  </a:lnTo>
                  <a:lnTo>
                    <a:pt x="112" y="1080"/>
                  </a:lnTo>
                  <a:lnTo>
                    <a:pt x="106" y="1078"/>
                  </a:lnTo>
                  <a:lnTo>
                    <a:pt x="102" y="1078"/>
                  </a:lnTo>
                  <a:lnTo>
                    <a:pt x="98" y="1080"/>
                  </a:lnTo>
                  <a:lnTo>
                    <a:pt x="96" y="1082"/>
                  </a:lnTo>
                  <a:lnTo>
                    <a:pt x="96" y="1084"/>
                  </a:lnTo>
                  <a:lnTo>
                    <a:pt x="100" y="1086"/>
                  </a:lnTo>
                  <a:lnTo>
                    <a:pt x="104" y="1090"/>
                  </a:lnTo>
                  <a:lnTo>
                    <a:pt x="118" y="1092"/>
                  </a:lnTo>
                  <a:lnTo>
                    <a:pt x="126" y="1092"/>
                  </a:lnTo>
                  <a:lnTo>
                    <a:pt x="134" y="1090"/>
                  </a:lnTo>
                  <a:close/>
                  <a:moveTo>
                    <a:pt x="306" y="1550"/>
                  </a:moveTo>
                  <a:lnTo>
                    <a:pt x="306" y="1550"/>
                  </a:lnTo>
                  <a:lnTo>
                    <a:pt x="304" y="1546"/>
                  </a:lnTo>
                  <a:lnTo>
                    <a:pt x="302" y="1544"/>
                  </a:lnTo>
                  <a:lnTo>
                    <a:pt x="300" y="1544"/>
                  </a:lnTo>
                  <a:lnTo>
                    <a:pt x="300" y="1546"/>
                  </a:lnTo>
                  <a:lnTo>
                    <a:pt x="302" y="1548"/>
                  </a:lnTo>
                  <a:lnTo>
                    <a:pt x="306" y="1550"/>
                  </a:lnTo>
                  <a:close/>
                  <a:moveTo>
                    <a:pt x="294" y="1582"/>
                  </a:moveTo>
                  <a:lnTo>
                    <a:pt x="294" y="1582"/>
                  </a:lnTo>
                  <a:lnTo>
                    <a:pt x="296" y="1580"/>
                  </a:lnTo>
                  <a:lnTo>
                    <a:pt x="294" y="1576"/>
                  </a:lnTo>
                  <a:lnTo>
                    <a:pt x="290" y="1572"/>
                  </a:lnTo>
                  <a:lnTo>
                    <a:pt x="288" y="1572"/>
                  </a:lnTo>
                  <a:lnTo>
                    <a:pt x="286" y="1574"/>
                  </a:lnTo>
                  <a:lnTo>
                    <a:pt x="286" y="1576"/>
                  </a:lnTo>
                  <a:lnTo>
                    <a:pt x="290" y="1580"/>
                  </a:lnTo>
                  <a:lnTo>
                    <a:pt x="294" y="1582"/>
                  </a:lnTo>
                  <a:close/>
                  <a:moveTo>
                    <a:pt x="134" y="1350"/>
                  </a:moveTo>
                  <a:lnTo>
                    <a:pt x="134" y="1350"/>
                  </a:lnTo>
                  <a:lnTo>
                    <a:pt x="134" y="1354"/>
                  </a:lnTo>
                  <a:lnTo>
                    <a:pt x="134" y="1356"/>
                  </a:lnTo>
                  <a:lnTo>
                    <a:pt x="138" y="1360"/>
                  </a:lnTo>
                  <a:lnTo>
                    <a:pt x="140" y="1362"/>
                  </a:lnTo>
                  <a:lnTo>
                    <a:pt x="144" y="1364"/>
                  </a:lnTo>
                  <a:lnTo>
                    <a:pt x="150" y="1372"/>
                  </a:lnTo>
                  <a:lnTo>
                    <a:pt x="154" y="1374"/>
                  </a:lnTo>
                  <a:lnTo>
                    <a:pt x="154" y="1370"/>
                  </a:lnTo>
                  <a:lnTo>
                    <a:pt x="152" y="1364"/>
                  </a:lnTo>
                  <a:lnTo>
                    <a:pt x="148" y="1360"/>
                  </a:lnTo>
                  <a:lnTo>
                    <a:pt x="146" y="1358"/>
                  </a:lnTo>
                  <a:lnTo>
                    <a:pt x="144" y="1358"/>
                  </a:lnTo>
                  <a:lnTo>
                    <a:pt x="142" y="1354"/>
                  </a:lnTo>
                  <a:lnTo>
                    <a:pt x="140" y="1350"/>
                  </a:lnTo>
                  <a:lnTo>
                    <a:pt x="136" y="1348"/>
                  </a:lnTo>
                  <a:lnTo>
                    <a:pt x="134" y="1348"/>
                  </a:lnTo>
                  <a:lnTo>
                    <a:pt x="134" y="1350"/>
                  </a:lnTo>
                  <a:close/>
                  <a:moveTo>
                    <a:pt x="138" y="1658"/>
                  </a:moveTo>
                  <a:lnTo>
                    <a:pt x="138" y="1658"/>
                  </a:lnTo>
                  <a:lnTo>
                    <a:pt x="140" y="1652"/>
                  </a:lnTo>
                  <a:lnTo>
                    <a:pt x="138" y="1650"/>
                  </a:lnTo>
                  <a:lnTo>
                    <a:pt x="136" y="1650"/>
                  </a:lnTo>
                  <a:lnTo>
                    <a:pt x="132" y="1652"/>
                  </a:lnTo>
                  <a:lnTo>
                    <a:pt x="128" y="1652"/>
                  </a:lnTo>
                  <a:lnTo>
                    <a:pt x="124" y="1652"/>
                  </a:lnTo>
                  <a:lnTo>
                    <a:pt x="122" y="1654"/>
                  </a:lnTo>
                  <a:lnTo>
                    <a:pt x="120" y="1656"/>
                  </a:lnTo>
                  <a:lnTo>
                    <a:pt x="122" y="1656"/>
                  </a:lnTo>
                  <a:lnTo>
                    <a:pt x="126" y="1660"/>
                  </a:lnTo>
                  <a:lnTo>
                    <a:pt x="134" y="1660"/>
                  </a:lnTo>
                  <a:lnTo>
                    <a:pt x="136" y="1660"/>
                  </a:lnTo>
                  <a:lnTo>
                    <a:pt x="138" y="1658"/>
                  </a:lnTo>
                  <a:close/>
                  <a:moveTo>
                    <a:pt x="124" y="1360"/>
                  </a:moveTo>
                  <a:lnTo>
                    <a:pt x="124" y="1360"/>
                  </a:lnTo>
                  <a:lnTo>
                    <a:pt x="122" y="1360"/>
                  </a:lnTo>
                  <a:lnTo>
                    <a:pt x="124" y="1362"/>
                  </a:lnTo>
                  <a:lnTo>
                    <a:pt x="132" y="1368"/>
                  </a:lnTo>
                  <a:lnTo>
                    <a:pt x="134" y="1370"/>
                  </a:lnTo>
                  <a:lnTo>
                    <a:pt x="138" y="1368"/>
                  </a:lnTo>
                  <a:lnTo>
                    <a:pt x="138" y="1366"/>
                  </a:lnTo>
                  <a:lnTo>
                    <a:pt x="136" y="1362"/>
                  </a:lnTo>
                  <a:lnTo>
                    <a:pt x="132" y="1358"/>
                  </a:lnTo>
                  <a:lnTo>
                    <a:pt x="130" y="1358"/>
                  </a:lnTo>
                  <a:lnTo>
                    <a:pt x="124" y="1360"/>
                  </a:lnTo>
                  <a:close/>
                  <a:moveTo>
                    <a:pt x="162" y="1352"/>
                  </a:moveTo>
                  <a:lnTo>
                    <a:pt x="162" y="1352"/>
                  </a:lnTo>
                  <a:lnTo>
                    <a:pt x="162" y="1348"/>
                  </a:lnTo>
                  <a:lnTo>
                    <a:pt x="160" y="1344"/>
                  </a:lnTo>
                  <a:lnTo>
                    <a:pt x="160" y="1350"/>
                  </a:lnTo>
                  <a:lnTo>
                    <a:pt x="160" y="1352"/>
                  </a:lnTo>
                  <a:lnTo>
                    <a:pt x="162" y="1352"/>
                  </a:lnTo>
                  <a:close/>
                  <a:moveTo>
                    <a:pt x="128" y="1670"/>
                  </a:moveTo>
                  <a:lnTo>
                    <a:pt x="128" y="1670"/>
                  </a:lnTo>
                  <a:lnTo>
                    <a:pt x="126" y="1670"/>
                  </a:lnTo>
                  <a:lnTo>
                    <a:pt x="124" y="1672"/>
                  </a:lnTo>
                  <a:lnTo>
                    <a:pt x="122" y="1678"/>
                  </a:lnTo>
                  <a:lnTo>
                    <a:pt x="124" y="1686"/>
                  </a:lnTo>
                  <a:lnTo>
                    <a:pt x="126" y="1688"/>
                  </a:lnTo>
                  <a:lnTo>
                    <a:pt x="128" y="1688"/>
                  </a:lnTo>
                  <a:lnTo>
                    <a:pt x="130" y="1688"/>
                  </a:lnTo>
                  <a:lnTo>
                    <a:pt x="130" y="1684"/>
                  </a:lnTo>
                  <a:lnTo>
                    <a:pt x="128" y="1682"/>
                  </a:lnTo>
                  <a:lnTo>
                    <a:pt x="128" y="1680"/>
                  </a:lnTo>
                  <a:lnTo>
                    <a:pt x="130" y="1678"/>
                  </a:lnTo>
                  <a:lnTo>
                    <a:pt x="132" y="1674"/>
                  </a:lnTo>
                  <a:lnTo>
                    <a:pt x="130" y="1672"/>
                  </a:lnTo>
                  <a:lnTo>
                    <a:pt x="128" y="1670"/>
                  </a:lnTo>
                  <a:close/>
                  <a:moveTo>
                    <a:pt x="238" y="1920"/>
                  </a:moveTo>
                  <a:lnTo>
                    <a:pt x="238" y="1920"/>
                  </a:lnTo>
                  <a:lnTo>
                    <a:pt x="236" y="1924"/>
                  </a:lnTo>
                  <a:lnTo>
                    <a:pt x="238" y="1926"/>
                  </a:lnTo>
                  <a:lnTo>
                    <a:pt x="240" y="1930"/>
                  </a:lnTo>
                  <a:lnTo>
                    <a:pt x="246" y="1930"/>
                  </a:lnTo>
                  <a:lnTo>
                    <a:pt x="248" y="1930"/>
                  </a:lnTo>
                  <a:lnTo>
                    <a:pt x="252" y="1926"/>
                  </a:lnTo>
                  <a:lnTo>
                    <a:pt x="252" y="1924"/>
                  </a:lnTo>
                  <a:lnTo>
                    <a:pt x="254" y="1920"/>
                  </a:lnTo>
                  <a:lnTo>
                    <a:pt x="252" y="1918"/>
                  </a:lnTo>
                  <a:lnTo>
                    <a:pt x="250" y="1916"/>
                  </a:lnTo>
                  <a:lnTo>
                    <a:pt x="248" y="1914"/>
                  </a:lnTo>
                  <a:lnTo>
                    <a:pt x="244" y="1916"/>
                  </a:lnTo>
                  <a:lnTo>
                    <a:pt x="240" y="1916"/>
                  </a:lnTo>
                  <a:lnTo>
                    <a:pt x="238" y="1920"/>
                  </a:lnTo>
                  <a:close/>
                  <a:moveTo>
                    <a:pt x="232" y="1878"/>
                  </a:moveTo>
                  <a:lnTo>
                    <a:pt x="232" y="1878"/>
                  </a:lnTo>
                  <a:lnTo>
                    <a:pt x="236" y="1878"/>
                  </a:lnTo>
                  <a:lnTo>
                    <a:pt x="240" y="1876"/>
                  </a:lnTo>
                  <a:lnTo>
                    <a:pt x="246" y="1870"/>
                  </a:lnTo>
                  <a:lnTo>
                    <a:pt x="248" y="1862"/>
                  </a:lnTo>
                  <a:lnTo>
                    <a:pt x="246" y="1858"/>
                  </a:lnTo>
                  <a:lnTo>
                    <a:pt x="244" y="1856"/>
                  </a:lnTo>
                  <a:lnTo>
                    <a:pt x="240" y="1858"/>
                  </a:lnTo>
                  <a:lnTo>
                    <a:pt x="234" y="1866"/>
                  </a:lnTo>
                  <a:lnTo>
                    <a:pt x="230" y="1874"/>
                  </a:lnTo>
                  <a:lnTo>
                    <a:pt x="230" y="1876"/>
                  </a:lnTo>
                  <a:lnTo>
                    <a:pt x="232" y="1878"/>
                  </a:lnTo>
                  <a:close/>
                  <a:moveTo>
                    <a:pt x="290" y="1568"/>
                  </a:moveTo>
                  <a:lnTo>
                    <a:pt x="290" y="1568"/>
                  </a:lnTo>
                  <a:lnTo>
                    <a:pt x="294" y="1572"/>
                  </a:lnTo>
                  <a:lnTo>
                    <a:pt x="298" y="1572"/>
                  </a:lnTo>
                  <a:lnTo>
                    <a:pt x="302" y="1572"/>
                  </a:lnTo>
                  <a:lnTo>
                    <a:pt x="304" y="1572"/>
                  </a:lnTo>
                  <a:lnTo>
                    <a:pt x="306" y="1574"/>
                  </a:lnTo>
                  <a:lnTo>
                    <a:pt x="310" y="1574"/>
                  </a:lnTo>
                  <a:lnTo>
                    <a:pt x="312" y="1572"/>
                  </a:lnTo>
                  <a:lnTo>
                    <a:pt x="312" y="1570"/>
                  </a:lnTo>
                  <a:lnTo>
                    <a:pt x="310" y="1568"/>
                  </a:lnTo>
                  <a:lnTo>
                    <a:pt x="310" y="1570"/>
                  </a:lnTo>
                  <a:lnTo>
                    <a:pt x="308" y="1570"/>
                  </a:lnTo>
                  <a:lnTo>
                    <a:pt x="308" y="1568"/>
                  </a:lnTo>
                  <a:lnTo>
                    <a:pt x="304" y="1566"/>
                  </a:lnTo>
                  <a:lnTo>
                    <a:pt x="302" y="1566"/>
                  </a:lnTo>
                  <a:lnTo>
                    <a:pt x="300" y="1566"/>
                  </a:lnTo>
                  <a:lnTo>
                    <a:pt x="300" y="1564"/>
                  </a:lnTo>
                  <a:lnTo>
                    <a:pt x="302" y="1560"/>
                  </a:lnTo>
                  <a:lnTo>
                    <a:pt x="300" y="1560"/>
                  </a:lnTo>
                  <a:lnTo>
                    <a:pt x="296" y="1556"/>
                  </a:lnTo>
                  <a:lnTo>
                    <a:pt x="292" y="1556"/>
                  </a:lnTo>
                  <a:lnTo>
                    <a:pt x="290" y="1560"/>
                  </a:lnTo>
                  <a:lnTo>
                    <a:pt x="288" y="1564"/>
                  </a:lnTo>
                  <a:lnTo>
                    <a:pt x="290" y="1568"/>
                  </a:lnTo>
                  <a:close/>
                  <a:moveTo>
                    <a:pt x="208" y="1778"/>
                  </a:moveTo>
                  <a:lnTo>
                    <a:pt x="208" y="1778"/>
                  </a:lnTo>
                  <a:lnTo>
                    <a:pt x="206" y="1784"/>
                  </a:lnTo>
                  <a:lnTo>
                    <a:pt x="206" y="1788"/>
                  </a:lnTo>
                  <a:lnTo>
                    <a:pt x="210" y="1792"/>
                  </a:lnTo>
                  <a:lnTo>
                    <a:pt x="214" y="1792"/>
                  </a:lnTo>
                  <a:lnTo>
                    <a:pt x="216" y="1792"/>
                  </a:lnTo>
                  <a:lnTo>
                    <a:pt x="218" y="1788"/>
                  </a:lnTo>
                  <a:lnTo>
                    <a:pt x="216" y="1782"/>
                  </a:lnTo>
                  <a:lnTo>
                    <a:pt x="212" y="1776"/>
                  </a:lnTo>
                  <a:lnTo>
                    <a:pt x="210" y="1776"/>
                  </a:lnTo>
                  <a:lnTo>
                    <a:pt x="208" y="1778"/>
                  </a:lnTo>
                  <a:close/>
                  <a:moveTo>
                    <a:pt x="618" y="1434"/>
                  </a:moveTo>
                  <a:lnTo>
                    <a:pt x="618" y="1434"/>
                  </a:lnTo>
                  <a:lnTo>
                    <a:pt x="620" y="1434"/>
                  </a:lnTo>
                  <a:lnTo>
                    <a:pt x="622" y="1430"/>
                  </a:lnTo>
                  <a:lnTo>
                    <a:pt x="622" y="1428"/>
                  </a:lnTo>
                  <a:lnTo>
                    <a:pt x="620" y="1426"/>
                  </a:lnTo>
                  <a:lnTo>
                    <a:pt x="616" y="1430"/>
                  </a:lnTo>
                  <a:lnTo>
                    <a:pt x="616" y="1432"/>
                  </a:lnTo>
                  <a:lnTo>
                    <a:pt x="618" y="1434"/>
                  </a:lnTo>
                  <a:close/>
                  <a:moveTo>
                    <a:pt x="882" y="1770"/>
                  </a:moveTo>
                  <a:lnTo>
                    <a:pt x="882" y="1770"/>
                  </a:lnTo>
                  <a:lnTo>
                    <a:pt x="876" y="1774"/>
                  </a:lnTo>
                  <a:lnTo>
                    <a:pt x="870" y="1774"/>
                  </a:lnTo>
                  <a:lnTo>
                    <a:pt x="866" y="1772"/>
                  </a:lnTo>
                  <a:lnTo>
                    <a:pt x="860" y="1774"/>
                  </a:lnTo>
                  <a:lnTo>
                    <a:pt x="860" y="1776"/>
                  </a:lnTo>
                  <a:lnTo>
                    <a:pt x="864" y="1778"/>
                  </a:lnTo>
                  <a:lnTo>
                    <a:pt x="870" y="1782"/>
                  </a:lnTo>
                  <a:lnTo>
                    <a:pt x="870" y="1784"/>
                  </a:lnTo>
                  <a:lnTo>
                    <a:pt x="870" y="1786"/>
                  </a:lnTo>
                  <a:lnTo>
                    <a:pt x="870" y="1788"/>
                  </a:lnTo>
                  <a:lnTo>
                    <a:pt x="872" y="1790"/>
                  </a:lnTo>
                  <a:lnTo>
                    <a:pt x="874" y="1792"/>
                  </a:lnTo>
                  <a:lnTo>
                    <a:pt x="872" y="1796"/>
                  </a:lnTo>
                  <a:lnTo>
                    <a:pt x="870" y="1798"/>
                  </a:lnTo>
                  <a:lnTo>
                    <a:pt x="872" y="1800"/>
                  </a:lnTo>
                  <a:lnTo>
                    <a:pt x="874" y="1800"/>
                  </a:lnTo>
                  <a:lnTo>
                    <a:pt x="876" y="1804"/>
                  </a:lnTo>
                  <a:lnTo>
                    <a:pt x="876" y="1806"/>
                  </a:lnTo>
                  <a:lnTo>
                    <a:pt x="878" y="1806"/>
                  </a:lnTo>
                  <a:lnTo>
                    <a:pt x="882" y="1806"/>
                  </a:lnTo>
                  <a:lnTo>
                    <a:pt x="886" y="1806"/>
                  </a:lnTo>
                  <a:lnTo>
                    <a:pt x="888" y="1808"/>
                  </a:lnTo>
                  <a:lnTo>
                    <a:pt x="892" y="1806"/>
                  </a:lnTo>
                  <a:lnTo>
                    <a:pt x="894" y="1808"/>
                  </a:lnTo>
                  <a:lnTo>
                    <a:pt x="896" y="1810"/>
                  </a:lnTo>
                  <a:lnTo>
                    <a:pt x="896" y="1814"/>
                  </a:lnTo>
                  <a:lnTo>
                    <a:pt x="894" y="1814"/>
                  </a:lnTo>
                  <a:lnTo>
                    <a:pt x="892" y="1814"/>
                  </a:lnTo>
                  <a:lnTo>
                    <a:pt x="890" y="1816"/>
                  </a:lnTo>
                  <a:lnTo>
                    <a:pt x="892" y="1816"/>
                  </a:lnTo>
                  <a:lnTo>
                    <a:pt x="894" y="1818"/>
                  </a:lnTo>
                  <a:lnTo>
                    <a:pt x="898" y="1820"/>
                  </a:lnTo>
                  <a:lnTo>
                    <a:pt x="898" y="1822"/>
                  </a:lnTo>
                  <a:lnTo>
                    <a:pt x="896" y="1824"/>
                  </a:lnTo>
                  <a:lnTo>
                    <a:pt x="896" y="1826"/>
                  </a:lnTo>
                  <a:lnTo>
                    <a:pt x="900" y="1832"/>
                  </a:lnTo>
                  <a:lnTo>
                    <a:pt x="902" y="1836"/>
                  </a:lnTo>
                  <a:lnTo>
                    <a:pt x="904" y="1840"/>
                  </a:lnTo>
                  <a:lnTo>
                    <a:pt x="904" y="1844"/>
                  </a:lnTo>
                  <a:lnTo>
                    <a:pt x="906" y="1846"/>
                  </a:lnTo>
                  <a:lnTo>
                    <a:pt x="906" y="1848"/>
                  </a:lnTo>
                  <a:lnTo>
                    <a:pt x="908" y="1848"/>
                  </a:lnTo>
                  <a:lnTo>
                    <a:pt x="908" y="1844"/>
                  </a:lnTo>
                  <a:lnTo>
                    <a:pt x="908" y="1838"/>
                  </a:lnTo>
                  <a:lnTo>
                    <a:pt x="910" y="1834"/>
                  </a:lnTo>
                  <a:lnTo>
                    <a:pt x="912" y="1832"/>
                  </a:lnTo>
                  <a:lnTo>
                    <a:pt x="912" y="1828"/>
                  </a:lnTo>
                  <a:lnTo>
                    <a:pt x="908" y="1824"/>
                  </a:lnTo>
                  <a:lnTo>
                    <a:pt x="902" y="1822"/>
                  </a:lnTo>
                  <a:lnTo>
                    <a:pt x="904" y="1822"/>
                  </a:lnTo>
                  <a:lnTo>
                    <a:pt x="906" y="1820"/>
                  </a:lnTo>
                  <a:lnTo>
                    <a:pt x="910" y="1820"/>
                  </a:lnTo>
                  <a:lnTo>
                    <a:pt x="912" y="1818"/>
                  </a:lnTo>
                  <a:lnTo>
                    <a:pt x="912" y="1816"/>
                  </a:lnTo>
                  <a:lnTo>
                    <a:pt x="912" y="1812"/>
                  </a:lnTo>
                  <a:lnTo>
                    <a:pt x="912" y="1810"/>
                  </a:lnTo>
                  <a:lnTo>
                    <a:pt x="912" y="1808"/>
                  </a:lnTo>
                  <a:lnTo>
                    <a:pt x="918" y="1804"/>
                  </a:lnTo>
                  <a:lnTo>
                    <a:pt x="924" y="1802"/>
                  </a:lnTo>
                  <a:lnTo>
                    <a:pt x="926" y="1800"/>
                  </a:lnTo>
                  <a:lnTo>
                    <a:pt x="924" y="1798"/>
                  </a:lnTo>
                  <a:lnTo>
                    <a:pt x="918" y="1794"/>
                  </a:lnTo>
                  <a:lnTo>
                    <a:pt x="914" y="1790"/>
                  </a:lnTo>
                  <a:lnTo>
                    <a:pt x="914" y="1788"/>
                  </a:lnTo>
                  <a:lnTo>
                    <a:pt x="916" y="1784"/>
                  </a:lnTo>
                  <a:lnTo>
                    <a:pt x="922" y="1782"/>
                  </a:lnTo>
                  <a:lnTo>
                    <a:pt x="926" y="1782"/>
                  </a:lnTo>
                  <a:lnTo>
                    <a:pt x="928" y="1778"/>
                  </a:lnTo>
                  <a:lnTo>
                    <a:pt x="928" y="1772"/>
                  </a:lnTo>
                  <a:lnTo>
                    <a:pt x="928" y="1764"/>
                  </a:lnTo>
                  <a:lnTo>
                    <a:pt x="930" y="1758"/>
                  </a:lnTo>
                  <a:lnTo>
                    <a:pt x="932" y="1754"/>
                  </a:lnTo>
                  <a:lnTo>
                    <a:pt x="930" y="1752"/>
                  </a:lnTo>
                  <a:lnTo>
                    <a:pt x="920" y="1750"/>
                  </a:lnTo>
                  <a:lnTo>
                    <a:pt x="914" y="1750"/>
                  </a:lnTo>
                  <a:lnTo>
                    <a:pt x="908" y="1752"/>
                  </a:lnTo>
                  <a:lnTo>
                    <a:pt x="904" y="1756"/>
                  </a:lnTo>
                  <a:lnTo>
                    <a:pt x="902" y="1760"/>
                  </a:lnTo>
                  <a:lnTo>
                    <a:pt x="904" y="1762"/>
                  </a:lnTo>
                  <a:lnTo>
                    <a:pt x="904" y="1764"/>
                  </a:lnTo>
                  <a:lnTo>
                    <a:pt x="900" y="1772"/>
                  </a:lnTo>
                  <a:lnTo>
                    <a:pt x="898" y="1776"/>
                  </a:lnTo>
                  <a:lnTo>
                    <a:pt x="896" y="1774"/>
                  </a:lnTo>
                  <a:lnTo>
                    <a:pt x="896" y="1770"/>
                  </a:lnTo>
                  <a:lnTo>
                    <a:pt x="898" y="1762"/>
                  </a:lnTo>
                  <a:lnTo>
                    <a:pt x="896" y="1760"/>
                  </a:lnTo>
                  <a:lnTo>
                    <a:pt x="894" y="1760"/>
                  </a:lnTo>
                  <a:lnTo>
                    <a:pt x="890" y="1760"/>
                  </a:lnTo>
                  <a:lnTo>
                    <a:pt x="884" y="1758"/>
                  </a:lnTo>
                  <a:lnTo>
                    <a:pt x="880" y="1758"/>
                  </a:lnTo>
                  <a:lnTo>
                    <a:pt x="876" y="1758"/>
                  </a:lnTo>
                  <a:lnTo>
                    <a:pt x="878" y="1760"/>
                  </a:lnTo>
                  <a:lnTo>
                    <a:pt x="882" y="1762"/>
                  </a:lnTo>
                  <a:lnTo>
                    <a:pt x="886" y="1764"/>
                  </a:lnTo>
                  <a:lnTo>
                    <a:pt x="884" y="1768"/>
                  </a:lnTo>
                  <a:lnTo>
                    <a:pt x="882" y="1770"/>
                  </a:lnTo>
                  <a:close/>
                  <a:moveTo>
                    <a:pt x="850" y="1762"/>
                  </a:moveTo>
                  <a:lnTo>
                    <a:pt x="850" y="1762"/>
                  </a:lnTo>
                  <a:lnTo>
                    <a:pt x="848" y="1760"/>
                  </a:lnTo>
                  <a:lnTo>
                    <a:pt x="846" y="1764"/>
                  </a:lnTo>
                  <a:lnTo>
                    <a:pt x="848" y="1768"/>
                  </a:lnTo>
                  <a:lnTo>
                    <a:pt x="848" y="1772"/>
                  </a:lnTo>
                  <a:lnTo>
                    <a:pt x="850" y="1772"/>
                  </a:lnTo>
                  <a:lnTo>
                    <a:pt x="850" y="1770"/>
                  </a:lnTo>
                  <a:lnTo>
                    <a:pt x="852" y="1766"/>
                  </a:lnTo>
                  <a:lnTo>
                    <a:pt x="850" y="1762"/>
                  </a:lnTo>
                  <a:close/>
                  <a:moveTo>
                    <a:pt x="834" y="1814"/>
                  </a:moveTo>
                  <a:lnTo>
                    <a:pt x="834" y="1814"/>
                  </a:lnTo>
                  <a:lnTo>
                    <a:pt x="846" y="1816"/>
                  </a:lnTo>
                  <a:lnTo>
                    <a:pt x="852" y="1814"/>
                  </a:lnTo>
                  <a:lnTo>
                    <a:pt x="856" y="1812"/>
                  </a:lnTo>
                  <a:lnTo>
                    <a:pt x="858" y="1808"/>
                  </a:lnTo>
                  <a:lnTo>
                    <a:pt x="858" y="1806"/>
                  </a:lnTo>
                  <a:lnTo>
                    <a:pt x="858" y="1800"/>
                  </a:lnTo>
                  <a:lnTo>
                    <a:pt x="856" y="1794"/>
                  </a:lnTo>
                  <a:lnTo>
                    <a:pt x="856" y="1790"/>
                  </a:lnTo>
                  <a:lnTo>
                    <a:pt x="856" y="1788"/>
                  </a:lnTo>
                  <a:lnTo>
                    <a:pt x="852" y="1784"/>
                  </a:lnTo>
                  <a:lnTo>
                    <a:pt x="850" y="1782"/>
                  </a:lnTo>
                  <a:lnTo>
                    <a:pt x="850" y="1784"/>
                  </a:lnTo>
                  <a:lnTo>
                    <a:pt x="848" y="1786"/>
                  </a:lnTo>
                  <a:lnTo>
                    <a:pt x="840" y="1782"/>
                  </a:lnTo>
                  <a:lnTo>
                    <a:pt x="836" y="1782"/>
                  </a:lnTo>
                  <a:lnTo>
                    <a:pt x="830" y="1784"/>
                  </a:lnTo>
                  <a:lnTo>
                    <a:pt x="824" y="1786"/>
                  </a:lnTo>
                  <a:lnTo>
                    <a:pt x="818" y="1786"/>
                  </a:lnTo>
                  <a:lnTo>
                    <a:pt x="816" y="1786"/>
                  </a:lnTo>
                  <a:lnTo>
                    <a:pt x="814" y="1788"/>
                  </a:lnTo>
                  <a:lnTo>
                    <a:pt x="814" y="1790"/>
                  </a:lnTo>
                  <a:lnTo>
                    <a:pt x="816" y="1792"/>
                  </a:lnTo>
                  <a:lnTo>
                    <a:pt x="820" y="1798"/>
                  </a:lnTo>
                  <a:lnTo>
                    <a:pt x="824" y="1806"/>
                  </a:lnTo>
                  <a:lnTo>
                    <a:pt x="824" y="1810"/>
                  </a:lnTo>
                  <a:lnTo>
                    <a:pt x="826" y="1808"/>
                  </a:lnTo>
                  <a:lnTo>
                    <a:pt x="828" y="1808"/>
                  </a:lnTo>
                  <a:lnTo>
                    <a:pt x="830" y="1808"/>
                  </a:lnTo>
                  <a:lnTo>
                    <a:pt x="830" y="1810"/>
                  </a:lnTo>
                  <a:lnTo>
                    <a:pt x="830" y="1812"/>
                  </a:lnTo>
                  <a:lnTo>
                    <a:pt x="830" y="1814"/>
                  </a:lnTo>
                  <a:lnTo>
                    <a:pt x="834" y="1814"/>
                  </a:lnTo>
                  <a:close/>
                  <a:moveTo>
                    <a:pt x="898" y="1832"/>
                  </a:moveTo>
                  <a:lnTo>
                    <a:pt x="898" y="1832"/>
                  </a:lnTo>
                  <a:lnTo>
                    <a:pt x="894" y="1826"/>
                  </a:lnTo>
                  <a:lnTo>
                    <a:pt x="892" y="1826"/>
                  </a:lnTo>
                  <a:lnTo>
                    <a:pt x="890" y="1828"/>
                  </a:lnTo>
                  <a:lnTo>
                    <a:pt x="890" y="1830"/>
                  </a:lnTo>
                  <a:lnTo>
                    <a:pt x="888" y="1830"/>
                  </a:lnTo>
                  <a:lnTo>
                    <a:pt x="878" y="1824"/>
                  </a:lnTo>
                  <a:lnTo>
                    <a:pt x="872" y="1822"/>
                  </a:lnTo>
                  <a:lnTo>
                    <a:pt x="868" y="1822"/>
                  </a:lnTo>
                  <a:lnTo>
                    <a:pt x="866" y="1826"/>
                  </a:lnTo>
                  <a:lnTo>
                    <a:pt x="866" y="1830"/>
                  </a:lnTo>
                  <a:lnTo>
                    <a:pt x="870" y="1834"/>
                  </a:lnTo>
                  <a:lnTo>
                    <a:pt x="876" y="1838"/>
                  </a:lnTo>
                  <a:lnTo>
                    <a:pt x="886" y="1840"/>
                  </a:lnTo>
                  <a:lnTo>
                    <a:pt x="894" y="1842"/>
                  </a:lnTo>
                  <a:lnTo>
                    <a:pt x="898" y="1842"/>
                  </a:lnTo>
                  <a:lnTo>
                    <a:pt x="900" y="1840"/>
                  </a:lnTo>
                  <a:lnTo>
                    <a:pt x="898" y="1832"/>
                  </a:lnTo>
                  <a:close/>
                  <a:moveTo>
                    <a:pt x="914" y="1822"/>
                  </a:moveTo>
                  <a:lnTo>
                    <a:pt x="914" y="1822"/>
                  </a:lnTo>
                  <a:lnTo>
                    <a:pt x="912" y="1824"/>
                  </a:lnTo>
                  <a:lnTo>
                    <a:pt x="914" y="1826"/>
                  </a:lnTo>
                  <a:lnTo>
                    <a:pt x="918" y="1824"/>
                  </a:lnTo>
                  <a:lnTo>
                    <a:pt x="924" y="1820"/>
                  </a:lnTo>
                  <a:lnTo>
                    <a:pt x="926" y="1820"/>
                  </a:lnTo>
                  <a:lnTo>
                    <a:pt x="926" y="1818"/>
                  </a:lnTo>
                  <a:lnTo>
                    <a:pt x="922" y="1816"/>
                  </a:lnTo>
                  <a:lnTo>
                    <a:pt x="918" y="1816"/>
                  </a:lnTo>
                  <a:lnTo>
                    <a:pt x="914" y="1822"/>
                  </a:lnTo>
                  <a:close/>
                  <a:moveTo>
                    <a:pt x="868" y="1848"/>
                  </a:moveTo>
                  <a:lnTo>
                    <a:pt x="868" y="1848"/>
                  </a:lnTo>
                  <a:lnTo>
                    <a:pt x="866" y="1850"/>
                  </a:lnTo>
                  <a:lnTo>
                    <a:pt x="868" y="1852"/>
                  </a:lnTo>
                  <a:lnTo>
                    <a:pt x="872" y="1854"/>
                  </a:lnTo>
                  <a:lnTo>
                    <a:pt x="876" y="1854"/>
                  </a:lnTo>
                  <a:lnTo>
                    <a:pt x="880" y="1854"/>
                  </a:lnTo>
                  <a:lnTo>
                    <a:pt x="878" y="1852"/>
                  </a:lnTo>
                  <a:lnTo>
                    <a:pt x="876" y="1848"/>
                  </a:lnTo>
                  <a:lnTo>
                    <a:pt x="872" y="1848"/>
                  </a:lnTo>
                  <a:lnTo>
                    <a:pt x="868" y="1848"/>
                  </a:lnTo>
                  <a:close/>
                  <a:moveTo>
                    <a:pt x="1030" y="1820"/>
                  </a:moveTo>
                  <a:lnTo>
                    <a:pt x="1030" y="1820"/>
                  </a:lnTo>
                  <a:lnTo>
                    <a:pt x="1032" y="1818"/>
                  </a:lnTo>
                  <a:lnTo>
                    <a:pt x="1034" y="1814"/>
                  </a:lnTo>
                  <a:lnTo>
                    <a:pt x="1032" y="1810"/>
                  </a:lnTo>
                  <a:lnTo>
                    <a:pt x="1030" y="1808"/>
                  </a:lnTo>
                  <a:lnTo>
                    <a:pt x="1022" y="1802"/>
                  </a:lnTo>
                  <a:lnTo>
                    <a:pt x="1018" y="1800"/>
                  </a:lnTo>
                  <a:lnTo>
                    <a:pt x="1016" y="1802"/>
                  </a:lnTo>
                  <a:lnTo>
                    <a:pt x="1014" y="1806"/>
                  </a:lnTo>
                  <a:lnTo>
                    <a:pt x="1016" y="1812"/>
                  </a:lnTo>
                  <a:lnTo>
                    <a:pt x="1022" y="1818"/>
                  </a:lnTo>
                  <a:lnTo>
                    <a:pt x="1026" y="1820"/>
                  </a:lnTo>
                  <a:lnTo>
                    <a:pt x="1030" y="1820"/>
                  </a:lnTo>
                  <a:close/>
                  <a:moveTo>
                    <a:pt x="952" y="1846"/>
                  </a:moveTo>
                  <a:lnTo>
                    <a:pt x="952" y="1846"/>
                  </a:lnTo>
                  <a:lnTo>
                    <a:pt x="952" y="1848"/>
                  </a:lnTo>
                  <a:lnTo>
                    <a:pt x="954" y="1850"/>
                  </a:lnTo>
                  <a:lnTo>
                    <a:pt x="954" y="1854"/>
                  </a:lnTo>
                  <a:lnTo>
                    <a:pt x="954" y="1856"/>
                  </a:lnTo>
                  <a:lnTo>
                    <a:pt x="952" y="1858"/>
                  </a:lnTo>
                  <a:lnTo>
                    <a:pt x="952" y="1860"/>
                  </a:lnTo>
                  <a:lnTo>
                    <a:pt x="960" y="1866"/>
                  </a:lnTo>
                  <a:lnTo>
                    <a:pt x="962" y="1866"/>
                  </a:lnTo>
                  <a:lnTo>
                    <a:pt x="964" y="1866"/>
                  </a:lnTo>
                  <a:lnTo>
                    <a:pt x="964" y="1864"/>
                  </a:lnTo>
                  <a:lnTo>
                    <a:pt x="964" y="1862"/>
                  </a:lnTo>
                  <a:lnTo>
                    <a:pt x="966" y="1860"/>
                  </a:lnTo>
                  <a:lnTo>
                    <a:pt x="968" y="1858"/>
                  </a:lnTo>
                  <a:lnTo>
                    <a:pt x="972" y="1862"/>
                  </a:lnTo>
                  <a:lnTo>
                    <a:pt x="976" y="1864"/>
                  </a:lnTo>
                  <a:lnTo>
                    <a:pt x="976" y="1862"/>
                  </a:lnTo>
                  <a:lnTo>
                    <a:pt x="976" y="1860"/>
                  </a:lnTo>
                  <a:lnTo>
                    <a:pt x="972" y="1858"/>
                  </a:lnTo>
                  <a:lnTo>
                    <a:pt x="972" y="1856"/>
                  </a:lnTo>
                  <a:lnTo>
                    <a:pt x="972" y="1854"/>
                  </a:lnTo>
                  <a:lnTo>
                    <a:pt x="974" y="1850"/>
                  </a:lnTo>
                  <a:lnTo>
                    <a:pt x="974" y="1846"/>
                  </a:lnTo>
                  <a:lnTo>
                    <a:pt x="972" y="1846"/>
                  </a:lnTo>
                  <a:lnTo>
                    <a:pt x="970" y="1844"/>
                  </a:lnTo>
                  <a:lnTo>
                    <a:pt x="966" y="1842"/>
                  </a:lnTo>
                  <a:lnTo>
                    <a:pt x="964" y="1840"/>
                  </a:lnTo>
                  <a:lnTo>
                    <a:pt x="960" y="1838"/>
                  </a:lnTo>
                  <a:lnTo>
                    <a:pt x="956" y="1840"/>
                  </a:lnTo>
                  <a:lnTo>
                    <a:pt x="954" y="1842"/>
                  </a:lnTo>
                  <a:lnTo>
                    <a:pt x="958" y="1844"/>
                  </a:lnTo>
                  <a:lnTo>
                    <a:pt x="964" y="1846"/>
                  </a:lnTo>
                  <a:lnTo>
                    <a:pt x="966" y="1848"/>
                  </a:lnTo>
                  <a:lnTo>
                    <a:pt x="964" y="1850"/>
                  </a:lnTo>
                  <a:lnTo>
                    <a:pt x="960" y="1850"/>
                  </a:lnTo>
                  <a:lnTo>
                    <a:pt x="952" y="1846"/>
                  </a:lnTo>
                  <a:close/>
                  <a:moveTo>
                    <a:pt x="862" y="1678"/>
                  </a:moveTo>
                  <a:lnTo>
                    <a:pt x="862" y="1678"/>
                  </a:lnTo>
                  <a:lnTo>
                    <a:pt x="864" y="1678"/>
                  </a:lnTo>
                  <a:lnTo>
                    <a:pt x="868" y="1678"/>
                  </a:lnTo>
                  <a:lnTo>
                    <a:pt x="872" y="1674"/>
                  </a:lnTo>
                  <a:lnTo>
                    <a:pt x="872" y="1672"/>
                  </a:lnTo>
                  <a:lnTo>
                    <a:pt x="868" y="1672"/>
                  </a:lnTo>
                  <a:lnTo>
                    <a:pt x="864" y="1674"/>
                  </a:lnTo>
                  <a:lnTo>
                    <a:pt x="862" y="1678"/>
                  </a:lnTo>
                  <a:close/>
                  <a:moveTo>
                    <a:pt x="860" y="1816"/>
                  </a:moveTo>
                  <a:lnTo>
                    <a:pt x="860" y="1816"/>
                  </a:lnTo>
                  <a:lnTo>
                    <a:pt x="860" y="1814"/>
                  </a:lnTo>
                  <a:lnTo>
                    <a:pt x="860" y="1812"/>
                  </a:lnTo>
                  <a:lnTo>
                    <a:pt x="858" y="1814"/>
                  </a:lnTo>
                  <a:lnTo>
                    <a:pt x="856" y="1818"/>
                  </a:lnTo>
                  <a:lnTo>
                    <a:pt x="850" y="1826"/>
                  </a:lnTo>
                  <a:lnTo>
                    <a:pt x="848" y="1830"/>
                  </a:lnTo>
                  <a:lnTo>
                    <a:pt x="848" y="1834"/>
                  </a:lnTo>
                  <a:lnTo>
                    <a:pt x="850" y="1836"/>
                  </a:lnTo>
                  <a:lnTo>
                    <a:pt x="852" y="1836"/>
                  </a:lnTo>
                  <a:lnTo>
                    <a:pt x="854" y="1830"/>
                  </a:lnTo>
                  <a:lnTo>
                    <a:pt x="860" y="1816"/>
                  </a:lnTo>
                  <a:close/>
                  <a:moveTo>
                    <a:pt x="1100" y="2508"/>
                  </a:moveTo>
                  <a:lnTo>
                    <a:pt x="1100" y="2508"/>
                  </a:lnTo>
                  <a:lnTo>
                    <a:pt x="1102" y="2508"/>
                  </a:lnTo>
                  <a:lnTo>
                    <a:pt x="1100" y="2506"/>
                  </a:lnTo>
                  <a:lnTo>
                    <a:pt x="1094" y="2504"/>
                  </a:lnTo>
                  <a:lnTo>
                    <a:pt x="1086" y="2504"/>
                  </a:lnTo>
                  <a:lnTo>
                    <a:pt x="1084" y="2504"/>
                  </a:lnTo>
                  <a:lnTo>
                    <a:pt x="1084" y="2506"/>
                  </a:lnTo>
                  <a:lnTo>
                    <a:pt x="1086" y="2508"/>
                  </a:lnTo>
                  <a:lnTo>
                    <a:pt x="1092" y="2510"/>
                  </a:lnTo>
                  <a:lnTo>
                    <a:pt x="1096" y="2510"/>
                  </a:lnTo>
                  <a:lnTo>
                    <a:pt x="1100" y="2508"/>
                  </a:lnTo>
                  <a:close/>
                  <a:moveTo>
                    <a:pt x="1092" y="2518"/>
                  </a:moveTo>
                  <a:lnTo>
                    <a:pt x="1092" y="2518"/>
                  </a:lnTo>
                  <a:lnTo>
                    <a:pt x="1108" y="2520"/>
                  </a:lnTo>
                  <a:lnTo>
                    <a:pt x="1110" y="2518"/>
                  </a:lnTo>
                  <a:lnTo>
                    <a:pt x="1108" y="2516"/>
                  </a:lnTo>
                  <a:lnTo>
                    <a:pt x="1100" y="2514"/>
                  </a:lnTo>
                  <a:lnTo>
                    <a:pt x="1086" y="2514"/>
                  </a:lnTo>
                  <a:lnTo>
                    <a:pt x="1084" y="2514"/>
                  </a:lnTo>
                  <a:lnTo>
                    <a:pt x="1082" y="2516"/>
                  </a:lnTo>
                  <a:lnTo>
                    <a:pt x="1092" y="2518"/>
                  </a:lnTo>
                  <a:close/>
                  <a:moveTo>
                    <a:pt x="1108" y="1672"/>
                  </a:moveTo>
                  <a:lnTo>
                    <a:pt x="1108" y="1672"/>
                  </a:lnTo>
                  <a:lnTo>
                    <a:pt x="1106" y="1672"/>
                  </a:lnTo>
                  <a:lnTo>
                    <a:pt x="1104" y="1674"/>
                  </a:lnTo>
                  <a:lnTo>
                    <a:pt x="1102" y="1682"/>
                  </a:lnTo>
                  <a:lnTo>
                    <a:pt x="1100" y="1692"/>
                  </a:lnTo>
                  <a:lnTo>
                    <a:pt x="1094" y="1700"/>
                  </a:lnTo>
                  <a:lnTo>
                    <a:pt x="1090" y="1710"/>
                  </a:lnTo>
                  <a:lnTo>
                    <a:pt x="1086" y="1722"/>
                  </a:lnTo>
                  <a:lnTo>
                    <a:pt x="1084" y="1734"/>
                  </a:lnTo>
                  <a:lnTo>
                    <a:pt x="1084" y="1740"/>
                  </a:lnTo>
                  <a:lnTo>
                    <a:pt x="1086" y="1744"/>
                  </a:lnTo>
                  <a:lnTo>
                    <a:pt x="1090" y="1734"/>
                  </a:lnTo>
                  <a:lnTo>
                    <a:pt x="1100" y="1708"/>
                  </a:lnTo>
                  <a:lnTo>
                    <a:pt x="1108" y="1684"/>
                  </a:lnTo>
                  <a:lnTo>
                    <a:pt x="1110" y="1676"/>
                  </a:lnTo>
                  <a:lnTo>
                    <a:pt x="1110" y="1674"/>
                  </a:lnTo>
                  <a:lnTo>
                    <a:pt x="1108" y="1672"/>
                  </a:lnTo>
                  <a:close/>
                  <a:moveTo>
                    <a:pt x="1804" y="2938"/>
                  </a:moveTo>
                  <a:lnTo>
                    <a:pt x="1804" y="2938"/>
                  </a:lnTo>
                  <a:lnTo>
                    <a:pt x="1810" y="2932"/>
                  </a:lnTo>
                  <a:lnTo>
                    <a:pt x="1812" y="2928"/>
                  </a:lnTo>
                  <a:lnTo>
                    <a:pt x="1808" y="2930"/>
                  </a:lnTo>
                  <a:lnTo>
                    <a:pt x="1800" y="2934"/>
                  </a:lnTo>
                  <a:lnTo>
                    <a:pt x="1790" y="2940"/>
                  </a:lnTo>
                  <a:lnTo>
                    <a:pt x="1776" y="2946"/>
                  </a:lnTo>
                  <a:lnTo>
                    <a:pt x="1768" y="2946"/>
                  </a:lnTo>
                  <a:lnTo>
                    <a:pt x="1760" y="2944"/>
                  </a:lnTo>
                  <a:lnTo>
                    <a:pt x="1754" y="2944"/>
                  </a:lnTo>
                  <a:lnTo>
                    <a:pt x="1750" y="2944"/>
                  </a:lnTo>
                  <a:lnTo>
                    <a:pt x="1748" y="2946"/>
                  </a:lnTo>
                  <a:lnTo>
                    <a:pt x="1748" y="2948"/>
                  </a:lnTo>
                  <a:lnTo>
                    <a:pt x="1748" y="2954"/>
                  </a:lnTo>
                  <a:lnTo>
                    <a:pt x="1746" y="2954"/>
                  </a:lnTo>
                  <a:lnTo>
                    <a:pt x="1742" y="2954"/>
                  </a:lnTo>
                  <a:lnTo>
                    <a:pt x="1736" y="2954"/>
                  </a:lnTo>
                  <a:lnTo>
                    <a:pt x="1732" y="2958"/>
                  </a:lnTo>
                  <a:lnTo>
                    <a:pt x="1730" y="2960"/>
                  </a:lnTo>
                  <a:lnTo>
                    <a:pt x="1726" y="2960"/>
                  </a:lnTo>
                  <a:lnTo>
                    <a:pt x="1722" y="2960"/>
                  </a:lnTo>
                  <a:lnTo>
                    <a:pt x="1722" y="2962"/>
                  </a:lnTo>
                  <a:lnTo>
                    <a:pt x="1726" y="2974"/>
                  </a:lnTo>
                  <a:lnTo>
                    <a:pt x="1728" y="2978"/>
                  </a:lnTo>
                  <a:lnTo>
                    <a:pt x="1732" y="2980"/>
                  </a:lnTo>
                  <a:lnTo>
                    <a:pt x="1736" y="2982"/>
                  </a:lnTo>
                  <a:lnTo>
                    <a:pt x="1742" y="2982"/>
                  </a:lnTo>
                  <a:lnTo>
                    <a:pt x="1748" y="2982"/>
                  </a:lnTo>
                  <a:lnTo>
                    <a:pt x="1750" y="2984"/>
                  </a:lnTo>
                  <a:lnTo>
                    <a:pt x="1752" y="2986"/>
                  </a:lnTo>
                  <a:lnTo>
                    <a:pt x="1754" y="2984"/>
                  </a:lnTo>
                  <a:lnTo>
                    <a:pt x="1754" y="2982"/>
                  </a:lnTo>
                  <a:lnTo>
                    <a:pt x="1756" y="2980"/>
                  </a:lnTo>
                  <a:lnTo>
                    <a:pt x="1764" y="2978"/>
                  </a:lnTo>
                  <a:lnTo>
                    <a:pt x="1770" y="2976"/>
                  </a:lnTo>
                  <a:lnTo>
                    <a:pt x="1774" y="2974"/>
                  </a:lnTo>
                  <a:lnTo>
                    <a:pt x="1776" y="2970"/>
                  </a:lnTo>
                  <a:lnTo>
                    <a:pt x="1780" y="2966"/>
                  </a:lnTo>
                  <a:lnTo>
                    <a:pt x="1782" y="2964"/>
                  </a:lnTo>
                  <a:lnTo>
                    <a:pt x="1790" y="2964"/>
                  </a:lnTo>
                  <a:lnTo>
                    <a:pt x="1794" y="2964"/>
                  </a:lnTo>
                  <a:lnTo>
                    <a:pt x="1796" y="2962"/>
                  </a:lnTo>
                  <a:lnTo>
                    <a:pt x="1794" y="2960"/>
                  </a:lnTo>
                  <a:lnTo>
                    <a:pt x="1790" y="2954"/>
                  </a:lnTo>
                  <a:lnTo>
                    <a:pt x="1790" y="2950"/>
                  </a:lnTo>
                  <a:lnTo>
                    <a:pt x="1796" y="2944"/>
                  </a:lnTo>
                  <a:lnTo>
                    <a:pt x="1804" y="2938"/>
                  </a:lnTo>
                  <a:close/>
                  <a:moveTo>
                    <a:pt x="1538" y="2902"/>
                  </a:moveTo>
                  <a:lnTo>
                    <a:pt x="1538" y="2902"/>
                  </a:lnTo>
                  <a:lnTo>
                    <a:pt x="1540" y="2906"/>
                  </a:lnTo>
                  <a:lnTo>
                    <a:pt x="1538" y="2910"/>
                  </a:lnTo>
                  <a:lnTo>
                    <a:pt x="1538" y="2914"/>
                  </a:lnTo>
                  <a:lnTo>
                    <a:pt x="1542" y="2918"/>
                  </a:lnTo>
                  <a:lnTo>
                    <a:pt x="1544" y="2918"/>
                  </a:lnTo>
                  <a:lnTo>
                    <a:pt x="1548" y="2914"/>
                  </a:lnTo>
                  <a:lnTo>
                    <a:pt x="1554" y="2904"/>
                  </a:lnTo>
                  <a:lnTo>
                    <a:pt x="1558" y="2894"/>
                  </a:lnTo>
                  <a:lnTo>
                    <a:pt x="1560" y="2888"/>
                  </a:lnTo>
                  <a:lnTo>
                    <a:pt x="1560" y="2886"/>
                  </a:lnTo>
                  <a:lnTo>
                    <a:pt x="1558" y="2886"/>
                  </a:lnTo>
                  <a:lnTo>
                    <a:pt x="1554" y="2886"/>
                  </a:lnTo>
                  <a:lnTo>
                    <a:pt x="1546" y="2892"/>
                  </a:lnTo>
                  <a:lnTo>
                    <a:pt x="1540" y="2898"/>
                  </a:lnTo>
                  <a:lnTo>
                    <a:pt x="1538" y="2900"/>
                  </a:lnTo>
                  <a:lnTo>
                    <a:pt x="1538" y="2902"/>
                  </a:lnTo>
                  <a:close/>
                  <a:moveTo>
                    <a:pt x="644" y="1508"/>
                  </a:moveTo>
                  <a:lnTo>
                    <a:pt x="644" y="1508"/>
                  </a:lnTo>
                  <a:lnTo>
                    <a:pt x="646" y="1510"/>
                  </a:lnTo>
                  <a:lnTo>
                    <a:pt x="648" y="1508"/>
                  </a:lnTo>
                  <a:lnTo>
                    <a:pt x="650" y="1500"/>
                  </a:lnTo>
                  <a:lnTo>
                    <a:pt x="650" y="1498"/>
                  </a:lnTo>
                  <a:lnTo>
                    <a:pt x="646" y="1498"/>
                  </a:lnTo>
                  <a:lnTo>
                    <a:pt x="640" y="1500"/>
                  </a:lnTo>
                  <a:lnTo>
                    <a:pt x="636" y="1504"/>
                  </a:lnTo>
                  <a:lnTo>
                    <a:pt x="634" y="1510"/>
                  </a:lnTo>
                  <a:lnTo>
                    <a:pt x="636" y="1514"/>
                  </a:lnTo>
                  <a:lnTo>
                    <a:pt x="638" y="1516"/>
                  </a:lnTo>
                  <a:lnTo>
                    <a:pt x="642" y="1518"/>
                  </a:lnTo>
                  <a:lnTo>
                    <a:pt x="644" y="1516"/>
                  </a:lnTo>
                  <a:lnTo>
                    <a:pt x="644" y="1514"/>
                  </a:lnTo>
                  <a:lnTo>
                    <a:pt x="642" y="1508"/>
                  </a:lnTo>
                  <a:lnTo>
                    <a:pt x="640" y="1506"/>
                  </a:lnTo>
                  <a:lnTo>
                    <a:pt x="644" y="1508"/>
                  </a:lnTo>
                  <a:close/>
                  <a:moveTo>
                    <a:pt x="632" y="1558"/>
                  </a:moveTo>
                  <a:lnTo>
                    <a:pt x="632" y="1558"/>
                  </a:lnTo>
                  <a:lnTo>
                    <a:pt x="634" y="1556"/>
                  </a:lnTo>
                  <a:lnTo>
                    <a:pt x="634" y="1554"/>
                  </a:lnTo>
                  <a:lnTo>
                    <a:pt x="634" y="1548"/>
                  </a:lnTo>
                  <a:lnTo>
                    <a:pt x="630" y="1544"/>
                  </a:lnTo>
                  <a:lnTo>
                    <a:pt x="630" y="1546"/>
                  </a:lnTo>
                  <a:lnTo>
                    <a:pt x="630" y="1554"/>
                  </a:lnTo>
                  <a:lnTo>
                    <a:pt x="630" y="1558"/>
                  </a:lnTo>
                  <a:lnTo>
                    <a:pt x="632" y="1558"/>
                  </a:lnTo>
                  <a:close/>
                  <a:moveTo>
                    <a:pt x="628" y="1528"/>
                  </a:moveTo>
                  <a:lnTo>
                    <a:pt x="628" y="1528"/>
                  </a:lnTo>
                  <a:lnTo>
                    <a:pt x="630" y="1528"/>
                  </a:lnTo>
                  <a:lnTo>
                    <a:pt x="630" y="1526"/>
                  </a:lnTo>
                  <a:lnTo>
                    <a:pt x="632" y="1522"/>
                  </a:lnTo>
                  <a:lnTo>
                    <a:pt x="632" y="1520"/>
                  </a:lnTo>
                  <a:lnTo>
                    <a:pt x="634" y="1520"/>
                  </a:lnTo>
                  <a:lnTo>
                    <a:pt x="634" y="1522"/>
                  </a:lnTo>
                  <a:lnTo>
                    <a:pt x="636" y="1522"/>
                  </a:lnTo>
                  <a:lnTo>
                    <a:pt x="638" y="1522"/>
                  </a:lnTo>
                  <a:lnTo>
                    <a:pt x="638" y="1520"/>
                  </a:lnTo>
                  <a:lnTo>
                    <a:pt x="636" y="1518"/>
                  </a:lnTo>
                  <a:lnTo>
                    <a:pt x="632" y="1514"/>
                  </a:lnTo>
                  <a:lnTo>
                    <a:pt x="628" y="1512"/>
                  </a:lnTo>
                  <a:lnTo>
                    <a:pt x="628" y="1516"/>
                  </a:lnTo>
                  <a:lnTo>
                    <a:pt x="628" y="1528"/>
                  </a:lnTo>
                  <a:close/>
                  <a:moveTo>
                    <a:pt x="1186" y="1636"/>
                  </a:moveTo>
                  <a:lnTo>
                    <a:pt x="1186" y="1636"/>
                  </a:lnTo>
                  <a:lnTo>
                    <a:pt x="1180" y="1640"/>
                  </a:lnTo>
                  <a:lnTo>
                    <a:pt x="1176" y="1638"/>
                  </a:lnTo>
                  <a:lnTo>
                    <a:pt x="1174" y="1638"/>
                  </a:lnTo>
                  <a:lnTo>
                    <a:pt x="1164" y="1646"/>
                  </a:lnTo>
                  <a:lnTo>
                    <a:pt x="1156" y="1656"/>
                  </a:lnTo>
                  <a:lnTo>
                    <a:pt x="1150" y="1666"/>
                  </a:lnTo>
                  <a:lnTo>
                    <a:pt x="1150" y="1676"/>
                  </a:lnTo>
                  <a:lnTo>
                    <a:pt x="1154" y="1682"/>
                  </a:lnTo>
                  <a:lnTo>
                    <a:pt x="1154" y="1686"/>
                  </a:lnTo>
                  <a:lnTo>
                    <a:pt x="1154" y="1690"/>
                  </a:lnTo>
                  <a:lnTo>
                    <a:pt x="1154" y="1696"/>
                  </a:lnTo>
                  <a:lnTo>
                    <a:pt x="1154" y="1700"/>
                  </a:lnTo>
                  <a:lnTo>
                    <a:pt x="1158" y="1700"/>
                  </a:lnTo>
                  <a:lnTo>
                    <a:pt x="1162" y="1696"/>
                  </a:lnTo>
                  <a:lnTo>
                    <a:pt x="1166" y="1690"/>
                  </a:lnTo>
                  <a:lnTo>
                    <a:pt x="1170" y="1682"/>
                  </a:lnTo>
                  <a:lnTo>
                    <a:pt x="1178" y="1674"/>
                  </a:lnTo>
                  <a:lnTo>
                    <a:pt x="1182" y="1670"/>
                  </a:lnTo>
                  <a:lnTo>
                    <a:pt x="1184" y="1666"/>
                  </a:lnTo>
                  <a:lnTo>
                    <a:pt x="1182" y="1662"/>
                  </a:lnTo>
                  <a:lnTo>
                    <a:pt x="1180" y="1658"/>
                  </a:lnTo>
                  <a:lnTo>
                    <a:pt x="1180" y="1656"/>
                  </a:lnTo>
                  <a:lnTo>
                    <a:pt x="1182" y="1652"/>
                  </a:lnTo>
                  <a:lnTo>
                    <a:pt x="1186" y="1646"/>
                  </a:lnTo>
                  <a:lnTo>
                    <a:pt x="1194" y="1638"/>
                  </a:lnTo>
                  <a:lnTo>
                    <a:pt x="1198" y="1632"/>
                  </a:lnTo>
                  <a:lnTo>
                    <a:pt x="1196" y="1630"/>
                  </a:lnTo>
                  <a:lnTo>
                    <a:pt x="1194" y="1632"/>
                  </a:lnTo>
                  <a:lnTo>
                    <a:pt x="1186" y="1636"/>
                  </a:lnTo>
                  <a:close/>
                  <a:moveTo>
                    <a:pt x="1058" y="962"/>
                  </a:moveTo>
                  <a:lnTo>
                    <a:pt x="1058" y="962"/>
                  </a:lnTo>
                  <a:lnTo>
                    <a:pt x="1050" y="960"/>
                  </a:lnTo>
                  <a:lnTo>
                    <a:pt x="1048" y="962"/>
                  </a:lnTo>
                  <a:lnTo>
                    <a:pt x="1046" y="964"/>
                  </a:lnTo>
                  <a:lnTo>
                    <a:pt x="1048" y="964"/>
                  </a:lnTo>
                  <a:lnTo>
                    <a:pt x="1054" y="964"/>
                  </a:lnTo>
                  <a:lnTo>
                    <a:pt x="1058" y="962"/>
                  </a:lnTo>
                  <a:close/>
                  <a:moveTo>
                    <a:pt x="1366" y="1568"/>
                  </a:moveTo>
                  <a:lnTo>
                    <a:pt x="1366" y="1568"/>
                  </a:lnTo>
                  <a:lnTo>
                    <a:pt x="1364" y="1566"/>
                  </a:lnTo>
                  <a:lnTo>
                    <a:pt x="1360" y="1564"/>
                  </a:lnTo>
                  <a:lnTo>
                    <a:pt x="1356" y="1564"/>
                  </a:lnTo>
                  <a:lnTo>
                    <a:pt x="1354" y="1566"/>
                  </a:lnTo>
                  <a:lnTo>
                    <a:pt x="1356" y="1568"/>
                  </a:lnTo>
                  <a:lnTo>
                    <a:pt x="1360" y="1570"/>
                  </a:lnTo>
                  <a:lnTo>
                    <a:pt x="1364" y="1570"/>
                  </a:lnTo>
                  <a:lnTo>
                    <a:pt x="1366" y="1568"/>
                  </a:lnTo>
                  <a:close/>
                  <a:moveTo>
                    <a:pt x="1332" y="1588"/>
                  </a:moveTo>
                  <a:lnTo>
                    <a:pt x="1332" y="1588"/>
                  </a:lnTo>
                  <a:lnTo>
                    <a:pt x="1336" y="1586"/>
                  </a:lnTo>
                  <a:lnTo>
                    <a:pt x="1338" y="1584"/>
                  </a:lnTo>
                  <a:lnTo>
                    <a:pt x="1338" y="1582"/>
                  </a:lnTo>
                  <a:lnTo>
                    <a:pt x="1342" y="1580"/>
                  </a:lnTo>
                  <a:lnTo>
                    <a:pt x="1344" y="1582"/>
                  </a:lnTo>
                  <a:lnTo>
                    <a:pt x="1346" y="1580"/>
                  </a:lnTo>
                  <a:lnTo>
                    <a:pt x="1346" y="1578"/>
                  </a:lnTo>
                  <a:lnTo>
                    <a:pt x="1348" y="1578"/>
                  </a:lnTo>
                  <a:lnTo>
                    <a:pt x="1350" y="1578"/>
                  </a:lnTo>
                  <a:lnTo>
                    <a:pt x="1352" y="1576"/>
                  </a:lnTo>
                  <a:lnTo>
                    <a:pt x="1350" y="1574"/>
                  </a:lnTo>
                  <a:lnTo>
                    <a:pt x="1346" y="1570"/>
                  </a:lnTo>
                  <a:lnTo>
                    <a:pt x="1336" y="1562"/>
                  </a:lnTo>
                  <a:lnTo>
                    <a:pt x="1334" y="1562"/>
                  </a:lnTo>
                  <a:lnTo>
                    <a:pt x="1330" y="1566"/>
                  </a:lnTo>
                  <a:lnTo>
                    <a:pt x="1326" y="1568"/>
                  </a:lnTo>
                  <a:lnTo>
                    <a:pt x="1320" y="1570"/>
                  </a:lnTo>
                  <a:lnTo>
                    <a:pt x="1316" y="1570"/>
                  </a:lnTo>
                  <a:lnTo>
                    <a:pt x="1312" y="1570"/>
                  </a:lnTo>
                  <a:lnTo>
                    <a:pt x="1310" y="1572"/>
                  </a:lnTo>
                  <a:lnTo>
                    <a:pt x="1312" y="1574"/>
                  </a:lnTo>
                  <a:lnTo>
                    <a:pt x="1322" y="1574"/>
                  </a:lnTo>
                  <a:lnTo>
                    <a:pt x="1324" y="1574"/>
                  </a:lnTo>
                  <a:lnTo>
                    <a:pt x="1326" y="1576"/>
                  </a:lnTo>
                  <a:lnTo>
                    <a:pt x="1326" y="1580"/>
                  </a:lnTo>
                  <a:lnTo>
                    <a:pt x="1328" y="1584"/>
                  </a:lnTo>
                  <a:lnTo>
                    <a:pt x="1330" y="1586"/>
                  </a:lnTo>
                  <a:lnTo>
                    <a:pt x="1332" y="1588"/>
                  </a:lnTo>
                  <a:close/>
                  <a:moveTo>
                    <a:pt x="1306" y="1608"/>
                  </a:moveTo>
                  <a:lnTo>
                    <a:pt x="1306" y="1608"/>
                  </a:lnTo>
                  <a:lnTo>
                    <a:pt x="1304" y="1610"/>
                  </a:lnTo>
                  <a:lnTo>
                    <a:pt x="1302" y="1612"/>
                  </a:lnTo>
                  <a:lnTo>
                    <a:pt x="1304" y="1616"/>
                  </a:lnTo>
                  <a:lnTo>
                    <a:pt x="1310" y="1618"/>
                  </a:lnTo>
                  <a:lnTo>
                    <a:pt x="1316" y="1622"/>
                  </a:lnTo>
                  <a:lnTo>
                    <a:pt x="1316" y="1624"/>
                  </a:lnTo>
                  <a:lnTo>
                    <a:pt x="1312" y="1628"/>
                  </a:lnTo>
                  <a:lnTo>
                    <a:pt x="1308" y="1630"/>
                  </a:lnTo>
                  <a:lnTo>
                    <a:pt x="1308" y="1634"/>
                  </a:lnTo>
                  <a:lnTo>
                    <a:pt x="1308" y="1636"/>
                  </a:lnTo>
                  <a:lnTo>
                    <a:pt x="1314" y="1636"/>
                  </a:lnTo>
                  <a:lnTo>
                    <a:pt x="1316" y="1634"/>
                  </a:lnTo>
                  <a:lnTo>
                    <a:pt x="1318" y="1630"/>
                  </a:lnTo>
                  <a:lnTo>
                    <a:pt x="1322" y="1620"/>
                  </a:lnTo>
                  <a:lnTo>
                    <a:pt x="1326" y="1618"/>
                  </a:lnTo>
                  <a:lnTo>
                    <a:pt x="1328" y="1616"/>
                  </a:lnTo>
                  <a:lnTo>
                    <a:pt x="1330" y="1616"/>
                  </a:lnTo>
                  <a:lnTo>
                    <a:pt x="1334" y="1618"/>
                  </a:lnTo>
                  <a:lnTo>
                    <a:pt x="1340" y="1614"/>
                  </a:lnTo>
                  <a:lnTo>
                    <a:pt x="1348" y="1610"/>
                  </a:lnTo>
                  <a:lnTo>
                    <a:pt x="1352" y="1604"/>
                  </a:lnTo>
                  <a:lnTo>
                    <a:pt x="1356" y="1602"/>
                  </a:lnTo>
                  <a:lnTo>
                    <a:pt x="1358" y="1602"/>
                  </a:lnTo>
                  <a:lnTo>
                    <a:pt x="1358" y="1604"/>
                  </a:lnTo>
                  <a:lnTo>
                    <a:pt x="1362" y="1604"/>
                  </a:lnTo>
                  <a:lnTo>
                    <a:pt x="1364" y="1602"/>
                  </a:lnTo>
                  <a:lnTo>
                    <a:pt x="1362" y="1602"/>
                  </a:lnTo>
                  <a:lnTo>
                    <a:pt x="1354" y="1596"/>
                  </a:lnTo>
                  <a:lnTo>
                    <a:pt x="1348" y="1594"/>
                  </a:lnTo>
                  <a:lnTo>
                    <a:pt x="1342" y="1594"/>
                  </a:lnTo>
                  <a:lnTo>
                    <a:pt x="1338" y="1594"/>
                  </a:lnTo>
                  <a:lnTo>
                    <a:pt x="1334" y="1592"/>
                  </a:lnTo>
                  <a:lnTo>
                    <a:pt x="1330" y="1590"/>
                  </a:lnTo>
                  <a:lnTo>
                    <a:pt x="1324" y="1592"/>
                  </a:lnTo>
                  <a:lnTo>
                    <a:pt x="1318" y="1594"/>
                  </a:lnTo>
                  <a:lnTo>
                    <a:pt x="1314" y="1600"/>
                  </a:lnTo>
                  <a:lnTo>
                    <a:pt x="1312" y="1602"/>
                  </a:lnTo>
                  <a:lnTo>
                    <a:pt x="1310" y="1602"/>
                  </a:lnTo>
                  <a:lnTo>
                    <a:pt x="1308" y="1598"/>
                  </a:lnTo>
                  <a:lnTo>
                    <a:pt x="1304" y="1598"/>
                  </a:lnTo>
                  <a:lnTo>
                    <a:pt x="1304" y="1600"/>
                  </a:lnTo>
                  <a:lnTo>
                    <a:pt x="1306" y="1604"/>
                  </a:lnTo>
                  <a:lnTo>
                    <a:pt x="1308" y="1606"/>
                  </a:lnTo>
                  <a:lnTo>
                    <a:pt x="1308" y="1608"/>
                  </a:lnTo>
                  <a:lnTo>
                    <a:pt x="1306" y="1608"/>
                  </a:lnTo>
                  <a:close/>
                  <a:moveTo>
                    <a:pt x="1364" y="1596"/>
                  </a:moveTo>
                  <a:lnTo>
                    <a:pt x="1364" y="1596"/>
                  </a:lnTo>
                  <a:lnTo>
                    <a:pt x="1364" y="1592"/>
                  </a:lnTo>
                  <a:lnTo>
                    <a:pt x="1360" y="1590"/>
                  </a:lnTo>
                  <a:lnTo>
                    <a:pt x="1356" y="1588"/>
                  </a:lnTo>
                  <a:lnTo>
                    <a:pt x="1354" y="1588"/>
                  </a:lnTo>
                  <a:lnTo>
                    <a:pt x="1354" y="1592"/>
                  </a:lnTo>
                  <a:lnTo>
                    <a:pt x="1356" y="1596"/>
                  </a:lnTo>
                  <a:lnTo>
                    <a:pt x="1360" y="1598"/>
                  </a:lnTo>
                  <a:lnTo>
                    <a:pt x="1364" y="1596"/>
                  </a:lnTo>
                  <a:close/>
                  <a:moveTo>
                    <a:pt x="1102" y="2532"/>
                  </a:moveTo>
                  <a:lnTo>
                    <a:pt x="1102" y="2532"/>
                  </a:lnTo>
                  <a:lnTo>
                    <a:pt x="1110" y="2530"/>
                  </a:lnTo>
                  <a:lnTo>
                    <a:pt x="1112" y="2530"/>
                  </a:lnTo>
                  <a:lnTo>
                    <a:pt x="1110" y="2528"/>
                  </a:lnTo>
                  <a:lnTo>
                    <a:pt x="1098" y="2526"/>
                  </a:lnTo>
                  <a:lnTo>
                    <a:pt x="1092" y="2528"/>
                  </a:lnTo>
                  <a:lnTo>
                    <a:pt x="1094" y="2530"/>
                  </a:lnTo>
                  <a:lnTo>
                    <a:pt x="1096" y="2532"/>
                  </a:lnTo>
                  <a:lnTo>
                    <a:pt x="1102" y="2532"/>
                  </a:lnTo>
                  <a:close/>
                  <a:moveTo>
                    <a:pt x="470" y="2754"/>
                  </a:moveTo>
                  <a:lnTo>
                    <a:pt x="470" y="2754"/>
                  </a:lnTo>
                  <a:lnTo>
                    <a:pt x="472" y="2756"/>
                  </a:lnTo>
                  <a:lnTo>
                    <a:pt x="476" y="2756"/>
                  </a:lnTo>
                  <a:lnTo>
                    <a:pt x="482" y="2752"/>
                  </a:lnTo>
                  <a:lnTo>
                    <a:pt x="486" y="2746"/>
                  </a:lnTo>
                  <a:lnTo>
                    <a:pt x="486" y="2744"/>
                  </a:lnTo>
                  <a:lnTo>
                    <a:pt x="484" y="2740"/>
                  </a:lnTo>
                  <a:lnTo>
                    <a:pt x="482" y="2740"/>
                  </a:lnTo>
                  <a:lnTo>
                    <a:pt x="480" y="2740"/>
                  </a:lnTo>
                  <a:lnTo>
                    <a:pt x="474" y="2744"/>
                  </a:lnTo>
                  <a:lnTo>
                    <a:pt x="470" y="2750"/>
                  </a:lnTo>
                  <a:lnTo>
                    <a:pt x="470" y="2752"/>
                  </a:lnTo>
                  <a:lnTo>
                    <a:pt x="470" y="2754"/>
                  </a:lnTo>
                  <a:close/>
                  <a:moveTo>
                    <a:pt x="808" y="2632"/>
                  </a:moveTo>
                  <a:lnTo>
                    <a:pt x="808" y="2632"/>
                  </a:lnTo>
                  <a:lnTo>
                    <a:pt x="804" y="2628"/>
                  </a:lnTo>
                  <a:lnTo>
                    <a:pt x="802" y="2626"/>
                  </a:lnTo>
                  <a:lnTo>
                    <a:pt x="798" y="2624"/>
                  </a:lnTo>
                  <a:lnTo>
                    <a:pt x="794" y="2626"/>
                  </a:lnTo>
                  <a:lnTo>
                    <a:pt x="790" y="2628"/>
                  </a:lnTo>
                  <a:lnTo>
                    <a:pt x="776" y="2638"/>
                  </a:lnTo>
                  <a:lnTo>
                    <a:pt x="768" y="2644"/>
                  </a:lnTo>
                  <a:lnTo>
                    <a:pt x="762" y="2646"/>
                  </a:lnTo>
                  <a:lnTo>
                    <a:pt x="758" y="2644"/>
                  </a:lnTo>
                  <a:lnTo>
                    <a:pt x="756" y="2642"/>
                  </a:lnTo>
                  <a:lnTo>
                    <a:pt x="752" y="2640"/>
                  </a:lnTo>
                  <a:lnTo>
                    <a:pt x="750" y="2650"/>
                  </a:lnTo>
                  <a:lnTo>
                    <a:pt x="752" y="2654"/>
                  </a:lnTo>
                  <a:lnTo>
                    <a:pt x="752" y="2658"/>
                  </a:lnTo>
                  <a:lnTo>
                    <a:pt x="756" y="2664"/>
                  </a:lnTo>
                  <a:lnTo>
                    <a:pt x="760" y="2672"/>
                  </a:lnTo>
                  <a:lnTo>
                    <a:pt x="762" y="2678"/>
                  </a:lnTo>
                  <a:lnTo>
                    <a:pt x="762" y="2686"/>
                  </a:lnTo>
                  <a:lnTo>
                    <a:pt x="762" y="2694"/>
                  </a:lnTo>
                  <a:lnTo>
                    <a:pt x="764" y="2698"/>
                  </a:lnTo>
                  <a:lnTo>
                    <a:pt x="764" y="2702"/>
                  </a:lnTo>
                  <a:lnTo>
                    <a:pt x="762" y="2714"/>
                  </a:lnTo>
                  <a:lnTo>
                    <a:pt x="760" y="2728"/>
                  </a:lnTo>
                  <a:lnTo>
                    <a:pt x="764" y="2742"/>
                  </a:lnTo>
                  <a:lnTo>
                    <a:pt x="766" y="2746"/>
                  </a:lnTo>
                  <a:lnTo>
                    <a:pt x="770" y="2750"/>
                  </a:lnTo>
                  <a:lnTo>
                    <a:pt x="774" y="2752"/>
                  </a:lnTo>
                  <a:lnTo>
                    <a:pt x="778" y="2752"/>
                  </a:lnTo>
                  <a:lnTo>
                    <a:pt x="782" y="2752"/>
                  </a:lnTo>
                  <a:lnTo>
                    <a:pt x="784" y="2748"/>
                  </a:lnTo>
                  <a:lnTo>
                    <a:pt x="788" y="2742"/>
                  </a:lnTo>
                  <a:lnTo>
                    <a:pt x="790" y="2738"/>
                  </a:lnTo>
                  <a:lnTo>
                    <a:pt x="792" y="2736"/>
                  </a:lnTo>
                  <a:lnTo>
                    <a:pt x="796" y="2738"/>
                  </a:lnTo>
                  <a:lnTo>
                    <a:pt x="802" y="2740"/>
                  </a:lnTo>
                  <a:lnTo>
                    <a:pt x="806" y="2740"/>
                  </a:lnTo>
                  <a:lnTo>
                    <a:pt x="808" y="2736"/>
                  </a:lnTo>
                  <a:lnTo>
                    <a:pt x="810" y="2726"/>
                  </a:lnTo>
                  <a:lnTo>
                    <a:pt x="814" y="2708"/>
                  </a:lnTo>
                  <a:lnTo>
                    <a:pt x="816" y="2698"/>
                  </a:lnTo>
                  <a:lnTo>
                    <a:pt x="814" y="2690"/>
                  </a:lnTo>
                  <a:lnTo>
                    <a:pt x="812" y="2682"/>
                  </a:lnTo>
                  <a:lnTo>
                    <a:pt x="810" y="2678"/>
                  </a:lnTo>
                  <a:lnTo>
                    <a:pt x="814" y="2672"/>
                  </a:lnTo>
                  <a:lnTo>
                    <a:pt x="818" y="2668"/>
                  </a:lnTo>
                  <a:lnTo>
                    <a:pt x="818" y="2662"/>
                  </a:lnTo>
                  <a:lnTo>
                    <a:pt x="818" y="2652"/>
                  </a:lnTo>
                  <a:lnTo>
                    <a:pt x="814" y="2642"/>
                  </a:lnTo>
                  <a:lnTo>
                    <a:pt x="808" y="2632"/>
                  </a:lnTo>
                  <a:close/>
                  <a:moveTo>
                    <a:pt x="576" y="2694"/>
                  </a:moveTo>
                  <a:lnTo>
                    <a:pt x="576" y="2694"/>
                  </a:lnTo>
                  <a:lnTo>
                    <a:pt x="578" y="2696"/>
                  </a:lnTo>
                  <a:lnTo>
                    <a:pt x="580" y="2696"/>
                  </a:lnTo>
                  <a:lnTo>
                    <a:pt x="584" y="2696"/>
                  </a:lnTo>
                  <a:lnTo>
                    <a:pt x="588" y="2698"/>
                  </a:lnTo>
                  <a:lnTo>
                    <a:pt x="592" y="2702"/>
                  </a:lnTo>
                  <a:lnTo>
                    <a:pt x="594" y="2700"/>
                  </a:lnTo>
                  <a:lnTo>
                    <a:pt x="596" y="2698"/>
                  </a:lnTo>
                  <a:lnTo>
                    <a:pt x="594" y="2692"/>
                  </a:lnTo>
                  <a:lnTo>
                    <a:pt x="594" y="2690"/>
                  </a:lnTo>
                  <a:lnTo>
                    <a:pt x="590" y="2688"/>
                  </a:lnTo>
                  <a:lnTo>
                    <a:pt x="584" y="2686"/>
                  </a:lnTo>
                  <a:lnTo>
                    <a:pt x="578" y="2688"/>
                  </a:lnTo>
                  <a:lnTo>
                    <a:pt x="576" y="2690"/>
                  </a:lnTo>
                  <a:lnTo>
                    <a:pt x="576" y="2694"/>
                  </a:lnTo>
                  <a:close/>
                  <a:moveTo>
                    <a:pt x="1022" y="2792"/>
                  </a:moveTo>
                  <a:lnTo>
                    <a:pt x="1022" y="2792"/>
                  </a:lnTo>
                  <a:lnTo>
                    <a:pt x="1016" y="2792"/>
                  </a:lnTo>
                  <a:lnTo>
                    <a:pt x="1010" y="2794"/>
                  </a:lnTo>
                  <a:lnTo>
                    <a:pt x="998" y="2800"/>
                  </a:lnTo>
                  <a:lnTo>
                    <a:pt x="990" y="2802"/>
                  </a:lnTo>
                  <a:lnTo>
                    <a:pt x="982" y="2802"/>
                  </a:lnTo>
                  <a:lnTo>
                    <a:pt x="974" y="2800"/>
                  </a:lnTo>
                  <a:lnTo>
                    <a:pt x="966" y="2796"/>
                  </a:lnTo>
                  <a:lnTo>
                    <a:pt x="960" y="2790"/>
                  </a:lnTo>
                  <a:lnTo>
                    <a:pt x="954" y="2790"/>
                  </a:lnTo>
                  <a:lnTo>
                    <a:pt x="950" y="2792"/>
                  </a:lnTo>
                  <a:lnTo>
                    <a:pt x="948" y="2794"/>
                  </a:lnTo>
                  <a:lnTo>
                    <a:pt x="944" y="2800"/>
                  </a:lnTo>
                  <a:lnTo>
                    <a:pt x="942" y="2800"/>
                  </a:lnTo>
                  <a:lnTo>
                    <a:pt x="938" y="2794"/>
                  </a:lnTo>
                  <a:lnTo>
                    <a:pt x="936" y="2794"/>
                  </a:lnTo>
                  <a:lnTo>
                    <a:pt x="934" y="2792"/>
                  </a:lnTo>
                  <a:lnTo>
                    <a:pt x="930" y="2796"/>
                  </a:lnTo>
                  <a:lnTo>
                    <a:pt x="926" y="2802"/>
                  </a:lnTo>
                  <a:lnTo>
                    <a:pt x="924" y="2814"/>
                  </a:lnTo>
                  <a:lnTo>
                    <a:pt x="926" y="2820"/>
                  </a:lnTo>
                  <a:lnTo>
                    <a:pt x="930" y="2822"/>
                  </a:lnTo>
                  <a:lnTo>
                    <a:pt x="944" y="2828"/>
                  </a:lnTo>
                  <a:lnTo>
                    <a:pt x="954" y="2832"/>
                  </a:lnTo>
                  <a:lnTo>
                    <a:pt x="966" y="2840"/>
                  </a:lnTo>
                  <a:lnTo>
                    <a:pt x="976" y="2848"/>
                  </a:lnTo>
                  <a:lnTo>
                    <a:pt x="982" y="2850"/>
                  </a:lnTo>
                  <a:lnTo>
                    <a:pt x="986" y="2850"/>
                  </a:lnTo>
                  <a:lnTo>
                    <a:pt x="994" y="2852"/>
                  </a:lnTo>
                  <a:lnTo>
                    <a:pt x="1000" y="2858"/>
                  </a:lnTo>
                  <a:lnTo>
                    <a:pt x="1008" y="2864"/>
                  </a:lnTo>
                  <a:lnTo>
                    <a:pt x="1016" y="2870"/>
                  </a:lnTo>
                  <a:lnTo>
                    <a:pt x="1030" y="2874"/>
                  </a:lnTo>
                  <a:lnTo>
                    <a:pt x="1032" y="2874"/>
                  </a:lnTo>
                  <a:lnTo>
                    <a:pt x="1032" y="2870"/>
                  </a:lnTo>
                  <a:lnTo>
                    <a:pt x="1034" y="2862"/>
                  </a:lnTo>
                  <a:lnTo>
                    <a:pt x="1036" y="2852"/>
                  </a:lnTo>
                  <a:lnTo>
                    <a:pt x="1036" y="2844"/>
                  </a:lnTo>
                  <a:lnTo>
                    <a:pt x="1034" y="2840"/>
                  </a:lnTo>
                  <a:lnTo>
                    <a:pt x="1032" y="2838"/>
                  </a:lnTo>
                  <a:lnTo>
                    <a:pt x="1030" y="2834"/>
                  </a:lnTo>
                  <a:lnTo>
                    <a:pt x="1030" y="2828"/>
                  </a:lnTo>
                  <a:lnTo>
                    <a:pt x="1036" y="2814"/>
                  </a:lnTo>
                  <a:lnTo>
                    <a:pt x="1050" y="2788"/>
                  </a:lnTo>
                  <a:lnTo>
                    <a:pt x="1052" y="2786"/>
                  </a:lnTo>
                  <a:lnTo>
                    <a:pt x="1050" y="2784"/>
                  </a:lnTo>
                  <a:lnTo>
                    <a:pt x="1042" y="2788"/>
                  </a:lnTo>
                  <a:lnTo>
                    <a:pt x="1032" y="2792"/>
                  </a:lnTo>
                  <a:lnTo>
                    <a:pt x="1026" y="2792"/>
                  </a:lnTo>
                  <a:lnTo>
                    <a:pt x="1022" y="2792"/>
                  </a:lnTo>
                  <a:close/>
                  <a:moveTo>
                    <a:pt x="802" y="2526"/>
                  </a:moveTo>
                  <a:lnTo>
                    <a:pt x="802" y="2526"/>
                  </a:lnTo>
                  <a:lnTo>
                    <a:pt x="800" y="2524"/>
                  </a:lnTo>
                  <a:lnTo>
                    <a:pt x="800" y="2526"/>
                  </a:lnTo>
                  <a:lnTo>
                    <a:pt x="798" y="2534"/>
                  </a:lnTo>
                  <a:lnTo>
                    <a:pt x="798" y="2540"/>
                  </a:lnTo>
                  <a:lnTo>
                    <a:pt x="798" y="2542"/>
                  </a:lnTo>
                  <a:lnTo>
                    <a:pt x="794" y="2542"/>
                  </a:lnTo>
                  <a:lnTo>
                    <a:pt x="790" y="2542"/>
                  </a:lnTo>
                  <a:lnTo>
                    <a:pt x="788" y="2542"/>
                  </a:lnTo>
                  <a:lnTo>
                    <a:pt x="782" y="2546"/>
                  </a:lnTo>
                  <a:lnTo>
                    <a:pt x="778" y="2548"/>
                  </a:lnTo>
                  <a:lnTo>
                    <a:pt x="774" y="2550"/>
                  </a:lnTo>
                  <a:lnTo>
                    <a:pt x="772" y="2550"/>
                  </a:lnTo>
                  <a:lnTo>
                    <a:pt x="772" y="2554"/>
                  </a:lnTo>
                  <a:lnTo>
                    <a:pt x="770" y="2568"/>
                  </a:lnTo>
                  <a:lnTo>
                    <a:pt x="770" y="2580"/>
                  </a:lnTo>
                  <a:lnTo>
                    <a:pt x="770" y="2584"/>
                  </a:lnTo>
                  <a:lnTo>
                    <a:pt x="772" y="2586"/>
                  </a:lnTo>
                  <a:lnTo>
                    <a:pt x="776" y="2586"/>
                  </a:lnTo>
                  <a:lnTo>
                    <a:pt x="776" y="2588"/>
                  </a:lnTo>
                  <a:lnTo>
                    <a:pt x="774" y="2592"/>
                  </a:lnTo>
                  <a:lnTo>
                    <a:pt x="772" y="2594"/>
                  </a:lnTo>
                  <a:lnTo>
                    <a:pt x="772" y="2596"/>
                  </a:lnTo>
                  <a:lnTo>
                    <a:pt x="778" y="2596"/>
                  </a:lnTo>
                  <a:lnTo>
                    <a:pt x="780" y="2598"/>
                  </a:lnTo>
                  <a:lnTo>
                    <a:pt x="778" y="2602"/>
                  </a:lnTo>
                  <a:lnTo>
                    <a:pt x="776" y="2604"/>
                  </a:lnTo>
                  <a:lnTo>
                    <a:pt x="776" y="2606"/>
                  </a:lnTo>
                  <a:lnTo>
                    <a:pt x="778" y="2608"/>
                  </a:lnTo>
                  <a:lnTo>
                    <a:pt x="786" y="2612"/>
                  </a:lnTo>
                  <a:lnTo>
                    <a:pt x="788" y="2614"/>
                  </a:lnTo>
                  <a:lnTo>
                    <a:pt x="790" y="2616"/>
                  </a:lnTo>
                  <a:lnTo>
                    <a:pt x="792" y="2616"/>
                  </a:lnTo>
                  <a:lnTo>
                    <a:pt x="794" y="2616"/>
                  </a:lnTo>
                  <a:lnTo>
                    <a:pt x="794" y="2612"/>
                  </a:lnTo>
                  <a:lnTo>
                    <a:pt x="794" y="2610"/>
                  </a:lnTo>
                  <a:lnTo>
                    <a:pt x="796" y="2606"/>
                  </a:lnTo>
                  <a:lnTo>
                    <a:pt x="800" y="2604"/>
                  </a:lnTo>
                  <a:lnTo>
                    <a:pt x="800" y="2600"/>
                  </a:lnTo>
                  <a:lnTo>
                    <a:pt x="802" y="2588"/>
                  </a:lnTo>
                  <a:lnTo>
                    <a:pt x="802" y="2582"/>
                  </a:lnTo>
                  <a:lnTo>
                    <a:pt x="804" y="2578"/>
                  </a:lnTo>
                  <a:lnTo>
                    <a:pt x="808" y="2574"/>
                  </a:lnTo>
                  <a:lnTo>
                    <a:pt x="808" y="2562"/>
                  </a:lnTo>
                  <a:lnTo>
                    <a:pt x="806" y="2552"/>
                  </a:lnTo>
                  <a:lnTo>
                    <a:pt x="804" y="2546"/>
                  </a:lnTo>
                  <a:lnTo>
                    <a:pt x="804" y="2544"/>
                  </a:lnTo>
                  <a:lnTo>
                    <a:pt x="804" y="2540"/>
                  </a:lnTo>
                  <a:lnTo>
                    <a:pt x="804" y="2530"/>
                  </a:lnTo>
                  <a:lnTo>
                    <a:pt x="804" y="2528"/>
                  </a:lnTo>
                  <a:lnTo>
                    <a:pt x="802" y="2526"/>
                  </a:lnTo>
                  <a:close/>
                  <a:moveTo>
                    <a:pt x="550" y="2700"/>
                  </a:moveTo>
                  <a:lnTo>
                    <a:pt x="550" y="2700"/>
                  </a:lnTo>
                  <a:lnTo>
                    <a:pt x="548" y="2696"/>
                  </a:lnTo>
                  <a:lnTo>
                    <a:pt x="544" y="2696"/>
                  </a:lnTo>
                  <a:lnTo>
                    <a:pt x="538" y="2698"/>
                  </a:lnTo>
                  <a:lnTo>
                    <a:pt x="532" y="2702"/>
                  </a:lnTo>
                  <a:lnTo>
                    <a:pt x="520" y="2712"/>
                  </a:lnTo>
                  <a:lnTo>
                    <a:pt x="518" y="2716"/>
                  </a:lnTo>
                  <a:lnTo>
                    <a:pt x="520" y="2718"/>
                  </a:lnTo>
                  <a:lnTo>
                    <a:pt x="520" y="2720"/>
                  </a:lnTo>
                  <a:lnTo>
                    <a:pt x="526" y="2718"/>
                  </a:lnTo>
                  <a:lnTo>
                    <a:pt x="530" y="2718"/>
                  </a:lnTo>
                  <a:lnTo>
                    <a:pt x="532" y="2720"/>
                  </a:lnTo>
                  <a:lnTo>
                    <a:pt x="536" y="2726"/>
                  </a:lnTo>
                  <a:lnTo>
                    <a:pt x="542" y="2730"/>
                  </a:lnTo>
                  <a:lnTo>
                    <a:pt x="546" y="2732"/>
                  </a:lnTo>
                  <a:lnTo>
                    <a:pt x="548" y="2732"/>
                  </a:lnTo>
                  <a:lnTo>
                    <a:pt x="554" y="2726"/>
                  </a:lnTo>
                  <a:lnTo>
                    <a:pt x="562" y="2708"/>
                  </a:lnTo>
                  <a:lnTo>
                    <a:pt x="564" y="2706"/>
                  </a:lnTo>
                  <a:lnTo>
                    <a:pt x="564" y="2704"/>
                  </a:lnTo>
                  <a:lnTo>
                    <a:pt x="558" y="2704"/>
                  </a:lnTo>
                  <a:lnTo>
                    <a:pt x="552" y="2706"/>
                  </a:lnTo>
                  <a:lnTo>
                    <a:pt x="550" y="2704"/>
                  </a:lnTo>
                  <a:lnTo>
                    <a:pt x="550" y="2700"/>
                  </a:lnTo>
                  <a:close/>
                  <a:moveTo>
                    <a:pt x="1254" y="2806"/>
                  </a:moveTo>
                  <a:lnTo>
                    <a:pt x="1254" y="2806"/>
                  </a:lnTo>
                  <a:lnTo>
                    <a:pt x="1252" y="2810"/>
                  </a:lnTo>
                  <a:lnTo>
                    <a:pt x="1254" y="2814"/>
                  </a:lnTo>
                  <a:lnTo>
                    <a:pt x="1260" y="2818"/>
                  </a:lnTo>
                  <a:lnTo>
                    <a:pt x="1264" y="2820"/>
                  </a:lnTo>
                  <a:lnTo>
                    <a:pt x="1266" y="2818"/>
                  </a:lnTo>
                  <a:lnTo>
                    <a:pt x="1266" y="2816"/>
                  </a:lnTo>
                  <a:lnTo>
                    <a:pt x="1264" y="2812"/>
                  </a:lnTo>
                  <a:lnTo>
                    <a:pt x="1258" y="2808"/>
                  </a:lnTo>
                  <a:lnTo>
                    <a:pt x="1254" y="2806"/>
                  </a:lnTo>
                  <a:close/>
                  <a:moveTo>
                    <a:pt x="1410" y="2874"/>
                  </a:moveTo>
                  <a:lnTo>
                    <a:pt x="1410" y="2874"/>
                  </a:lnTo>
                  <a:lnTo>
                    <a:pt x="1412" y="2870"/>
                  </a:lnTo>
                  <a:lnTo>
                    <a:pt x="1410" y="2868"/>
                  </a:lnTo>
                  <a:lnTo>
                    <a:pt x="1408" y="2868"/>
                  </a:lnTo>
                  <a:lnTo>
                    <a:pt x="1402" y="2870"/>
                  </a:lnTo>
                  <a:lnTo>
                    <a:pt x="1402" y="2872"/>
                  </a:lnTo>
                  <a:lnTo>
                    <a:pt x="1400" y="2874"/>
                  </a:lnTo>
                  <a:lnTo>
                    <a:pt x="1402" y="2876"/>
                  </a:lnTo>
                  <a:lnTo>
                    <a:pt x="1406" y="2876"/>
                  </a:lnTo>
                  <a:lnTo>
                    <a:pt x="1410" y="2874"/>
                  </a:lnTo>
                  <a:close/>
                  <a:moveTo>
                    <a:pt x="1214" y="2706"/>
                  </a:moveTo>
                  <a:lnTo>
                    <a:pt x="1214" y="2706"/>
                  </a:lnTo>
                  <a:lnTo>
                    <a:pt x="1214" y="2712"/>
                  </a:lnTo>
                  <a:lnTo>
                    <a:pt x="1218" y="2718"/>
                  </a:lnTo>
                  <a:lnTo>
                    <a:pt x="1224" y="2722"/>
                  </a:lnTo>
                  <a:lnTo>
                    <a:pt x="1230" y="2726"/>
                  </a:lnTo>
                  <a:lnTo>
                    <a:pt x="1232" y="2726"/>
                  </a:lnTo>
                  <a:lnTo>
                    <a:pt x="1230" y="2724"/>
                  </a:lnTo>
                  <a:lnTo>
                    <a:pt x="1228" y="2720"/>
                  </a:lnTo>
                  <a:lnTo>
                    <a:pt x="1224" y="2714"/>
                  </a:lnTo>
                  <a:lnTo>
                    <a:pt x="1222" y="2708"/>
                  </a:lnTo>
                  <a:lnTo>
                    <a:pt x="1222" y="2704"/>
                  </a:lnTo>
                  <a:lnTo>
                    <a:pt x="1218" y="2702"/>
                  </a:lnTo>
                  <a:lnTo>
                    <a:pt x="1216" y="2702"/>
                  </a:lnTo>
                  <a:lnTo>
                    <a:pt x="1214" y="2706"/>
                  </a:lnTo>
                  <a:close/>
                  <a:moveTo>
                    <a:pt x="1468" y="2954"/>
                  </a:moveTo>
                  <a:lnTo>
                    <a:pt x="1468" y="2954"/>
                  </a:lnTo>
                  <a:lnTo>
                    <a:pt x="1464" y="2956"/>
                  </a:lnTo>
                  <a:lnTo>
                    <a:pt x="1462" y="2956"/>
                  </a:lnTo>
                  <a:lnTo>
                    <a:pt x="1460" y="2952"/>
                  </a:lnTo>
                  <a:lnTo>
                    <a:pt x="1460" y="2948"/>
                  </a:lnTo>
                  <a:lnTo>
                    <a:pt x="1456" y="2946"/>
                  </a:lnTo>
                  <a:lnTo>
                    <a:pt x="1452" y="2946"/>
                  </a:lnTo>
                  <a:lnTo>
                    <a:pt x="1446" y="2948"/>
                  </a:lnTo>
                  <a:lnTo>
                    <a:pt x="1442" y="2946"/>
                  </a:lnTo>
                  <a:lnTo>
                    <a:pt x="1434" y="2944"/>
                  </a:lnTo>
                  <a:lnTo>
                    <a:pt x="1424" y="2942"/>
                  </a:lnTo>
                  <a:lnTo>
                    <a:pt x="1418" y="2942"/>
                  </a:lnTo>
                  <a:lnTo>
                    <a:pt x="1410" y="2944"/>
                  </a:lnTo>
                  <a:lnTo>
                    <a:pt x="1406" y="2944"/>
                  </a:lnTo>
                  <a:lnTo>
                    <a:pt x="1402" y="2942"/>
                  </a:lnTo>
                  <a:lnTo>
                    <a:pt x="1398" y="2938"/>
                  </a:lnTo>
                  <a:lnTo>
                    <a:pt x="1396" y="2934"/>
                  </a:lnTo>
                  <a:lnTo>
                    <a:pt x="1394" y="2932"/>
                  </a:lnTo>
                  <a:lnTo>
                    <a:pt x="1392" y="2934"/>
                  </a:lnTo>
                  <a:lnTo>
                    <a:pt x="1390" y="2934"/>
                  </a:lnTo>
                  <a:lnTo>
                    <a:pt x="1386" y="2934"/>
                  </a:lnTo>
                  <a:lnTo>
                    <a:pt x="1382" y="2932"/>
                  </a:lnTo>
                  <a:lnTo>
                    <a:pt x="1380" y="2928"/>
                  </a:lnTo>
                  <a:lnTo>
                    <a:pt x="1378" y="2928"/>
                  </a:lnTo>
                  <a:lnTo>
                    <a:pt x="1378" y="2930"/>
                  </a:lnTo>
                  <a:lnTo>
                    <a:pt x="1376" y="2934"/>
                  </a:lnTo>
                  <a:lnTo>
                    <a:pt x="1374" y="2936"/>
                  </a:lnTo>
                  <a:lnTo>
                    <a:pt x="1372" y="2938"/>
                  </a:lnTo>
                  <a:lnTo>
                    <a:pt x="1372" y="2946"/>
                  </a:lnTo>
                  <a:lnTo>
                    <a:pt x="1372" y="2950"/>
                  </a:lnTo>
                  <a:lnTo>
                    <a:pt x="1376" y="2952"/>
                  </a:lnTo>
                  <a:lnTo>
                    <a:pt x="1388" y="2952"/>
                  </a:lnTo>
                  <a:lnTo>
                    <a:pt x="1402" y="2954"/>
                  </a:lnTo>
                  <a:lnTo>
                    <a:pt x="1410" y="2958"/>
                  </a:lnTo>
                  <a:lnTo>
                    <a:pt x="1418" y="2962"/>
                  </a:lnTo>
                  <a:lnTo>
                    <a:pt x="1422" y="2964"/>
                  </a:lnTo>
                  <a:lnTo>
                    <a:pt x="1428" y="2966"/>
                  </a:lnTo>
                  <a:lnTo>
                    <a:pt x="1440" y="2966"/>
                  </a:lnTo>
                  <a:lnTo>
                    <a:pt x="1452" y="2964"/>
                  </a:lnTo>
                  <a:lnTo>
                    <a:pt x="1468" y="2964"/>
                  </a:lnTo>
                  <a:lnTo>
                    <a:pt x="1476" y="2962"/>
                  </a:lnTo>
                  <a:lnTo>
                    <a:pt x="1480" y="2960"/>
                  </a:lnTo>
                  <a:lnTo>
                    <a:pt x="1482" y="2958"/>
                  </a:lnTo>
                  <a:lnTo>
                    <a:pt x="1484" y="2954"/>
                  </a:lnTo>
                  <a:lnTo>
                    <a:pt x="1482" y="2952"/>
                  </a:lnTo>
                  <a:lnTo>
                    <a:pt x="1478" y="2950"/>
                  </a:lnTo>
                  <a:lnTo>
                    <a:pt x="1474" y="2950"/>
                  </a:lnTo>
                  <a:lnTo>
                    <a:pt x="1468" y="2954"/>
                  </a:lnTo>
                  <a:close/>
                  <a:moveTo>
                    <a:pt x="1518" y="2942"/>
                  </a:moveTo>
                  <a:lnTo>
                    <a:pt x="1518" y="2942"/>
                  </a:lnTo>
                  <a:lnTo>
                    <a:pt x="1520" y="2940"/>
                  </a:lnTo>
                  <a:lnTo>
                    <a:pt x="1520" y="2938"/>
                  </a:lnTo>
                  <a:lnTo>
                    <a:pt x="1518" y="2926"/>
                  </a:lnTo>
                  <a:lnTo>
                    <a:pt x="1516" y="2924"/>
                  </a:lnTo>
                  <a:lnTo>
                    <a:pt x="1516" y="2926"/>
                  </a:lnTo>
                  <a:lnTo>
                    <a:pt x="1514" y="2932"/>
                  </a:lnTo>
                  <a:lnTo>
                    <a:pt x="1514" y="2938"/>
                  </a:lnTo>
                  <a:lnTo>
                    <a:pt x="1516" y="2940"/>
                  </a:lnTo>
                  <a:lnTo>
                    <a:pt x="1518" y="2942"/>
                  </a:lnTo>
                  <a:close/>
                  <a:moveTo>
                    <a:pt x="1252" y="2768"/>
                  </a:moveTo>
                  <a:lnTo>
                    <a:pt x="1252" y="2768"/>
                  </a:lnTo>
                  <a:lnTo>
                    <a:pt x="1254" y="2768"/>
                  </a:lnTo>
                  <a:lnTo>
                    <a:pt x="1256" y="2766"/>
                  </a:lnTo>
                  <a:lnTo>
                    <a:pt x="1256" y="2764"/>
                  </a:lnTo>
                  <a:lnTo>
                    <a:pt x="1254" y="2760"/>
                  </a:lnTo>
                  <a:lnTo>
                    <a:pt x="1254" y="2758"/>
                  </a:lnTo>
                  <a:lnTo>
                    <a:pt x="1252" y="2758"/>
                  </a:lnTo>
                  <a:lnTo>
                    <a:pt x="1250" y="2762"/>
                  </a:lnTo>
                  <a:lnTo>
                    <a:pt x="1248" y="2766"/>
                  </a:lnTo>
                  <a:lnTo>
                    <a:pt x="1250" y="2768"/>
                  </a:lnTo>
                  <a:lnTo>
                    <a:pt x="1252" y="2768"/>
                  </a:lnTo>
                  <a:close/>
                  <a:moveTo>
                    <a:pt x="1256" y="2790"/>
                  </a:moveTo>
                  <a:lnTo>
                    <a:pt x="1256" y="2790"/>
                  </a:lnTo>
                  <a:lnTo>
                    <a:pt x="1254" y="2786"/>
                  </a:lnTo>
                  <a:lnTo>
                    <a:pt x="1252" y="2782"/>
                  </a:lnTo>
                  <a:lnTo>
                    <a:pt x="1252" y="2780"/>
                  </a:lnTo>
                  <a:lnTo>
                    <a:pt x="1250" y="2780"/>
                  </a:lnTo>
                  <a:lnTo>
                    <a:pt x="1248" y="2782"/>
                  </a:lnTo>
                  <a:lnTo>
                    <a:pt x="1244" y="2782"/>
                  </a:lnTo>
                  <a:lnTo>
                    <a:pt x="1242" y="2784"/>
                  </a:lnTo>
                  <a:lnTo>
                    <a:pt x="1242" y="2790"/>
                  </a:lnTo>
                  <a:lnTo>
                    <a:pt x="1244" y="2794"/>
                  </a:lnTo>
                  <a:lnTo>
                    <a:pt x="1246" y="2794"/>
                  </a:lnTo>
                  <a:lnTo>
                    <a:pt x="1250" y="2794"/>
                  </a:lnTo>
                  <a:lnTo>
                    <a:pt x="1256" y="2796"/>
                  </a:lnTo>
                  <a:lnTo>
                    <a:pt x="1260" y="2798"/>
                  </a:lnTo>
                  <a:lnTo>
                    <a:pt x="1260" y="2794"/>
                  </a:lnTo>
                  <a:lnTo>
                    <a:pt x="1256" y="2790"/>
                  </a:lnTo>
                  <a:close/>
                  <a:moveTo>
                    <a:pt x="1348" y="2902"/>
                  </a:moveTo>
                  <a:lnTo>
                    <a:pt x="1348" y="2902"/>
                  </a:lnTo>
                  <a:lnTo>
                    <a:pt x="1352" y="2904"/>
                  </a:lnTo>
                  <a:lnTo>
                    <a:pt x="1352" y="2902"/>
                  </a:lnTo>
                  <a:lnTo>
                    <a:pt x="1352" y="2898"/>
                  </a:lnTo>
                  <a:lnTo>
                    <a:pt x="1350" y="2892"/>
                  </a:lnTo>
                  <a:lnTo>
                    <a:pt x="1346" y="2890"/>
                  </a:lnTo>
                  <a:lnTo>
                    <a:pt x="1344" y="2892"/>
                  </a:lnTo>
                  <a:lnTo>
                    <a:pt x="1346" y="2896"/>
                  </a:lnTo>
                  <a:lnTo>
                    <a:pt x="1348" y="2902"/>
                  </a:lnTo>
                  <a:close/>
                  <a:moveTo>
                    <a:pt x="1448" y="2860"/>
                  </a:moveTo>
                  <a:lnTo>
                    <a:pt x="1448" y="2860"/>
                  </a:lnTo>
                  <a:lnTo>
                    <a:pt x="1450" y="2860"/>
                  </a:lnTo>
                  <a:lnTo>
                    <a:pt x="1452" y="2860"/>
                  </a:lnTo>
                  <a:lnTo>
                    <a:pt x="1454" y="2854"/>
                  </a:lnTo>
                  <a:lnTo>
                    <a:pt x="1452" y="2848"/>
                  </a:lnTo>
                  <a:lnTo>
                    <a:pt x="1452" y="2846"/>
                  </a:lnTo>
                  <a:lnTo>
                    <a:pt x="1448" y="2846"/>
                  </a:lnTo>
                  <a:lnTo>
                    <a:pt x="1446" y="2850"/>
                  </a:lnTo>
                  <a:lnTo>
                    <a:pt x="1444" y="2852"/>
                  </a:lnTo>
                  <a:lnTo>
                    <a:pt x="1446" y="2856"/>
                  </a:lnTo>
                  <a:lnTo>
                    <a:pt x="1448" y="2860"/>
                  </a:lnTo>
                  <a:close/>
                  <a:moveTo>
                    <a:pt x="1440" y="2848"/>
                  </a:moveTo>
                  <a:lnTo>
                    <a:pt x="1440" y="2848"/>
                  </a:lnTo>
                  <a:lnTo>
                    <a:pt x="1438" y="2848"/>
                  </a:lnTo>
                  <a:lnTo>
                    <a:pt x="1434" y="2850"/>
                  </a:lnTo>
                  <a:lnTo>
                    <a:pt x="1434" y="2854"/>
                  </a:lnTo>
                  <a:lnTo>
                    <a:pt x="1436" y="2856"/>
                  </a:lnTo>
                  <a:lnTo>
                    <a:pt x="1438" y="2856"/>
                  </a:lnTo>
                  <a:lnTo>
                    <a:pt x="1440" y="2854"/>
                  </a:lnTo>
                  <a:lnTo>
                    <a:pt x="1440" y="2850"/>
                  </a:lnTo>
                  <a:lnTo>
                    <a:pt x="1440" y="2848"/>
                  </a:lnTo>
                  <a:close/>
                  <a:moveTo>
                    <a:pt x="2822" y="3608"/>
                  </a:moveTo>
                  <a:lnTo>
                    <a:pt x="2822" y="3608"/>
                  </a:lnTo>
                  <a:lnTo>
                    <a:pt x="2818" y="3606"/>
                  </a:lnTo>
                  <a:lnTo>
                    <a:pt x="2814" y="3598"/>
                  </a:lnTo>
                  <a:lnTo>
                    <a:pt x="2802" y="3578"/>
                  </a:lnTo>
                  <a:lnTo>
                    <a:pt x="2798" y="3570"/>
                  </a:lnTo>
                  <a:lnTo>
                    <a:pt x="2792" y="3562"/>
                  </a:lnTo>
                  <a:lnTo>
                    <a:pt x="2786" y="3558"/>
                  </a:lnTo>
                  <a:lnTo>
                    <a:pt x="2782" y="3556"/>
                  </a:lnTo>
                  <a:lnTo>
                    <a:pt x="2780" y="3558"/>
                  </a:lnTo>
                  <a:lnTo>
                    <a:pt x="2776" y="3558"/>
                  </a:lnTo>
                  <a:lnTo>
                    <a:pt x="2774" y="3558"/>
                  </a:lnTo>
                  <a:lnTo>
                    <a:pt x="2768" y="3554"/>
                  </a:lnTo>
                  <a:lnTo>
                    <a:pt x="2762" y="3550"/>
                  </a:lnTo>
                  <a:lnTo>
                    <a:pt x="2756" y="3548"/>
                  </a:lnTo>
                  <a:lnTo>
                    <a:pt x="2746" y="3546"/>
                  </a:lnTo>
                  <a:lnTo>
                    <a:pt x="2738" y="3544"/>
                  </a:lnTo>
                  <a:lnTo>
                    <a:pt x="2728" y="3540"/>
                  </a:lnTo>
                  <a:lnTo>
                    <a:pt x="2720" y="3532"/>
                  </a:lnTo>
                  <a:lnTo>
                    <a:pt x="2712" y="3524"/>
                  </a:lnTo>
                  <a:lnTo>
                    <a:pt x="2706" y="3516"/>
                  </a:lnTo>
                  <a:lnTo>
                    <a:pt x="2700" y="3506"/>
                  </a:lnTo>
                  <a:lnTo>
                    <a:pt x="2696" y="3496"/>
                  </a:lnTo>
                  <a:lnTo>
                    <a:pt x="2694" y="3488"/>
                  </a:lnTo>
                  <a:lnTo>
                    <a:pt x="2694" y="3464"/>
                  </a:lnTo>
                  <a:lnTo>
                    <a:pt x="2694" y="3458"/>
                  </a:lnTo>
                  <a:lnTo>
                    <a:pt x="2692" y="3454"/>
                  </a:lnTo>
                  <a:lnTo>
                    <a:pt x="2692" y="3448"/>
                  </a:lnTo>
                  <a:lnTo>
                    <a:pt x="2694" y="3442"/>
                  </a:lnTo>
                  <a:lnTo>
                    <a:pt x="2696" y="3438"/>
                  </a:lnTo>
                  <a:lnTo>
                    <a:pt x="2696" y="3434"/>
                  </a:lnTo>
                  <a:lnTo>
                    <a:pt x="2696" y="3430"/>
                  </a:lnTo>
                  <a:lnTo>
                    <a:pt x="2698" y="3422"/>
                  </a:lnTo>
                  <a:lnTo>
                    <a:pt x="2700" y="3418"/>
                  </a:lnTo>
                  <a:lnTo>
                    <a:pt x="2698" y="3416"/>
                  </a:lnTo>
                  <a:lnTo>
                    <a:pt x="2696" y="3414"/>
                  </a:lnTo>
                  <a:lnTo>
                    <a:pt x="2694" y="3416"/>
                  </a:lnTo>
                  <a:lnTo>
                    <a:pt x="2692" y="3416"/>
                  </a:lnTo>
                  <a:lnTo>
                    <a:pt x="2692" y="3420"/>
                  </a:lnTo>
                  <a:lnTo>
                    <a:pt x="2694" y="3424"/>
                  </a:lnTo>
                  <a:lnTo>
                    <a:pt x="2692" y="3424"/>
                  </a:lnTo>
                  <a:lnTo>
                    <a:pt x="2688" y="3422"/>
                  </a:lnTo>
                  <a:lnTo>
                    <a:pt x="2686" y="3422"/>
                  </a:lnTo>
                  <a:lnTo>
                    <a:pt x="2684" y="3432"/>
                  </a:lnTo>
                  <a:lnTo>
                    <a:pt x="2680" y="3444"/>
                  </a:lnTo>
                  <a:lnTo>
                    <a:pt x="2678" y="3444"/>
                  </a:lnTo>
                  <a:lnTo>
                    <a:pt x="2676" y="3444"/>
                  </a:lnTo>
                  <a:lnTo>
                    <a:pt x="2674" y="3444"/>
                  </a:lnTo>
                  <a:lnTo>
                    <a:pt x="2670" y="3452"/>
                  </a:lnTo>
                  <a:lnTo>
                    <a:pt x="2666" y="3458"/>
                  </a:lnTo>
                  <a:lnTo>
                    <a:pt x="2660" y="3462"/>
                  </a:lnTo>
                  <a:lnTo>
                    <a:pt x="2654" y="3468"/>
                  </a:lnTo>
                  <a:lnTo>
                    <a:pt x="2646" y="3476"/>
                  </a:lnTo>
                  <a:lnTo>
                    <a:pt x="2638" y="3488"/>
                  </a:lnTo>
                  <a:lnTo>
                    <a:pt x="2628" y="3496"/>
                  </a:lnTo>
                  <a:lnTo>
                    <a:pt x="2614" y="3508"/>
                  </a:lnTo>
                  <a:lnTo>
                    <a:pt x="2616" y="3510"/>
                  </a:lnTo>
                  <a:lnTo>
                    <a:pt x="2618" y="3512"/>
                  </a:lnTo>
                  <a:lnTo>
                    <a:pt x="2618" y="3516"/>
                  </a:lnTo>
                  <a:lnTo>
                    <a:pt x="2614" y="3524"/>
                  </a:lnTo>
                  <a:lnTo>
                    <a:pt x="2606" y="3530"/>
                  </a:lnTo>
                  <a:lnTo>
                    <a:pt x="2598" y="3532"/>
                  </a:lnTo>
                  <a:lnTo>
                    <a:pt x="2588" y="3534"/>
                  </a:lnTo>
                  <a:lnTo>
                    <a:pt x="2578" y="3532"/>
                  </a:lnTo>
                  <a:lnTo>
                    <a:pt x="2558" y="3528"/>
                  </a:lnTo>
                  <a:lnTo>
                    <a:pt x="2546" y="3528"/>
                  </a:lnTo>
                  <a:lnTo>
                    <a:pt x="2538" y="3532"/>
                  </a:lnTo>
                  <a:lnTo>
                    <a:pt x="2522" y="3538"/>
                  </a:lnTo>
                  <a:lnTo>
                    <a:pt x="2514" y="3538"/>
                  </a:lnTo>
                  <a:lnTo>
                    <a:pt x="2512" y="3538"/>
                  </a:lnTo>
                  <a:lnTo>
                    <a:pt x="2510" y="3536"/>
                  </a:lnTo>
                  <a:lnTo>
                    <a:pt x="2510" y="3528"/>
                  </a:lnTo>
                  <a:lnTo>
                    <a:pt x="2510" y="3522"/>
                  </a:lnTo>
                  <a:lnTo>
                    <a:pt x="2506" y="3522"/>
                  </a:lnTo>
                  <a:lnTo>
                    <a:pt x="2502" y="3522"/>
                  </a:lnTo>
                  <a:lnTo>
                    <a:pt x="2496" y="3522"/>
                  </a:lnTo>
                  <a:lnTo>
                    <a:pt x="2492" y="3520"/>
                  </a:lnTo>
                  <a:lnTo>
                    <a:pt x="2490" y="3518"/>
                  </a:lnTo>
                  <a:lnTo>
                    <a:pt x="2492" y="3514"/>
                  </a:lnTo>
                  <a:lnTo>
                    <a:pt x="2496" y="3510"/>
                  </a:lnTo>
                  <a:lnTo>
                    <a:pt x="2496" y="3506"/>
                  </a:lnTo>
                  <a:lnTo>
                    <a:pt x="2492" y="3508"/>
                  </a:lnTo>
                  <a:lnTo>
                    <a:pt x="2490" y="3508"/>
                  </a:lnTo>
                  <a:lnTo>
                    <a:pt x="2488" y="3508"/>
                  </a:lnTo>
                  <a:lnTo>
                    <a:pt x="2486" y="3506"/>
                  </a:lnTo>
                  <a:lnTo>
                    <a:pt x="2488" y="3504"/>
                  </a:lnTo>
                  <a:lnTo>
                    <a:pt x="2490" y="3504"/>
                  </a:lnTo>
                  <a:lnTo>
                    <a:pt x="2494" y="3504"/>
                  </a:lnTo>
                  <a:lnTo>
                    <a:pt x="2496" y="3502"/>
                  </a:lnTo>
                  <a:lnTo>
                    <a:pt x="2498" y="3496"/>
                  </a:lnTo>
                  <a:lnTo>
                    <a:pt x="2502" y="3480"/>
                  </a:lnTo>
                  <a:lnTo>
                    <a:pt x="2502" y="3474"/>
                  </a:lnTo>
                  <a:lnTo>
                    <a:pt x="2500" y="3468"/>
                  </a:lnTo>
                  <a:lnTo>
                    <a:pt x="2496" y="3462"/>
                  </a:lnTo>
                  <a:lnTo>
                    <a:pt x="2496" y="3458"/>
                  </a:lnTo>
                  <a:lnTo>
                    <a:pt x="2498" y="3454"/>
                  </a:lnTo>
                  <a:lnTo>
                    <a:pt x="2500" y="3448"/>
                  </a:lnTo>
                  <a:lnTo>
                    <a:pt x="2498" y="3440"/>
                  </a:lnTo>
                  <a:lnTo>
                    <a:pt x="2494" y="3434"/>
                  </a:lnTo>
                  <a:lnTo>
                    <a:pt x="2490" y="3428"/>
                  </a:lnTo>
                  <a:lnTo>
                    <a:pt x="2486" y="3426"/>
                  </a:lnTo>
                  <a:lnTo>
                    <a:pt x="2484" y="3426"/>
                  </a:lnTo>
                  <a:lnTo>
                    <a:pt x="2480" y="3430"/>
                  </a:lnTo>
                  <a:lnTo>
                    <a:pt x="2476" y="3444"/>
                  </a:lnTo>
                  <a:lnTo>
                    <a:pt x="2470" y="3456"/>
                  </a:lnTo>
                  <a:lnTo>
                    <a:pt x="2470" y="3466"/>
                  </a:lnTo>
                  <a:lnTo>
                    <a:pt x="2468" y="3498"/>
                  </a:lnTo>
                  <a:lnTo>
                    <a:pt x="2464" y="3486"/>
                  </a:lnTo>
                  <a:lnTo>
                    <a:pt x="2460" y="3478"/>
                  </a:lnTo>
                  <a:lnTo>
                    <a:pt x="2458" y="3468"/>
                  </a:lnTo>
                  <a:lnTo>
                    <a:pt x="2452" y="3462"/>
                  </a:lnTo>
                  <a:lnTo>
                    <a:pt x="2448" y="3456"/>
                  </a:lnTo>
                  <a:lnTo>
                    <a:pt x="2448" y="3454"/>
                  </a:lnTo>
                  <a:lnTo>
                    <a:pt x="2448" y="3450"/>
                  </a:lnTo>
                  <a:lnTo>
                    <a:pt x="2444" y="3444"/>
                  </a:lnTo>
                  <a:lnTo>
                    <a:pt x="2442" y="3438"/>
                  </a:lnTo>
                  <a:lnTo>
                    <a:pt x="2442" y="3434"/>
                  </a:lnTo>
                  <a:lnTo>
                    <a:pt x="2442" y="3428"/>
                  </a:lnTo>
                  <a:lnTo>
                    <a:pt x="2444" y="3420"/>
                  </a:lnTo>
                  <a:lnTo>
                    <a:pt x="2442" y="3414"/>
                  </a:lnTo>
                  <a:lnTo>
                    <a:pt x="2440" y="3408"/>
                  </a:lnTo>
                  <a:lnTo>
                    <a:pt x="2438" y="3402"/>
                  </a:lnTo>
                  <a:lnTo>
                    <a:pt x="2438" y="3400"/>
                  </a:lnTo>
                  <a:lnTo>
                    <a:pt x="2442" y="3400"/>
                  </a:lnTo>
                  <a:lnTo>
                    <a:pt x="2444" y="3404"/>
                  </a:lnTo>
                  <a:lnTo>
                    <a:pt x="2448" y="3404"/>
                  </a:lnTo>
                  <a:lnTo>
                    <a:pt x="2448" y="3406"/>
                  </a:lnTo>
                  <a:lnTo>
                    <a:pt x="2446" y="3408"/>
                  </a:lnTo>
                  <a:lnTo>
                    <a:pt x="2444" y="3410"/>
                  </a:lnTo>
                  <a:lnTo>
                    <a:pt x="2448" y="3410"/>
                  </a:lnTo>
                  <a:lnTo>
                    <a:pt x="2450" y="3412"/>
                  </a:lnTo>
                  <a:lnTo>
                    <a:pt x="2448" y="3414"/>
                  </a:lnTo>
                  <a:lnTo>
                    <a:pt x="2450" y="3416"/>
                  </a:lnTo>
                  <a:lnTo>
                    <a:pt x="2454" y="3420"/>
                  </a:lnTo>
                  <a:lnTo>
                    <a:pt x="2456" y="3422"/>
                  </a:lnTo>
                  <a:lnTo>
                    <a:pt x="2458" y="3422"/>
                  </a:lnTo>
                  <a:lnTo>
                    <a:pt x="2460" y="3422"/>
                  </a:lnTo>
                  <a:lnTo>
                    <a:pt x="2460" y="3420"/>
                  </a:lnTo>
                  <a:lnTo>
                    <a:pt x="2460" y="3418"/>
                  </a:lnTo>
                  <a:lnTo>
                    <a:pt x="2462" y="3416"/>
                  </a:lnTo>
                  <a:lnTo>
                    <a:pt x="2464" y="3412"/>
                  </a:lnTo>
                  <a:lnTo>
                    <a:pt x="2466" y="3406"/>
                  </a:lnTo>
                  <a:lnTo>
                    <a:pt x="2466" y="3402"/>
                  </a:lnTo>
                  <a:lnTo>
                    <a:pt x="2468" y="3400"/>
                  </a:lnTo>
                  <a:lnTo>
                    <a:pt x="2468" y="3402"/>
                  </a:lnTo>
                  <a:lnTo>
                    <a:pt x="2474" y="3404"/>
                  </a:lnTo>
                  <a:lnTo>
                    <a:pt x="2476" y="3404"/>
                  </a:lnTo>
                  <a:lnTo>
                    <a:pt x="2476" y="3402"/>
                  </a:lnTo>
                  <a:lnTo>
                    <a:pt x="2478" y="3402"/>
                  </a:lnTo>
                  <a:lnTo>
                    <a:pt x="2480" y="3400"/>
                  </a:lnTo>
                  <a:lnTo>
                    <a:pt x="2480" y="3398"/>
                  </a:lnTo>
                  <a:lnTo>
                    <a:pt x="2482" y="3396"/>
                  </a:lnTo>
                  <a:lnTo>
                    <a:pt x="2482" y="3394"/>
                  </a:lnTo>
                  <a:lnTo>
                    <a:pt x="2482" y="3392"/>
                  </a:lnTo>
                  <a:lnTo>
                    <a:pt x="2482" y="3388"/>
                  </a:lnTo>
                  <a:lnTo>
                    <a:pt x="2480" y="3386"/>
                  </a:lnTo>
                  <a:lnTo>
                    <a:pt x="2482" y="3384"/>
                  </a:lnTo>
                  <a:lnTo>
                    <a:pt x="2480" y="3384"/>
                  </a:lnTo>
                  <a:lnTo>
                    <a:pt x="2478" y="3384"/>
                  </a:lnTo>
                  <a:lnTo>
                    <a:pt x="2478" y="3386"/>
                  </a:lnTo>
                  <a:lnTo>
                    <a:pt x="2476" y="3388"/>
                  </a:lnTo>
                  <a:lnTo>
                    <a:pt x="2472" y="3388"/>
                  </a:lnTo>
                  <a:lnTo>
                    <a:pt x="2470" y="3388"/>
                  </a:lnTo>
                  <a:lnTo>
                    <a:pt x="2468" y="3382"/>
                  </a:lnTo>
                  <a:lnTo>
                    <a:pt x="2466" y="3378"/>
                  </a:lnTo>
                  <a:lnTo>
                    <a:pt x="2468" y="3374"/>
                  </a:lnTo>
                  <a:lnTo>
                    <a:pt x="2468" y="3372"/>
                  </a:lnTo>
                  <a:lnTo>
                    <a:pt x="2466" y="3370"/>
                  </a:lnTo>
                  <a:lnTo>
                    <a:pt x="2464" y="3370"/>
                  </a:lnTo>
                  <a:lnTo>
                    <a:pt x="2464" y="3374"/>
                  </a:lnTo>
                  <a:lnTo>
                    <a:pt x="2462" y="3378"/>
                  </a:lnTo>
                  <a:lnTo>
                    <a:pt x="2462" y="3380"/>
                  </a:lnTo>
                  <a:lnTo>
                    <a:pt x="2460" y="3380"/>
                  </a:lnTo>
                  <a:lnTo>
                    <a:pt x="2456" y="3380"/>
                  </a:lnTo>
                  <a:lnTo>
                    <a:pt x="2452" y="3382"/>
                  </a:lnTo>
                  <a:lnTo>
                    <a:pt x="2450" y="3384"/>
                  </a:lnTo>
                  <a:lnTo>
                    <a:pt x="2446" y="3384"/>
                  </a:lnTo>
                  <a:lnTo>
                    <a:pt x="2444" y="3384"/>
                  </a:lnTo>
                  <a:lnTo>
                    <a:pt x="2444" y="3388"/>
                  </a:lnTo>
                  <a:lnTo>
                    <a:pt x="2442" y="3394"/>
                  </a:lnTo>
                  <a:lnTo>
                    <a:pt x="2434" y="3388"/>
                  </a:lnTo>
                  <a:lnTo>
                    <a:pt x="2422" y="3378"/>
                  </a:lnTo>
                  <a:lnTo>
                    <a:pt x="2414" y="3368"/>
                  </a:lnTo>
                  <a:lnTo>
                    <a:pt x="2410" y="3364"/>
                  </a:lnTo>
                  <a:lnTo>
                    <a:pt x="2410" y="3358"/>
                  </a:lnTo>
                  <a:lnTo>
                    <a:pt x="2410" y="3354"/>
                  </a:lnTo>
                  <a:lnTo>
                    <a:pt x="2408" y="3352"/>
                  </a:lnTo>
                  <a:lnTo>
                    <a:pt x="2402" y="3350"/>
                  </a:lnTo>
                  <a:lnTo>
                    <a:pt x="2394" y="3350"/>
                  </a:lnTo>
                  <a:lnTo>
                    <a:pt x="2392" y="3348"/>
                  </a:lnTo>
                  <a:lnTo>
                    <a:pt x="2392" y="3344"/>
                  </a:lnTo>
                  <a:lnTo>
                    <a:pt x="2390" y="3338"/>
                  </a:lnTo>
                  <a:lnTo>
                    <a:pt x="2386" y="3330"/>
                  </a:lnTo>
                  <a:lnTo>
                    <a:pt x="2382" y="3320"/>
                  </a:lnTo>
                  <a:lnTo>
                    <a:pt x="2376" y="3302"/>
                  </a:lnTo>
                  <a:lnTo>
                    <a:pt x="2370" y="3290"/>
                  </a:lnTo>
                  <a:lnTo>
                    <a:pt x="2366" y="3284"/>
                  </a:lnTo>
                  <a:lnTo>
                    <a:pt x="2364" y="3280"/>
                  </a:lnTo>
                  <a:lnTo>
                    <a:pt x="2362" y="3270"/>
                  </a:lnTo>
                  <a:lnTo>
                    <a:pt x="2360" y="3266"/>
                  </a:lnTo>
                  <a:lnTo>
                    <a:pt x="2358" y="3264"/>
                  </a:lnTo>
                  <a:lnTo>
                    <a:pt x="2352" y="3262"/>
                  </a:lnTo>
                  <a:lnTo>
                    <a:pt x="2346" y="3260"/>
                  </a:lnTo>
                  <a:lnTo>
                    <a:pt x="2346" y="3258"/>
                  </a:lnTo>
                  <a:lnTo>
                    <a:pt x="2346" y="3254"/>
                  </a:lnTo>
                  <a:lnTo>
                    <a:pt x="2350" y="3250"/>
                  </a:lnTo>
                  <a:lnTo>
                    <a:pt x="2354" y="3248"/>
                  </a:lnTo>
                  <a:lnTo>
                    <a:pt x="2360" y="3250"/>
                  </a:lnTo>
                  <a:lnTo>
                    <a:pt x="2362" y="3248"/>
                  </a:lnTo>
                  <a:lnTo>
                    <a:pt x="2362" y="3246"/>
                  </a:lnTo>
                  <a:lnTo>
                    <a:pt x="2354" y="3228"/>
                  </a:lnTo>
                  <a:lnTo>
                    <a:pt x="2354" y="3224"/>
                  </a:lnTo>
                  <a:lnTo>
                    <a:pt x="2356" y="3224"/>
                  </a:lnTo>
                  <a:lnTo>
                    <a:pt x="2364" y="3226"/>
                  </a:lnTo>
                  <a:lnTo>
                    <a:pt x="2372" y="3230"/>
                  </a:lnTo>
                  <a:lnTo>
                    <a:pt x="2376" y="3232"/>
                  </a:lnTo>
                  <a:lnTo>
                    <a:pt x="2378" y="3230"/>
                  </a:lnTo>
                  <a:lnTo>
                    <a:pt x="2384" y="3226"/>
                  </a:lnTo>
                  <a:lnTo>
                    <a:pt x="2390" y="3226"/>
                  </a:lnTo>
                  <a:lnTo>
                    <a:pt x="2392" y="3224"/>
                  </a:lnTo>
                  <a:lnTo>
                    <a:pt x="2394" y="3216"/>
                  </a:lnTo>
                  <a:lnTo>
                    <a:pt x="2396" y="3212"/>
                  </a:lnTo>
                  <a:lnTo>
                    <a:pt x="2398" y="3212"/>
                  </a:lnTo>
                  <a:lnTo>
                    <a:pt x="2406" y="3218"/>
                  </a:lnTo>
                  <a:lnTo>
                    <a:pt x="2412" y="3222"/>
                  </a:lnTo>
                  <a:lnTo>
                    <a:pt x="2416" y="3224"/>
                  </a:lnTo>
                  <a:lnTo>
                    <a:pt x="2424" y="3224"/>
                  </a:lnTo>
                  <a:lnTo>
                    <a:pt x="2430" y="3222"/>
                  </a:lnTo>
                  <a:lnTo>
                    <a:pt x="2436" y="3218"/>
                  </a:lnTo>
                  <a:lnTo>
                    <a:pt x="2438" y="3218"/>
                  </a:lnTo>
                  <a:lnTo>
                    <a:pt x="2440" y="3220"/>
                  </a:lnTo>
                  <a:lnTo>
                    <a:pt x="2442" y="3222"/>
                  </a:lnTo>
                  <a:lnTo>
                    <a:pt x="2444" y="3232"/>
                  </a:lnTo>
                  <a:lnTo>
                    <a:pt x="2448" y="3238"/>
                  </a:lnTo>
                  <a:lnTo>
                    <a:pt x="2452" y="3244"/>
                  </a:lnTo>
                  <a:lnTo>
                    <a:pt x="2452" y="3220"/>
                  </a:lnTo>
                  <a:lnTo>
                    <a:pt x="2414" y="3146"/>
                  </a:lnTo>
                  <a:lnTo>
                    <a:pt x="2378" y="3050"/>
                  </a:lnTo>
                  <a:lnTo>
                    <a:pt x="2372" y="3006"/>
                  </a:lnTo>
                  <a:lnTo>
                    <a:pt x="2378" y="2910"/>
                  </a:lnTo>
                  <a:lnTo>
                    <a:pt x="2378" y="2868"/>
                  </a:lnTo>
                  <a:lnTo>
                    <a:pt x="2392" y="2778"/>
                  </a:lnTo>
                  <a:lnTo>
                    <a:pt x="2386" y="2780"/>
                  </a:lnTo>
                  <a:lnTo>
                    <a:pt x="2382" y="2780"/>
                  </a:lnTo>
                  <a:lnTo>
                    <a:pt x="2380" y="2778"/>
                  </a:lnTo>
                  <a:lnTo>
                    <a:pt x="2380" y="2776"/>
                  </a:lnTo>
                  <a:lnTo>
                    <a:pt x="2378" y="2770"/>
                  </a:lnTo>
                  <a:lnTo>
                    <a:pt x="2376" y="2768"/>
                  </a:lnTo>
                  <a:lnTo>
                    <a:pt x="2374" y="2768"/>
                  </a:lnTo>
                  <a:lnTo>
                    <a:pt x="2376" y="2768"/>
                  </a:lnTo>
                  <a:lnTo>
                    <a:pt x="2378" y="2770"/>
                  </a:lnTo>
                  <a:lnTo>
                    <a:pt x="2380" y="2776"/>
                  </a:lnTo>
                  <a:lnTo>
                    <a:pt x="2380" y="2778"/>
                  </a:lnTo>
                  <a:lnTo>
                    <a:pt x="2382" y="2780"/>
                  </a:lnTo>
                  <a:lnTo>
                    <a:pt x="2386" y="2780"/>
                  </a:lnTo>
                  <a:lnTo>
                    <a:pt x="2392" y="2778"/>
                  </a:lnTo>
                  <a:lnTo>
                    <a:pt x="2390" y="2764"/>
                  </a:lnTo>
                  <a:lnTo>
                    <a:pt x="2394" y="2746"/>
                  </a:lnTo>
                  <a:lnTo>
                    <a:pt x="2390" y="2726"/>
                  </a:lnTo>
                  <a:lnTo>
                    <a:pt x="2386" y="2674"/>
                  </a:lnTo>
                  <a:lnTo>
                    <a:pt x="2384" y="2658"/>
                  </a:lnTo>
                  <a:lnTo>
                    <a:pt x="2386" y="2626"/>
                  </a:lnTo>
                  <a:lnTo>
                    <a:pt x="2360" y="2586"/>
                  </a:lnTo>
                  <a:lnTo>
                    <a:pt x="2336" y="2534"/>
                  </a:lnTo>
                  <a:lnTo>
                    <a:pt x="2284" y="2470"/>
                  </a:lnTo>
                  <a:lnTo>
                    <a:pt x="2274" y="2434"/>
                  </a:lnTo>
                  <a:lnTo>
                    <a:pt x="2302" y="2390"/>
                  </a:lnTo>
                  <a:lnTo>
                    <a:pt x="2334" y="2368"/>
                  </a:lnTo>
                  <a:lnTo>
                    <a:pt x="2352" y="2336"/>
                  </a:lnTo>
                  <a:lnTo>
                    <a:pt x="2346" y="2304"/>
                  </a:lnTo>
                  <a:lnTo>
                    <a:pt x="2318" y="2270"/>
                  </a:lnTo>
                  <a:lnTo>
                    <a:pt x="2280" y="2246"/>
                  </a:lnTo>
                  <a:lnTo>
                    <a:pt x="2264" y="2186"/>
                  </a:lnTo>
                  <a:lnTo>
                    <a:pt x="2274" y="2140"/>
                  </a:lnTo>
                  <a:lnTo>
                    <a:pt x="2288" y="2090"/>
                  </a:lnTo>
                  <a:lnTo>
                    <a:pt x="2290" y="2086"/>
                  </a:lnTo>
                  <a:lnTo>
                    <a:pt x="2296" y="2086"/>
                  </a:lnTo>
                  <a:lnTo>
                    <a:pt x="2308" y="2088"/>
                  </a:lnTo>
                  <a:lnTo>
                    <a:pt x="2328" y="2096"/>
                  </a:lnTo>
                  <a:lnTo>
                    <a:pt x="2370" y="2082"/>
                  </a:lnTo>
                  <a:lnTo>
                    <a:pt x="2376" y="2058"/>
                  </a:lnTo>
                  <a:lnTo>
                    <a:pt x="2440" y="2024"/>
                  </a:lnTo>
                  <a:lnTo>
                    <a:pt x="2384" y="1780"/>
                  </a:lnTo>
                  <a:lnTo>
                    <a:pt x="2264" y="1588"/>
                  </a:lnTo>
                  <a:lnTo>
                    <a:pt x="2204" y="1444"/>
                  </a:lnTo>
                  <a:lnTo>
                    <a:pt x="2204" y="1264"/>
                  </a:lnTo>
                  <a:lnTo>
                    <a:pt x="2212" y="1228"/>
                  </a:lnTo>
                  <a:lnTo>
                    <a:pt x="2224" y="1194"/>
                  </a:lnTo>
                  <a:lnTo>
                    <a:pt x="2232" y="1174"/>
                  </a:lnTo>
                  <a:lnTo>
                    <a:pt x="2240" y="1156"/>
                  </a:lnTo>
                  <a:lnTo>
                    <a:pt x="2248" y="1138"/>
                  </a:lnTo>
                  <a:lnTo>
                    <a:pt x="2258" y="1112"/>
                  </a:lnTo>
                  <a:lnTo>
                    <a:pt x="2282" y="1046"/>
                  </a:lnTo>
                  <a:lnTo>
                    <a:pt x="2276" y="1048"/>
                  </a:lnTo>
                  <a:lnTo>
                    <a:pt x="2274" y="1046"/>
                  </a:lnTo>
                  <a:lnTo>
                    <a:pt x="2270" y="1038"/>
                  </a:lnTo>
                  <a:lnTo>
                    <a:pt x="2266" y="1032"/>
                  </a:lnTo>
                  <a:lnTo>
                    <a:pt x="2262" y="1026"/>
                  </a:lnTo>
                  <a:lnTo>
                    <a:pt x="2256" y="1018"/>
                  </a:lnTo>
                  <a:lnTo>
                    <a:pt x="2246" y="1014"/>
                  </a:lnTo>
                  <a:lnTo>
                    <a:pt x="2236" y="1006"/>
                  </a:lnTo>
                  <a:lnTo>
                    <a:pt x="2234" y="1004"/>
                  </a:lnTo>
                  <a:lnTo>
                    <a:pt x="2232" y="1000"/>
                  </a:lnTo>
                  <a:lnTo>
                    <a:pt x="2234" y="998"/>
                  </a:lnTo>
                  <a:lnTo>
                    <a:pt x="2234" y="994"/>
                  </a:lnTo>
                  <a:lnTo>
                    <a:pt x="2242" y="988"/>
                  </a:lnTo>
                  <a:lnTo>
                    <a:pt x="2250" y="982"/>
                  </a:lnTo>
                  <a:lnTo>
                    <a:pt x="2262" y="978"/>
                  </a:lnTo>
                  <a:lnTo>
                    <a:pt x="2274" y="974"/>
                  </a:lnTo>
                  <a:lnTo>
                    <a:pt x="2286" y="974"/>
                  </a:lnTo>
                  <a:lnTo>
                    <a:pt x="2292" y="974"/>
                  </a:lnTo>
                  <a:lnTo>
                    <a:pt x="2296" y="972"/>
                  </a:lnTo>
                  <a:lnTo>
                    <a:pt x="2298" y="968"/>
                  </a:lnTo>
                  <a:lnTo>
                    <a:pt x="2300" y="966"/>
                  </a:lnTo>
                  <a:lnTo>
                    <a:pt x="2298" y="956"/>
                  </a:lnTo>
                  <a:lnTo>
                    <a:pt x="2294" y="946"/>
                  </a:lnTo>
                  <a:lnTo>
                    <a:pt x="2284" y="936"/>
                  </a:lnTo>
                  <a:lnTo>
                    <a:pt x="2272" y="928"/>
                  </a:lnTo>
                  <a:lnTo>
                    <a:pt x="2258" y="922"/>
                  </a:lnTo>
                  <a:lnTo>
                    <a:pt x="2250" y="922"/>
                  </a:lnTo>
                  <a:lnTo>
                    <a:pt x="2242" y="920"/>
                  </a:lnTo>
                  <a:lnTo>
                    <a:pt x="2224" y="920"/>
                  </a:lnTo>
                  <a:lnTo>
                    <a:pt x="2208" y="918"/>
                  </a:lnTo>
                  <a:lnTo>
                    <a:pt x="2182" y="912"/>
                  </a:lnTo>
                  <a:lnTo>
                    <a:pt x="2174" y="912"/>
                  </a:lnTo>
                  <a:lnTo>
                    <a:pt x="2172" y="912"/>
                  </a:lnTo>
                  <a:lnTo>
                    <a:pt x="2172" y="914"/>
                  </a:lnTo>
                  <a:lnTo>
                    <a:pt x="2174" y="918"/>
                  </a:lnTo>
                  <a:lnTo>
                    <a:pt x="2186" y="928"/>
                  </a:lnTo>
                  <a:lnTo>
                    <a:pt x="2192" y="934"/>
                  </a:lnTo>
                  <a:lnTo>
                    <a:pt x="2196" y="942"/>
                  </a:lnTo>
                  <a:lnTo>
                    <a:pt x="2198" y="948"/>
                  </a:lnTo>
                  <a:lnTo>
                    <a:pt x="2200" y="954"/>
                  </a:lnTo>
                  <a:lnTo>
                    <a:pt x="2196" y="966"/>
                  </a:lnTo>
                  <a:lnTo>
                    <a:pt x="2192" y="978"/>
                  </a:lnTo>
                  <a:lnTo>
                    <a:pt x="2188" y="990"/>
                  </a:lnTo>
                  <a:lnTo>
                    <a:pt x="2186" y="1000"/>
                  </a:lnTo>
                  <a:lnTo>
                    <a:pt x="2186" y="1006"/>
                  </a:lnTo>
                  <a:lnTo>
                    <a:pt x="2188" y="1012"/>
                  </a:lnTo>
                  <a:lnTo>
                    <a:pt x="2194" y="1016"/>
                  </a:lnTo>
                  <a:lnTo>
                    <a:pt x="2200" y="1022"/>
                  </a:lnTo>
                  <a:lnTo>
                    <a:pt x="2212" y="1032"/>
                  </a:lnTo>
                  <a:lnTo>
                    <a:pt x="2216" y="1036"/>
                  </a:lnTo>
                  <a:lnTo>
                    <a:pt x="2218" y="1040"/>
                  </a:lnTo>
                  <a:lnTo>
                    <a:pt x="2216" y="1046"/>
                  </a:lnTo>
                  <a:lnTo>
                    <a:pt x="2214" y="1054"/>
                  </a:lnTo>
                  <a:lnTo>
                    <a:pt x="2208" y="1062"/>
                  </a:lnTo>
                  <a:lnTo>
                    <a:pt x="2204" y="1072"/>
                  </a:lnTo>
                  <a:lnTo>
                    <a:pt x="2200" y="1084"/>
                  </a:lnTo>
                  <a:lnTo>
                    <a:pt x="2202" y="1098"/>
                  </a:lnTo>
                  <a:lnTo>
                    <a:pt x="2202" y="1106"/>
                  </a:lnTo>
                  <a:lnTo>
                    <a:pt x="2200" y="1104"/>
                  </a:lnTo>
                  <a:lnTo>
                    <a:pt x="2192" y="1096"/>
                  </a:lnTo>
                  <a:lnTo>
                    <a:pt x="2180" y="1084"/>
                  </a:lnTo>
                  <a:lnTo>
                    <a:pt x="2166" y="1072"/>
                  </a:lnTo>
                  <a:lnTo>
                    <a:pt x="2156" y="1068"/>
                  </a:lnTo>
                  <a:lnTo>
                    <a:pt x="2148" y="1066"/>
                  </a:lnTo>
                  <a:lnTo>
                    <a:pt x="2136" y="1064"/>
                  </a:lnTo>
                  <a:lnTo>
                    <a:pt x="2126" y="1066"/>
                  </a:lnTo>
                  <a:lnTo>
                    <a:pt x="2114" y="1070"/>
                  </a:lnTo>
                  <a:lnTo>
                    <a:pt x="2102" y="1076"/>
                  </a:lnTo>
                  <a:lnTo>
                    <a:pt x="2078" y="1092"/>
                  </a:lnTo>
                  <a:lnTo>
                    <a:pt x="2056" y="1104"/>
                  </a:lnTo>
                  <a:lnTo>
                    <a:pt x="2040" y="1114"/>
                  </a:lnTo>
                  <a:lnTo>
                    <a:pt x="2028" y="1122"/>
                  </a:lnTo>
                  <a:lnTo>
                    <a:pt x="2022" y="1130"/>
                  </a:lnTo>
                  <a:lnTo>
                    <a:pt x="2020" y="1134"/>
                  </a:lnTo>
                  <a:lnTo>
                    <a:pt x="2022" y="1140"/>
                  </a:lnTo>
                  <a:lnTo>
                    <a:pt x="2026" y="1150"/>
                  </a:lnTo>
                  <a:lnTo>
                    <a:pt x="2040" y="1166"/>
                  </a:lnTo>
                  <a:lnTo>
                    <a:pt x="2052" y="1180"/>
                  </a:lnTo>
                  <a:lnTo>
                    <a:pt x="2054" y="1186"/>
                  </a:lnTo>
                  <a:lnTo>
                    <a:pt x="2054" y="1192"/>
                  </a:lnTo>
                  <a:lnTo>
                    <a:pt x="2054" y="1196"/>
                  </a:lnTo>
                  <a:lnTo>
                    <a:pt x="2050" y="1198"/>
                  </a:lnTo>
                  <a:lnTo>
                    <a:pt x="2046" y="1200"/>
                  </a:lnTo>
                  <a:lnTo>
                    <a:pt x="2040" y="1202"/>
                  </a:lnTo>
                  <a:lnTo>
                    <a:pt x="2026" y="1202"/>
                  </a:lnTo>
                  <a:lnTo>
                    <a:pt x="2006" y="1198"/>
                  </a:lnTo>
                  <a:lnTo>
                    <a:pt x="1984" y="1190"/>
                  </a:lnTo>
                  <a:lnTo>
                    <a:pt x="1958" y="1180"/>
                  </a:lnTo>
                  <a:lnTo>
                    <a:pt x="1934" y="1170"/>
                  </a:lnTo>
                  <a:lnTo>
                    <a:pt x="1916" y="1164"/>
                  </a:lnTo>
                  <a:lnTo>
                    <a:pt x="1900" y="1162"/>
                  </a:lnTo>
                  <a:lnTo>
                    <a:pt x="1892" y="1164"/>
                  </a:lnTo>
                  <a:lnTo>
                    <a:pt x="1888" y="1166"/>
                  </a:lnTo>
                  <a:lnTo>
                    <a:pt x="1886" y="1170"/>
                  </a:lnTo>
                  <a:lnTo>
                    <a:pt x="1886" y="1176"/>
                  </a:lnTo>
                  <a:lnTo>
                    <a:pt x="1892" y="1186"/>
                  </a:lnTo>
                  <a:lnTo>
                    <a:pt x="1900" y="1196"/>
                  </a:lnTo>
                  <a:lnTo>
                    <a:pt x="1912" y="1206"/>
                  </a:lnTo>
                  <a:lnTo>
                    <a:pt x="1924" y="1214"/>
                  </a:lnTo>
                  <a:lnTo>
                    <a:pt x="1946" y="1222"/>
                  </a:lnTo>
                  <a:lnTo>
                    <a:pt x="1954" y="1226"/>
                  </a:lnTo>
                  <a:lnTo>
                    <a:pt x="1956" y="1228"/>
                  </a:lnTo>
                  <a:lnTo>
                    <a:pt x="1956" y="1232"/>
                  </a:lnTo>
                  <a:lnTo>
                    <a:pt x="1952" y="1238"/>
                  </a:lnTo>
                  <a:lnTo>
                    <a:pt x="1940" y="1246"/>
                  </a:lnTo>
                  <a:lnTo>
                    <a:pt x="1926" y="1252"/>
                  </a:lnTo>
                  <a:lnTo>
                    <a:pt x="1920" y="1252"/>
                  </a:lnTo>
                  <a:lnTo>
                    <a:pt x="1916" y="1252"/>
                  </a:lnTo>
                  <a:lnTo>
                    <a:pt x="1908" y="1248"/>
                  </a:lnTo>
                  <a:lnTo>
                    <a:pt x="1902" y="1240"/>
                  </a:lnTo>
                  <a:lnTo>
                    <a:pt x="1894" y="1232"/>
                  </a:lnTo>
                  <a:lnTo>
                    <a:pt x="1886" y="1224"/>
                  </a:lnTo>
                  <a:lnTo>
                    <a:pt x="1874" y="1216"/>
                  </a:lnTo>
                  <a:lnTo>
                    <a:pt x="1868" y="1212"/>
                  </a:lnTo>
                  <a:lnTo>
                    <a:pt x="1858" y="1210"/>
                  </a:lnTo>
                  <a:lnTo>
                    <a:pt x="1844" y="1206"/>
                  </a:lnTo>
                  <a:lnTo>
                    <a:pt x="1836" y="1202"/>
                  </a:lnTo>
                  <a:lnTo>
                    <a:pt x="1832" y="1196"/>
                  </a:lnTo>
                  <a:lnTo>
                    <a:pt x="1832" y="1188"/>
                  </a:lnTo>
                  <a:lnTo>
                    <a:pt x="1832" y="1182"/>
                  </a:lnTo>
                  <a:lnTo>
                    <a:pt x="1830" y="1174"/>
                  </a:lnTo>
                  <a:lnTo>
                    <a:pt x="1826" y="1164"/>
                  </a:lnTo>
                  <a:lnTo>
                    <a:pt x="1818" y="1156"/>
                  </a:lnTo>
                  <a:lnTo>
                    <a:pt x="1814" y="1152"/>
                  </a:lnTo>
                  <a:lnTo>
                    <a:pt x="1812" y="1148"/>
                  </a:lnTo>
                  <a:lnTo>
                    <a:pt x="1812" y="1144"/>
                  </a:lnTo>
                  <a:lnTo>
                    <a:pt x="1812" y="1140"/>
                  </a:lnTo>
                  <a:lnTo>
                    <a:pt x="1816" y="1134"/>
                  </a:lnTo>
                  <a:lnTo>
                    <a:pt x="1822" y="1128"/>
                  </a:lnTo>
                  <a:lnTo>
                    <a:pt x="1826" y="1122"/>
                  </a:lnTo>
                  <a:lnTo>
                    <a:pt x="1830" y="1114"/>
                  </a:lnTo>
                  <a:lnTo>
                    <a:pt x="1828" y="1110"/>
                  </a:lnTo>
                  <a:lnTo>
                    <a:pt x="1826" y="1106"/>
                  </a:lnTo>
                  <a:lnTo>
                    <a:pt x="1822" y="1100"/>
                  </a:lnTo>
                  <a:lnTo>
                    <a:pt x="1816" y="1096"/>
                  </a:lnTo>
                  <a:lnTo>
                    <a:pt x="1800" y="1084"/>
                  </a:lnTo>
                  <a:lnTo>
                    <a:pt x="1784" y="1076"/>
                  </a:lnTo>
                  <a:lnTo>
                    <a:pt x="1758" y="1060"/>
                  </a:lnTo>
                  <a:lnTo>
                    <a:pt x="1746" y="1054"/>
                  </a:lnTo>
                  <a:lnTo>
                    <a:pt x="1738" y="1046"/>
                  </a:lnTo>
                  <a:lnTo>
                    <a:pt x="1730" y="1036"/>
                  </a:lnTo>
                  <a:lnTo>
                    <a:pt x="1726" y="1026"/>
                  </a:lnTo>
                  <a:lnTo>
                    <a:pt x="1724" y="1018"/>
                  </a:lnTo>
                  <a:lnTo>
                    <a:pt x="1726" y="1016"/>
                  </a:lnTo>
                  <a:lnTo>
                    <a:pt x="1736" y="1026"/>
                  </a:lnTo>
                  <a:lnTo>
                    <a:pt x="1746" y="1036"/>
                  </a:lnTo>
                  <a:lnTo>
                    <a:pt x="1762" y="1044"/>
                  </a:lnTo>
                  <a:lnTo>
                    <a:pt x="1782" y="1054"/>
                  </a:lnTo>
                  <a:lnTo>
                    <a:pt x="1808" y="1060"/>
                  </a:lnTo>
                  <a:lnTo>
                    <a:pt x="1836" y="1066"/>
                  </a:lnTo>
                  <a:lnTo>
                    <a:pt x="1864" y="1074"/>
                  </a:lnTo>
                  <a:lnTo>
                    <a:pt x="1920" y="1092"/>
                  </a:lnTo>
                  <a:lnTo>
                    <a:pt x="1948" y="1098"/>
                  </a:lnTo>
                  <a:lnTo>
                    <a:pt x="1962" y="1100"/>
                  </a:lnTo>
                  <a:lnTo>
                    <a:pt x="1976" y="1100"/>
                  </a:lnTo>
                  <a:lnTo>
                    <a:pt x="1990" y="1098"/>
                  </a:lnTo>
                  <a:lnTo>
                    <a:pt x="2002" y="1096"/>
                  </a:lnTo>
                  <a:lnTo>
                    <a:pt x="2016" y="1092"/>
                  </a:lnTo>
                  <a:lnTo>
                    <a:pt x="2030" y="1084"/>
                  </a:lnTo>
                  <a:lnTo>
                    <a:pt x="2052" y="1070"/>
                  </a:lnTo>
                  <a:lnTo>
                    <a:pt x="2072" y="1056"/>
                  </a:lnTo>
                  <a:lnTo>
                    <a:pt x="2084" y="1042"/>
                  </a:lnTo>
                  <a:lnTo>
                    <a:pt x="2090" y="1036"/>
                  </a:lnTo>
                  <a:lnTo>
                    <a:pt x="2092" y="1030"/>
                  </a:lnTo>
                  <a:lnTo>
                    <a:pt x="2094" y="1022"/>
                  </a:lnTo>
                  <a:lnTo>
                    <a:pt x="2092" y="1016"/>
                  </a:lnTo>
                  <a:lnTo>
                    <a:pt x="2090" y="1010"/>
                  </a:lnTo>
                  <a:lnTo>
                    <a:pt x="2086" y="1002"/>
                  </a:lnTo>
                  <a:lnTo>
                    <a:pt x="2080" y="994"/>
                  </a:lnTo>
                  <a:lnTo>
                    <a:pt x="2072" y="988"/>
                  </a:lnTo>
                  <a:lnTo>
                    <a:pt x="2050" y="970"/>
                  </a:lnTo>
                  <a:lnTo>
                    <a:pt x="2010" y="946"/>
                  </a:lnTo>
                  <a:lnTo>
                    <a:pt x="1982" y="934"/>
                  </a:lnTo>
                  <a:lnTo>
                    <a:pt x="1954" y="920"/>
                  </a:lnTo>
                  <a:lnTo>
                    <a:pt x="1910" y="896"/>
                  </a:lnTo>
                  <a:lnTo>
                    <a:pt x="1884" y="882"/>
                  </a:lnTo>
                  <a:lnTo>
                    <a:pt x="1868" y="874"/>
                  </a:lnTo>
                  <a:lnTo>
                    <a:pt x="1854" y="870"/>
                  </a:lnTo>
                  <a:lnTo>
                    <a:pt x="1844" y="870"/>
                  </a:lnTo>
                  <a:lnTo>
                    <a:pt x="1834" y="872"/>
                  </a:lnTo>
                  <a:lnTo>
                    <a:pt x="1822" y="872"/>
                  </a:lnTo>
                  <a:lnTo>
                    <a:pt x="1808" y="870"/>
                  </a:lnTo>
                  <a:lnTo>
                    <a:pt x="1786" y="866"/>
                  </a:lnTo>
                  <a:lnTo>
                    <a:pt x="1768" y="858"/>
                  </a:lnTo>
                  <a:lnTo>
                    <a:pt x="1758" y="852"/>
                  </a:lnTo>
                  <a:lnTo>
                    <a:pt x="1756" y="850"/>
                  </a:lnTo>
                  <a:lnTo>
                    <a:pt x="1756" y="846"/>
                  </a:lnTo>
                  <a:lnTo>
                    <a:pt x="1758" y="844"/>
                  </a:lnTo>
                  <a:lnTo>
                    <a:pt x="1758" y="840"/>
                  </a:lnTo>
                  <a:lnTo>
                    <a:pt x="1752" y="834"/>
                  </a:lnTo>
                  <a:lnTo>
                    <a:pt x="1740" y="828"/>
                  </a:lnTo>
                  <a:lnTo>
                    <a:pt x="1726" y="824"/>
                  </a:lnTo>
                  <a:lnTo>
                    <a:pt x="1718" y="824"/>
                  </a:lnTo>
                  <a:lnTo>
                    <a:pt x="1712" y="826"/>
                  </a:lnTo>
                  <a:lnTo>
                    <a:pt x="1710" y="830"/>
                  </a:lnTo>
                  <a:lnTo>
                    <a:pt x="1706" y="834"/>
                  </a:lnTo>
                  <a:lnTo>
                    <a:pt x="1698" y="838"/>
                  </a:lnTo>
                  <a:lnTo>
                    <a:pt x="1686" y="838"/>
                  </a:lnTo>
                  <a:lnTo>
                    <a:pt x="1666" y="834"/>
                  </a:lnTo>
                  <a:lnTo>
                    <a:pt x="1658" y="832"/>
                  </a:lnTo>
                  <a:lnTo>
                    <a:pt x="1652" y="832"/>
                  </a:lnTo>
                  <a:lnTo>
                    <a:pt x="1648" y="832"/>
                  </a:lnTo>
                  <a:lnTo>
                    <a:pt x="1644" y="828"/>
                  </a:lnTo>
                  <a:lnTo>
                    <a:pt x="1640" y="828"/>
                  </a:lnTo>
                  <a:lnTo>
                    <a:pt x="1638" y="830"/>
                  </a:lnTo>
                  <a:lnTo>
                    <a:pt x="1636" y="834"/>
                  </a:lnTo>
                  <a:lnTo>
                    <a:pt x="1630" y="836"/>
                  </a:lnTo>
                  <a:lnTo>
                    <a:pt x="1620" y="838"/>
                  </a:lnTo>
                  <a:lnTo>
                    <a:pt x="1618" y="838"/>
                  </a:lnTo>
                  <a:lnTo>
                    <a:pt x="1618" y="834"/>
                  </a:lnTo>
                  <a:lnTo>
                    <a:pt x="1622" y="830"/>
                  </a:lnTo>
                  <a:lnTo>
                    <a:pt x="1622" y="826"/>
                  </a:lnTo>
                  <a:lnTo>
                    <a:pt x="1620" y="822"/>
                  </a:lnTo>
                  <a:lnTo>
                    <a:pt x="1618" y="820"/>
                  </a:lnTo>
                  <a:lnTo>
                    <a:pt x="1614" y="818"/>
                  </a:lnTo>
                  <a:lnTo>
                    <a:pt x="1608" y="818"/>
                  </a:lnTo>
                  <a:lnTo>
                    <a:pt x="1598" y="816"/>
                  </a:lnTo>
                  <a:lnTo>
                    <a:pt x="1590" y="814"/>
                  </a:lnTo>
                  <a:lnTo>
                    <a:pt x="1586" y="812"/>
                  </a:lnTo>
                  <a:lnTo>
                    <a:pt x="1580" y="810"/>
                  </a:lnTo>
                  <a:lnTo>
                    <a:pt x="1576" y="810"/>
                  </a:lnTo>
                  <a:lnTo>
                    <a:pt x="1580" y="808"/>
                  </a:lnTo>
                  <a:lnTo>
                    <a:pt x="1592" y="808"/>
                  </a:lnTo>
                  <a:lnTo>
                    <a:pt x="1612" y="812"/>
                  </a:lnTo>
                  <a:lnTo>
                    <a:pt x="1624" y="812"/>
                  </a:lnTo>
                  <a:lnTo>
                    <a:pt x="1634" y="812"/>
                  </a:lnTo>
                  <a:lnTo>
                    <a:pt x="1640" y="810"/>
                  </a:lnTo>
                  <a:lnTo>
                    <a:pt x="1646" y="808"/>
                  </a:lnTo>
                  <a:lnTo>
                    <a:pt x="1654" y="800"/>
                  </a:lnTo>
                  <a:lnTo>
                    <a:pt x="1658" y="800"/>
                  </a:lnTo>
                  <a:lnTo>
                    <a:pt x="1662" y="800"/>
                  </a:lnTo>
                  <a:lnTo>
                    <a:pt x="1668" y="800"/>
                  </a:lnTo>
                  <a:lnTo>
                    <a:pt x="1672" y="798"/>
                  </a:lnTo>
                  <a:lnTo>
                    <a:pt x="1674" y="796"/>
                  </a:lnTo>
                  <a:lnTo>
                    <a:pt x="1676" y="794"/>
                  </a:lnTo>
                  <a:lnTo>
                    <a:pt x="1676" y="790"/>
                  </a:lnTo>
                  <a:lnTo>
                    <a:pt x="1674" y="788"/>
                  </a:lnTo>
                  <a:lnTo>
                    <a:pt x="1672" y="786"/>
                  </a:lnTo>
                  <a:lnTo>
                    <a:pt x="1668" y="786"/>
                  </a:lnTo>
                  <a:lnTo>
                    <a:pt x="1660" y="786"/>
                  </a:lnTo>
                  <a:lnTo>
                    <a:pt x="1658" y="782"/>
                  </a:lnTo>
                  <a:lnTo>
                    <a:pt x="1656" y="780"/>
                  </a:lnTo>
                  <a:lnTo>
                    <a:pt x="1650" y="778"/>
                  </a:lnTo>
                  <a:lnTo>
                    <a:pt x="1648" y="776"/>
                  </a:lnTo>
                  <a:lnTo>
                    <a:pt x="1644" y="774"/>
                  </a:lnTo>
                  <a:lnTo>
                    <a:pt x="1640" y="770"/>
                  </a:lnTo>
                  <a:lnTo>
                    <a:pt x="1636" y="766"/>
                  </a:lnTo>
                  <a:lnTo>
                    <a:pt x="1634" y="766"/>
                  </a:lnTo>
                  <a:lnTo>
                    <a:pt x="1630" y="768"/>
                  </a:lnTo>
                  <a:lnTo>
                    <a:pt x="1624" y="768"/>
                  </a:lnTo>
                  <a:lnTo>
                    <a:pt x="1624" y="766"/>
                  </a:lnTo>
                  <a:lnTo>
                    <a:pt x="1620" y="764"/>
                  </a:lnTo>
                  <a:lnTo>
                    <a:pt x="1614" y="766"/>
                  </a:lnTo>
                  <a:lnTo>
                    <a:pt x="1606" y="768"/>
                  </a:lnTo>
                  <a:lnTo>
                    <a:pt x="1606" y="764"/>
                  </a:lnTo>
                  <a:lnTo>
                    <a:pt x="1606" y="762"/>
                  </a:lnTo>
                  <a:lnTo>
                    <a:pt x="1606" y="760"/>
                  </a:lnTo>
                  <a:lnTo>
                    <a:pt x="1602" y="758"/>
                  </a:lnTo>
                  <a:lnTo>
                    <a:pt x="1596" y="756"/>
                  </a:lnTo>
                  <a:lnTo>
                    <a:pt x="1588" y="754"/>
                  </a:lnTo>
                  <a:lnTo>
                    <a:pt x="1582" y="754"/>
                  </a:lnTo>
                  <a:lnTo>
                    <a:pt x="1578" y="758"/>
                  </a:lnTo>
                  <a:lnTo>
                    <a:pt x="1574" y="760"/>
                  </a:lnTo>
                  <a:lnTo>
                    <a:pt x="1572" y="766"/>
                  </a:lnTo>
                  <a:lnTo>
                    <a:pt x="1570" y="770"/>
                  </a:lnTo>
                  <a:lnTo>
                    <a:pt x="1570" y="780"/>
                  </a:lnTo>
                  <a:lnTo>
                    <a:pt x="1572" y="786"/>
                  </a:lnTo>
                  <a:lnTo>
                    <a:pt x="1568" y="786"/>
                  </a:lnTo>
                  <a:lnTo>
                    <a:pt x="1564" y="782"/>
                  </a:lnTo>
                  <a:lnTo>
                    <a:pt x="1560" y="782"/>
                  </a:lnTo>
                  <a:lnTo>
                    <a:pt x="1558" y="782"/>
                  </a:lnTo>
                  <a:lnTo>
                    <a:pt x="1550" y="784"/>
                  </a:lnTo>
                  <a:lnTo>
                    <a:pt x="1548" y="784"/>
                  </a:lnTo>
                  <a:lnTo>
                    <a:pt x="1548" y="782"/>
                  </a:lnTo>
                  <a:lnTo>
                    <a:pt x="1554" y="778"/>
                  </a:lnTo>
                  <a:lnTo>
                    <a:pt x="1560" y="772"/>
                  </a:lnTo>
                  <a:lnTo>
                    <a:pt x="1564" y="768"/>
                  </a:lnTo>
                  <a:lnTo>
                    <a:pt x="1564" y="766"/>
                  </a:lnTo>
                  <a:lnTo>
                    <a:pt x="1562" y="766"/>
                  </a:lnTo>
                  <a:lnTo>
                    <a:pt x="1556" y="766"/>
                  </a:lnTo>
                  <a:lnTo>
                    <a:pt x="1554" y="766"/>
                  </a:lnTo>
                  <a:lnTo>
                    <a:pt x="1554" y="762"/>
                  </a:lnTo>
                  <a:lnTo>
                    <a:pt x="1558" y="758"/>
                  </a:lnTo>
                  <a:lnTo>
                    <a:pt x="1564" y="756"/>
                  </a:lnTo>
                  <a:lnTo>
                    <a:pt x="1572" y="752"/>
                  </a:lnTo>
                  <a:lnTo>
                    <a:pt x="1574" y="750"/>
                  </a:lnTo>
                  <a:lnTo>
                    <a:pt x="1574" y="748"/>
                  </a:lnTo>
                  <a:lnTo>
                    <a:pt x="1572" y="746"/>
                  </a:lnTo>
                  <a:lnTo>
                    <a:pt x="1570" y="746"/>
                  </a:lnTo>
                  <a:lnTo>
                    <a:pt x="1566" y="746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2"/>
                  </a:lnTo>
                  <a:lnTo>
                    <a:pt x="1560" y="740"/>
                  </a:lnTo>
                  <a:lnTo>
                    <a:pt x="1558" y="740"/>
                  </a:lnTo>
                  <a:lnTo>
                    <a:pt x="1554" y="740"/>
                  </a:lnTo>
                  <a:lnTo>
                    <a:pt x="1548" y="742"/>
                  </a:lnTo>
                  <a:lnTo>
                    <a:pt x="1544" y="742"/>
                  </a:lnTo>
                  <a:lnTo>
                    <a:pt x="1540" y="740"/>
                  </a:lnTo>
                  <a:lnTo>
                    <a:pt x="1538" y="738"/>
                  </a:lnTo>
                  <a:lnTo>
                    <a:pt x="1536" y="738"/>
                  </a:lnTo>
                  <a:lnTo>
                    <a:pt x="1534" y="740"/>
                  </a:lnTo>
                  <a:lnTo>
                    <a:pt x="1532" y="744"/>
                  </a:lnTo>
                  <a:lnTo>
                    <a:pt x="1530" y="744"/>
                  </a:lnTo>
                  <a:lnTo>
                    <a:pt x="1528" y="744"/>
                  </a:lnTo>
                  <a:lnTo>
                    <a:pt x="1524" y="742"/>
                  </a:lnTo>
                  <a:lnTo>
                    <a:pt x="1522" y="744"/>
                  </a:lnTo>
                  <a:lnTo>
                    <a:pt x="1518" y="746"/>
                  </a:lnTo>
                  <a:lnTo>
                    <a:pt x="1518" y="750"/>
                  </a:lnTo>
                  <a:lnTo>
                    <a:pt x="1518" y="752"/>
                  </a:lnTo>
                  <a:lnTo>
                    <a:pt x="1520" y="752"/>
                  </a:lnTo>
                  <a:lnTo>
                    <a:pt x="1524" y="754"/>
                  </a:lnTo>
                  <a:lnTo>
                    <a:pt x="1530" y="754"/>
                  </a:lnTo>
                  <a:lnTo>
                    <a:pt x="1528" y="756"/>
                  </a:lnTo>
                  <a:lnTo>
                    <a:pt x="1522" y="760"/>
                  </a:lnTo>
                  <a:lnTo>
                    <a:pt x="1522" y="762"/>
                  </a:lnTo>
                  <a:lnTo>
                    <a:pt x="1520" y="764"/>
                  </a:lnTo>
                  <a:lnTo>
                    <a:pt x="1516" y="766"/>
                  </a:lnTo>
                  <a:lnTo>
                    <a:pt x="1516" y="768"/>
                  </a:lnTo>
                  <a:lnTo>
                    <a:pt x="1514" y="772"/>
                  </a:lnTo>
                  <a:lnTo>
                    <a:pt x="1512" y="772"/>
                  </a:lnTo>
                  <a:lnTo>
                    <a:pt x="1510" y="774"/>
                  </a:lnTo>
                  <a:lnTo>
                    <a:pt x="1510" y="780"/>
                  </a:lnTo>
                  <a:lnTo>
                    <a:pt x="1510" y="782"/>
                  </a:lnTo>
                  <a:lnTo>
                    <a:pt x="1510" y="784"/>
                  </a:lnTo>
                  <a:lnTo>
                    <a:pt x="1504" y="786"/>
                  </a:lnTo>
                  <a:lnTo>
                    <a:pt x="1496" y="790"/>
                  </a:lnTo>
                  <a:lnTo>
                    <a:pt x="1492" y="792"/>
                  </a:lnTo>
                  <a:lnTo>
                    <a:pt x="1490" y="790"/>
                  </a:lnTo>
                  <a:lnTo>
                    <a:pt x="1492" y="784"/>
                  </a:lnTo>
                  <a:lnTo>
                    <a:pt x="1494" y="776"/>
                  </a:lnTo>
                  <a:lnTo>
                    <a:pt x="1496" y="770"/>
                  </a:lnTo>
                  <a:lnTo>
                    <a:pt x="1496" y="766"/>
                  </a:lnTo>
                  <a:lnTo>
                    <a:pt x="1498" y="760"/>
                  </a:lnTo>
                  <a:lnTo>
                    <a:pt x="1500" y="754"/>
                  </a:lnTo>
                  <a:lnTo>
                    <a:pt x="1498" y="750"/>
                  </a:lnTo>
                  <a:lnTo>
                    <a:pt x="1494" y="750"/>
                  </a:lnTo>
                  <a:lnTo>
                    <a:pt x="1490" y="752"/>
                  </a:lnTo>
                  <a:lnTo>
                    <a:pt x="1480" y="762"/>
                  </a:lnTo>
                  <a:lnTo>
                    <a:pt x="1456" y="784"/>
                  </a:lnTo>
                  <a:lnTo>
                    <a:pt x="1450" y="790"/>
                  </a:lnTo>
                  <a:lnTo>
                    <a:pt x="1450" y="794"/>
                  </a:lnTo>
                  <a:lnTo>
                    <a:pt x="1450" y="798"/>
                  </a:lnTo>
                  <a:lnTo>
                    <a:pt x="1446" y="804"/>
                  </a:lnTo>
                  <a:lnTo>
                    <a:pt x="1440" y="810"/>
                  </a:lnTo>
                  <a:lnTo>
                    <a:pt x="1436" y="810"/>
                  </a:lnTo>
                  <a:lnTo>
                    <a:pt x="1434" y="810"/>
                  </a:lnTo>
                  <a:lnTo>
                    <a:pt x="1432" y="810"/>
                  </a:lnTo>
                  <a:lnTo>
                    <a:pt x="1428" y="812"/>
                  </a:lnTo>
                  <a:lnTo>
                    <a:pt x="1426" y="812"/>
                  </a:lnTo>
                  <a:lnTo>
                    <a:pt x="1428" y="808"/>
                  </a:lnTo>
                  <a:lnTo>
                    <a:pt x="1432" y="802"/>
                  </a:lnTo>
                  <a:lnTo>
                    <a:pt x="1436" y="798"/>
                  </a:lnTo>
                  <a:lnTo>
                    <a:pt x="1436" y="794"/>
                  </a:lnTo>
                  <a:lnTo>
                    <a:pt x="1436" y="792"/>
                  </a:lnTo>
                  <a:lnTo>
                    <a:pt x="1438" y="790"/>
                  </a:lnTo>
                  <a:lnTo>
                    <a:pt x="1442" y="784"/>
                  </a:lnTo>
                  <a:lnTo>
                    <a:pt x="1440" y="782"/>
                  </a:lnTo>
                  <a:lnTo>
                    <a:pt x="1440" y="778"/>
                  </a:lnTo>
                  <a:lnTo>
                    <a:pt x="1448" y="770"/>
                  </a:lnTo>
                  <a:lnTo>
                    <a:pt x="1466" y="756"/>
                  </a:lnTo>
                  <a:lnTo>
                    <a:pt x="1466" y="754"/>
                  </a:lnTo>
                  <a:lnTo>
                    <a:pt x="1458" y="754"/>
                  </a:lnTo>
                  <a:lnTo>
                    <a:pt x="1454" y="752"/>
                  </a:lnTo>
                  <a:lnTo>
                    <a:pt x="1450" y="752"/>
                  </a:lnTo>
                  <a:lnTo>
                    <a:pt x="1446" y="748"/>
                  </a:lnTo>
                  <a:lnTo>
                    <a:pt x="1446" y="746"/>
                  </a:lnTo>
                  <a:lnTo>
                    <a:pt x="1444" y="752"/>
                  </a:lnTo>
                  <a:lnTo>
                    <a:pt x="1442" y="758"/>
                  </a:lnTo>
                  <a:lnTo>
                    <a:pt x="1442" y="760"/>
                  </a:lnTo>
                  <a:lnTo>
                    <a:pt x="1440" y="758"/>
                  </a:lnTo>
                  <a:lnTo>
                    <a:pt x="1438" y="754"/>
                  </a:lnTo>
                  <a:lnTo>
                    <a:pt x="1434" y="750"/>
                  </a:lnTo>
                  <a:lnTo>
                    <a:pt x="1430" y="748"/>
                  </a:lnTo>
                  <a:lnTo>
                    <a:pt x="1426" y="750"/>
                  </a:lnTo>
                  <a:lnTo>
                    <a:pt x="1424" y="750"/>
                  </a:lnTo>
                  <a:lnTo>
                    <a:pt x="1420" y="748"/>
                  </a:lnTo>
                  <a:lnTo>
                    <a:pt x="1418" y="746"/>
                  </a:lnTo>
                  <a:lnTo>
                    <a:pt x="1414" y="746"/>
                  </a:lnTo>
                  <a:lnTo>
                    <a:pt x="1412" y="748"/>
                  </a:lnTo>
                  <a:lnTo>
                    <a:pt x="1414" y="752"/>
                  </a:lnTo>
                  <a:lnTo>
                    <a:pt x="1416" y="754"/>
                  </a:lnTo>
                  <a:lnTo>
                    <a:pt x="1416" y="758"/>
                  </a:lnTo>
                  <a:lnTo>
                    <a:pt x="1414" y="760"/>
                  </a:lnTo>
                  <a:lnTo>
                    <a:pt x="1408" y="758"/>
                  </a:lnTo>
                  <a:lnTo>
                    <a:pt x="1402" y="754"/>
                  </a:lnTo>
                  <a:lnTo>
                    <a:pt x="1400" y="756"/>
                  </a:lnTo>
                  <a:lnTo>
                    <a:pt x="1402" y="760"/>
                  </a:lnTo>
                  <a:lnTo>
                    <a:pt x="1410" y="764"/>
                  </a:lnTo>
                  <a:lnTo>
                    <a:pt x="1418" y="768"/>
                  </a:lnTo>
                  <a:lnTo>
                    <a:pt x="1422" y="770"/>
                  </a:lnTo>
                  <a:lnTo>
                    <a:pt x="1418" y="772"/>
                  </a:lnTo>
                  <a:lnTo>
                    <a:pt x="1410" y="770"/>
                  </a:lnTo>
                  <a:lnTo>
                    <a:pt x="1404" y="768"/>
                  </a:lnTo>
                  <a:lnTo>
                    <a:pt x="1402" y="768"/>
                  </a:lnTo>
                  <a:lnTo>
                    <a:pt x="1402" y="770"/>
                  </a:lnTo>
                  <a:lnTo>
                    <a:pt x="1400" y="774"/>
                  </a:lnTo>
                  <a:lnTo>
                    <a:pt x="1396" y="778"/>
                  </a:lnTo>
                  <a:lnTo>
                    <a:pt x="1388" y="782"/>
                  </a:lnTo>
                  <a:lnTo>
                    <a:pt x="1376" y="790"/>
                  </a:lnTo>
                  <a:lnTo>
                    <a:pt x="1372" y="792"/>
                  </a:lnTo>
                  <a:lnTo>
                    <a:pt x="1372" y="794"/>
                  </a:lnTo>
                  <a:lnTo>
                    <a:pt x="1366" y="798"/>
                  </a:lnTo>
                  <a:lnTo>
                    <a:pt x="1362" y="800"/>
                  </a:lnTo>
                  <a:lnTo>
                    <a:pt x="1360" y="802"/>
                  </a:lnTo>
                  <a:lnTo>
                    <a:pt x="1360" y="804"/>
                  </a:lnTo>
                  <a:lnTo>
                    <a:pt x="1362" y="808"/>
                  </a:lnTo>
                  <a:lnTo>
                    <a:pt x="1360" y="810"/>
                  </a:lnTo>
                  <a:lnTo>
                    <a:pt x="1358" y="810"/>
                  </a:lnTo>
                  <a:lnTo>
                    <a:pt x="1358" y="812"/>
                  </a:lnTo>
                  <a:lnTo>
                    <a:pt x="1362" y="816"/>
                  </a:lnTo>
                  <a:lnTo>
                    <a:pt x="1368" y="818"/>
                  </a:lnTo>
                  <a:lnTo>
                    <a:pt x="1370" y="818"/>
                  </a:lnTo>
                  <a:lnTo>
                    <a:pt x="1368" y="818"/>
                  </a:lnTo>
                  <a:lnTo>
                    <a:pt x="1362" y="818"/>
                  </a:lnTo>
                  <a:lnTo>
                    <a:pt x="1356" y="818"/>
                  </a:lnTo>
                  <a:lnTo>
                    <a:pt x="1350" y="816"/>
                  </a:lnTo>
                  <a:lnTo>
                    <a:pt x="1350" y="814"/>
                  </a:lnTo>
                  <a:lnTo>
                    <a:pt x="1350" y="810"/>
                  </a:lnTo>
                  <a:lnTo>
                    <a:pt x="1350" y="806"/>
                  </a:lnTo>
                  <a:lnTo>
                    <a:pt x="1350" y="804"/>
                  </a:lnTo>
                  <a:lnTo>
                    <a:pt x="1342" y="802"/>
                  </a:lnTo>
                  <a:lnTo>
                    <a:pt x="1334" y="800"/>
                  </a:lnTo>
                  <a:lnTo>
                    <a:pt x="1326" y="800"/>
                  </a:lnTo>
                  <a:lnTo>
                    <a:pt x="1324" y="798"/>
                  </a:lnTo>
                  <a:lnTo>
                    <a:pt x="1322" y="798"/>
                  </a:lnTo>
                  <a:lnTo>
                    <a:pt x="1320" y="796"/>
                  </a:lnTo>
                  <a:lnTo>
                    <a:pt x="1318" y="798"/>
                  </a:lnTo>
                  <a:lnTo>
                    <a:pt x="1312" y="796"/>
                  </a:lnTo>
                  <a:lnTo>
                    <a:pt x="1308" y="794"/>
                  </a:lnTo>
                  <a:lnTo>
                    <a:pt x="1306" y="794"/>
                  </a:lnTo>
                  <a:lnTo>
                    <a:pt x="1306" y="796"/>
                  </a:lnTo>
                  <a:lnTo>
                    <a:pt x="1304" y="802"/>
                  </a:lnTo>
                  <a:lnTo>
                    <a:pt x="1302" y="808"/>
                  </a:lnTo>
                  <a:lnTo>
                    <a:pt x="1300" y="802"/>
                  </a:lnTo>
                  <a:lnTo>
                    <a:pt x="1298" y="800"/>
                  </a:lnTo>
                  <a:lnTo>
                    <a:pt x="1294" y="796"/>
                  </a:lnTo>
                  <a:lnTo>
                    <a:pt x="1290" y="796"/>
                  </a:lnTo>
                  <a:lnTo>
                    <a:pt x="1284" y="798"/>
                  </a:lnTo>
                  <a:lnTo>
                    <a:pt x="1278" y="802"/>
                  </a:lnTo>
                  <a:lnTo>
                    <a:pt x="1280" y="804"/>
                  </a:lnTo>
                  <a:lnTo>
                    <a:pt x="1286" y="806"/>
                  </a:lnTo>
                  <a:lnTo>
                    <a:pt x="1288" y="808"/>
                  </a:lnTo>
                  <a:lnTo>
                    <a:pt x="1290" y="810"/>
                  </a:lnTo>
                  <a:lnTo>
                    <a:pt x="1294" y="812"/>
                  </a:lnTo>
                  <a:lnTo>
                    <a:pt x="1298" y="812"/>
                  </a:lnTo>
                  <a:lnTo>
                    <a:pt x="1302" y="814"/>
                  </a:lnTo>
                  <a:lnTo>
                    <a:pt x="1304" y="816"/>
                  </a:lnTo>
                  <a:lnTo>
                    <a:pt x="1308" y="816"/>
                  </a:lnTo>
                  <a:lnTo>
                    <a:pt x="1310" y="818"/>
                  </a:lnTo>
                  <a:lnTo>
                    <a:pt x="1308" y="820"/>
                  </a:lnTo>
                  <a:lnTo>
                    <a:pt x="1306" y="822"/>
                  </a:lnTo>
                  <a:lnTo>
                    <a:pt x="1306" y="824"/>
                  </a:lnTo>
                  <a:lnTo>
                    <a:pt x="1312" y="832"/>
                  </a:lnTo>
                  <a:lnTo>
                    <a:pt x="1314" y="836"/>
                  </a:lnTo>
                  <a:lnTo>
                    <a:pt x="1312" y="836"/>
                  </a:lnTo>
                  <a:lnTo>
                    <a:pt x="1296" y="824"/>
                  </a:lnTo>
                  <a:lnTo>
                    <a:pt x="1286" y="818"/>
                  </a:lnTo>
                  <a:lnTo>
                    <a:pt x="1280" y="816"/>
                  </a:lnTo>
                  <a:lnTo>
                    <a:pt x="1278" y="818"/>
                  </a:lnTo>
                  <a:lnTo>
                    <a:pt x="1278" y="822"/>
                  </a:lnTo>
                  <a:lnTo>
                    <a:pt x="1280" y="822"/>
                  </a:lnTo>
                  <a:lnTo>
                    <a:pt x="1280" y="824"/>
                  </a:lnTo>
                  <a:lnTo>
                    <a:pt x="1276" y="826"/>
                  </a:lnTo>
                  <a:lnTo>
                    <a:pt x="1274" y="826"/>
                  </a:lnTo>
                  <a:lnTo>
                    <a:pt x="1272" y="826"/>
                  </a:lnTo>
                  <a:lnTo>
                    <a:pt x="1272" y="824"/>
                  </a:lnTo>
                  <a:lnTo>
                    <a:pt x="1274" y="822"/>
                  </a:lnTo>
                  <a:lnTo>
                    <a:pt x="1272" y="822"/>
                  </a:lnTo>
                  <a:lnTo>
                    <a:pt x="1266" y="824"/>
                  </a:lnTo>
                  <a:lnTo>
                    <a:pt x="1252" y="834"/>
                  </a:lnTo>
                  <a:lnTo>
                    <a:pt x="1252" y="836"/>
                  </a:lnTo>
                  <a:lnTo>
                    <a:pt x="1250" y="838"/>
                  </a:lnTo>
                  <a:lnTo>
                    <a:pt x="1248" y="846"/>
                  </a:lnTo>
                  <a:lnTo>
                    <a:pt x="1246" y="850"/>
                  </a:lnTo>
                  <a:lnTo>
                    <a:pt x="1244" y="856"/>
                  </a:lnTo>
                  <a:lnTo>
                    <a:pt x="1238" y="862"/>
                  </a:lnTo>
                  <a:lnTo>
                    <a:pt x="1228" y="868"/>
                  </a:lnTo>
                  <a:lnTo>
                    <a:pt x="1238" y="856"/>
                  </a:lnTo>
                  <a:lnTo>
                    <a:pt x="1242" y="844"/>
                  </a:lnTo>
                  <a:lnTo>
                    <a:pt x="1244" y="832"/>
                  </a:lnTo>
                  <a:lnTo>
                    <a:pt x="1244" y="824"/>
                  </a:lnTo>
                  <a:lnTo>
                    <a:pt x="1242" y="820"/>
                  </a:lnTo>
                  <a:lnTo>
                    <a:pt x="1240" y="822"/>
                  </a:lnTo>
                  <a:lnTo>
                    <a:pt x="1238" y="824"/>
                  </a:lnTo>
                  <a:lnTo>
                    <a:pt x="1236" y="826"/>
                  </a:lnTo>
                  <a:lnTo>
                    <a:pt x="1236" y="824"/>
                  </a:lnTo>
                  <a:lnTo>
                    <a:pt x="1232" y="822"/>
                  </a:lnTo>
                  <a:lnTo>
                    <a:pt x="1230" y="822"/>
                  </a:lnTo>
                  <a:lnTo>
                    <a:pt x="1224" y="834"/>
                  </a:lnTo>
                  <a:lnTo>
                    <a:pt x="1222" y="840"/>
                  </a:lnTo>
                  <a:lnTo>
                    <a:pt x="1222" y="842"/>
                  </a:lnTo>
                  <a:lnTo>
                    <a:pt x="1222" y="844"/>
                  </a:lnTo>
                  <a:lnTo>
                    <a:pt x="1220" y="846"/>
                  </a:lnTo>
                  <a:lnTo>
                    <a:pt x="1216" y="848"/>
                  </a:lnTo>
                  <a:lnTo>
                    <a:pt x="1214" y="848"/>
                  </a:lnTo>
                  <a:lnTo>
                    <a:pt x="1214" y="846"/>
                  </a:lnTo>
                  <a:lnTo>
                    <a:pt x="1216" y="840"/>
                  </a:lnTo>
                  <a:lnTo>
                    <a:pt x="1218" y="836"/>
                  </a:lnTo>
                  <a:lnTo>
                    <a:pt x="1216" y="832"/>
                  </a:lnTo>
                  <a:lnTo>
                    <a:pt x="1214" y="830"/>
                  </a:lnTo>
                  <a:lnTo>
                    <a:pt x="1212" y="830"/>
                  </a:lnTo>
                  <a:lnTo>
                    <a:pt x="1204" y="832"/>
                  </a:lnTo>
                  <a:lnTo>
                    <a:pt x="1198" y="836"/>
                  </a:lnTo>
                  <a:lnTo>
                    <a:pt x="1186" y="844"/>
                  </a:lnTo>
                  <a:lnTo>
                    <a:pt x="1184" y="846"/>
                  </a:lnTo>
                  <a:lnTo>
                    <a:pt x="1188" y="848"/>
                  </a:lnTo>
                  <a:lnTo>
                    <a:pt x="1188" y="850"/>
                  </a:lnTo>
                  <a:lnTo>
                    <a:pt x="1188" y="854"/>
                  </a:lnTo>
                  <a:lnTo>
                    <a:pt x="1188" y="856"/>
                  </a:lnTo>
                  <a:lnTo>
                    <a:pt x="1190" y="858"/>
                  </a:lnTo>
                  <a:lnTo>
                    <a:pt x="1196" y="860"/>
                  </a:lnTo>
                  <a:lnTo>
                    <a:pt x="1200" y="862"/>
                  </a:lnTo>
                  <a:lnTo>
                    <a:pt x="1204" y="864"/>
                  </a:lnTo>
                  <a:lnTo>
                    <a:pt x="1208" y="868"/>
                  </a:lnTo>
                  <a:lnTo>
                    <a:pt x="1210" y="876"/>
                  </a:lnTo>
                  <a:lnTo>
                    <a:pt x="1200" y="872"/>
                  </a:lnTo>
                  <a:lnTo>
                    <a:pt x="1198" y="870"/>
                  </a:lnTo>
                  <a:lnTo>
                    <a:pt x="1200" y="868"/>
                  </a:lnTo>
                  <a:lnTo>
                    <a:pt x="1202" y="868"/>
                  </a:lnTo>
                  <a:lnTo>
                    <a:pt x="1196" y="864"/>
                  </a:lnTo>
                  <a:lnTo>
                    <a:pt x="1190" y="862"/>
                  </a:lnTo>
                  <a:lnTo>
                    <a:pt x="1186" y="860"/>
                  </a:lnTo>
                  <a:lnTo>
                    <a:pt x="1182" y="854"/>
                  </a:lnTo>
                  <a:lnTo>
                    <a:pt x="1180" y="852"/>
                  </a:lnTo>
                  <a:lnTo>
                    <a:pt x="1174" y="852"/>
                  </a:lnTo>
                  <a:lnTo>
                    <a:pt x="1166" y="854"/>
                  </a:lnTo>
                  <a:lnTo>
                    <a:pt x="1166" y="856"/>
                  </a:lnTo>
                  <a:lnTo>
                    <a:pt x="1174" y="862"/>
                  </a:lnTo>
                  <a:lnTo>
                    <a:pt x="1178" y="866"/>
                  </a:lnTo>
                  <a:lnTo>
                    <a:pt x="1176" y="868"/>
                  </a:lnTo>
                  <a:lnTo>
                    <a:pt x="1172" y="868"/>
                  </a:lnTo>
                  <a:lnTo>
                    <a:pt x="1168" y="862"/>
                  </a:lnTo>
                  <a:lnTo>
                    <a:pt x="1158" y="854"/>
                  </a:lnTo>
                  <a:lnTo>
                    <a:pt x="1154" y="854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2"/>
                  </a:lnTo>
                  <a:lnTo>
                    <a:pt x="1152" y="864"/>
                  </a:lnTo>
                  <a:lnTo>
                    <a:pt x="1150" y="868"/>
                  </a:lnTo>
                  <a:lnTo>
                    <a:pt x="1150" y="872"/>
                  </a:lnTo>
                  <a:lnTo>
                    <a:pt x="1152" y="876"/>
                  </a:lnTo>
                  <a:lnTo>
                    <a:pt x="1152" y="878"/>
                  </a:lnTo>
                  <a:lnTo>
                    <a:pt x="1146" y="880"/>
                  </a:lnTo>
                  <a:lnTo>
                    <a:pt x="1138" y="884"/>
                  </a:lnTo>
                  <a:lnTo>
                    <a:pt x="1134" y="886"/>
                  </a:lnTo>
                  <a:lnTo>
                    <a:pt x="1130" y="888"/>
                  </a:lnTo>
                  <a:lnTo>
                    <a:pt x="1128" y="892"/>
                  </a:lnTo>
                  <a:lnTo>
                    <a:pt x="1128" y="894"/>
                  </a:lnTo>
                  <a:lnTo>
                    <a:pt x="1134" y="896"/>
                  </a:lnTo>
                  <a:lnTo>
                    <a:pt x="1138" y="898"/>
                  </a:lnTo>
                  <a:lnTo>
                    <a:pt x="1132" y="900"/>
                  </a:lnTo>
                  <a:lnTo>
                    <a:pt x="1122" y="902"/>
                  </a:lnTo>
                  <a:lnTo>
                    <a:pt x="1120" y="906"/>
                  </a:lnTo>
                  <a:lnTo>
                    <a:pt x="1118" y="908"/>
                  </a:lnTo>
                  <a:lnTo>
                    <a:pt x="1114" y="912"/>
                  </a:lnTo>
                  <a:lnTo>
                    <a:pt x="1108" y="912"/>
                  </a:lnTo>
                  <a:lnTo>
                    <a:pt x="1102" y="912"/>
                  </a:lnTo>
                  <a:lnTo>
                    <a:pt x="1096" y="916"/>
                  </a:lnTo>
                  <a:lnTo>
                    <a:pt x="1090" y="924"/>
                  </a:lnTo>
                  <a:lnTo>
                    <a:pt x="1088" y="928"/>
                  </a:lnTo>
                  <a:lnTo>
                    <a:pt x="1088" y="930"/>
                  </a:lnTo>
                  <a:lnTo>
                    <a:pt x="1092" y="930"/>
                  </a:lnTo>
                  <a:lnTo>
                    <a:pt x="1096" y="928"/>
                  </a:lnTo>
                  <a:lnTo>
                    <a:pt x="1106" y="926"/>
                  </a:lnTo>
                  <a:lnTo>
                    <a:pt x="1108" y="926"/>
                  </a:lnTo>
                  <a:lnTo>
                    <a:pt x="1108" y="930"/>
                  </a:lnTo>
                  <a:lnTo>
                    <a:pt x="1112" y="930"/>
                  </a:lnTo>
                  <a:lnTo>
                    <a:pt x="1124" y="924"/>
                  </a:lnTo>
                  <a:lnTo>
                    <a:pt x="1128" y="924"/>
                  </a:lnTo>
                  <a:lnTo>
                    <a:pt x="1130" y="924"/>
                  </a:lnTo>
                  <a:lnTo>
                    <a:pt x="1128" y="928"/>
                  </a:lnTo>
                  <a:lnTo>
                    <a:pt x="1120" y="932"/>
                  </a:lnTo>
                  <a:lnTo>
                    <a:pt x="1110" y="936"/>
                  </a:lnTo>
                  <a:lnTo>
                    <a:pt x="1102" y="936"/>
                  </a:lnTo>
                  <a:lnTo>
                    <a:pt x="1100" y="936"/>
                  </a:lnTo>
                  <a:lnTo>
                    <a:pt x="1096" y="934"/>
                  </a:lnTo>
                  <a:lnTo>
                    <a:pt x="1088" y="934"/>
                  </a:lnTo>
                  <a:lnTo>
                    <a:pt x="1078" y="936"/>
                  </a:lnTo>
                  <a:lnTo>
                    <a:pt x="1072" y="938"/>
                  </a:lnTo>
                  <a:lnTo>
                    <a:pt x="1070" y="940"/>
                  </a:lnTo>
                  <a:lnTo>
                    <a:pt x="1074" y="942"/>
                  </a:lnTo>
                  <a:lnTo>
                    <a:pt x="1076" y="944"/>
                  </a:lnTo>
                  <a:lnTo>
                    <a:pt x="1076" y="946"/>
                  </a:lnTo>
                  <a:lnTo>
                    <a:pt x="1080" y="948"/>
                  </a:lnTo>
                  <a:lnTo>
                    <a:pt x="1086" y="948"/>
                  </a:lnTo>
                  <a:lnTo>
                    <a:pt x="1084" y="952"/>
                  </a:lnTo>
                  <a:lnTo>
                    <a:pt x="1080" y="958"/>
                  </a:lnTo>
                  <a:lnTo>
                    <a:pt x="1078" y="960"/>
                  </a:lnTo>
                  <a:lnTo>
                    <a:pt x="1076" y="964"/>
                  </a:lnTo>
                  <a:lnTo>
                    <a:pt x="1076" y="968"/>
                  </a:lnTo>
                  <a:lnTo>
                    <a:pt x="1074" y="966"/>
                  </a:lnTo>
                  <a:lnTo>
                    <a:pt x="1070" y="960"/>
                  </a:lnTo>
                  <a:lnTo>
                    <a:pt x="1070" y="954"/>
                  </a:lnTo>
                  <a:lnTo>
                    <a:pt x="1070" y="948"/>
                  </a:lnTo>
                  <a:lnTo>
                    <a:pt x="1068" y="944"/>
                  </a:lnTo>
                  <a:lnTo>
                    <a:pt x="1066" y="944"/>
                  </a:lnTo>
                  <a:lnTo>
                    <a:pt x="1064" y="948"/>
                  </a:lnTo>
                  <a:lnTo>
                    <a:pt x="1060" y="954"/>
                  </a:lnTo>
                  <a:lnTo>
                    <a:pt x="1058" y="954"/>
                  </a:lnTo>
                  <a:lnTo>
                    <a:pt x="1056" y="954"/>
                  </a:lnTo>
                  <a:lnTo>
                    <a:pt x="1056" y="952"/>
                  </a:lnTo>
                  <a:lnTo>
                    <a:pt x="1052" y="950"/>
                  </a:lnTo>
                  <a:lnTo>
                    <a:pt x="1046" y="952"/>
                  </a:lnTo>
                  <a:lnTo>
                    <a:pt x="1042" y="956"/>
                  </a:lnTo>
                  <a:lnTo>
                    <a:pt x="1040" y="956"/>
                  </a:lnTo>
                  <a:lnTo>
                    <a:pt x="1040" y="958"/>
                  </a:lnTo>
                  <a:lnTo>
                    <a:pt x="1042" y="960"/>
                  </a:lnTo>
                  <a:lnTo>
                    <a:pt x="1044" y="960"/>
                  </a:lnTo>
                  <a:lnTo>
                    <a:pt x="1048" y="958"/>
                  </a:lnTo>
                  <a:lnTo>
                    <a:pt x="1054" y="958"/>
                  </a:lnTo>
                  <a:lnTo>
                    <a:pt x="1062" y="960"/>
                  </a:lnTo>
                  <a:lnTo>
                    <a:pt x="1064" y="962"/>
                  </a:lnTo>
                  <a:lnTo>
                    <a:pt x="1064" y="964"/>
                  </a:lnTo>
                  <a:lnTo>
                    <a:pt x="1060" y="966"/>
                  </a:lnTo>
                  <a:lnTo>
                    <a:pt x="1050" y="966"/>
                  </a:lnTo>
                  <a:lnTo>
                    <a:pt x="1032" y="970"/>
                  </a:lnTo>
                  <a:lnTo>
                    <a:pt x="1020" y="974"/>
                  </a:lnTo>
                  <a:lnTo>
                    <a:pt x="1018" y="976"/>
                  </a:lnTo>
                  <a:lnTo>
                    <a:pt x="1020" y="978"/>
                  </a:lnTo>
                  <a:lnTo>
                    <a:pt x="1022" y="980"/>
                  </a:lnTo>
                  <a:lnTo>
                    <a:pt x="1018" y="984"/>
                  </a:lnTo>
                  <a:lnTo>
                    <a:pt x="1016" y="986"/>
                  </a:lnTo>
                  <a:lnTo>
                    <a:pt x="1020" y="988"/>
                  </a:lnTo>
                  <a:lnTo>
                    <a:pt x="1026" y="988"/>
                  </a:lnTo>
                  <a:lnTo>
                    <a:pt x="1030" y="986"/>
                  </a:lnTo>
                  <a:lnTo>
                    <a:pt x="1036" y="980"/>
                  </a:lnTo>
                  <a:lnTo>
                    <a:pt x="1042" y="976"/>
                  </a:lnTo>
                  <a:lnTo>
                    <a:pt x="1046" y="976"/>
                  </a:lnTo>
                  <a:lnTo>
                    <a:pt x="1052" y="976"/>
                  </a:lnTo>
                  <a:lnTo>
                    <a:pt x="1060" y="980"/>
                  </a:lnTo>
                  <a:lnTo>
                    <a:pt x="1058" y="980"/>
                  </a:lnTo>
                  <a:lnTo>
                    <a:pt x="1050" y="980"/>
                  </a:lnTo>
                  <a:lnTo>
                    <a:pt x="1040" y="982"/>
                  </a:lnTo>
                  <a:lnTo>
                    <a:pt x="1034" y="986"/>
                  </a:lnTo>
                  <a:lnTo>
                    <a:pt x="1034" y="988"/>
                  </a:lnTo>
                  <a:lnTo>
                    <a:pt x="1036" y="990"/>
                  </a:lnTo>
                  <a:lnTo>
                    <a:pt x="1034" y="990"/>
                  </a:lnTo>
                  <a:lnTo>
                    <a:pt x="1026" y="992"/>
                  </a:lnTo>
                  <a:lnTo>
                    <a:pt x="1016" y="996"/>
                  </a:lnTo>
                  <a:lnTo>
                    <a:pt x="1016" y="998"/>
                  </a:lnTo>
                  <a:lnTo>
                    <a:pt x="1020" y="1002"/>
                  </a:lnTo>
                  <a:lnTo>
                    <a:pt x="1022" y="1002"/>
                  </a:lnTo>
                  <a:lnTo>
                    <a:pt x="1022" y="1004"/>
                  </a:lnTo>
                  <a:lnTo>
                    <a:pt x="1020" y="1006"/>
                  </a:lnTo>
                  <a:lnTo>
                    <a:pt x="1016" y="1004"/>
                  </a:lnTo>
                  <a:lnTo>
                    <a:pt x="1014" y="1002"/>
                  </a:lnTo>
                  <a:lnTo>
                    <a:pt x="1010" y="1004"/>
                  </a:lnTo>
                  <a:lnTo>
                    <a:pt x="1004" y="1012"/>
                  </a:lnTo>
                  <a:lnTo>
                    <a:pt x="1008" y="1014"/>
                  </a:lnTo>
                  <a:lnTo>
                    <a:pt x="1012" y="1014"/>
                  </a:lnTo>
                  <a:lnTo>
                    <a:pt x="1016" y="1012"/>
                  </a:lnTo>
                  <a:lnTo>
                    <a:pt x="1024" y="1012"/>
                  </a:lnTo>
                  <a:lnTo>
                    <a:pt x="1036" y="1012"/>
                  </a:lnTo>
                  <a:lnTo>
                    <a:pt x="1050" y="1016"/>
                  </a:lnTo>
                  <a:lnTo>
                    <a:pt x="1048" y="1016"/>
                  </a:lnTo>
                  <a:lnTo>
                    <a:pt x="1046" y="1018"/>
                  </a:lnTo>
                  <a:lnTo>
                    <a:pt x="1046" y="1022"/>
                  </a:lnTo>
                  <a:lnTo>
                    <a:pt x="1046" y="1024"/>
                  </a:lnTo>
                  <a:lnTo>
                    <a:pt x="1044" y="1022"/>
                  </a:lnTo>
                  <a:lnTo>
                    <a:pt x="1038" y="1018"/>
                  </a:lnTo>
                  <a:lnTo>
                    <a:pt x="1034" y="1016"/>
                  </a:lnTo>
                  <a:lnTo>
                    <a:pt x="1028" y="1016"/>
                  </a:lnTo>
                  <a:lnTo>
                    <a:pt x="1020" y="1016"/>
                  </a:lnTo>
                  <a:lnTo>
                    <a:pt x="1014" y="1018"/>
                  </a:lnTo>
                  <a:lnTo>
                    <a:pt x="1008" y="1020"/>
                  </a:lnTo>
                  <a:lnTo>
                    <a:pt x="1002" y="1020"/>
                  </a:lnTo>
                  <a:lnTo>
                    <a:pt x="998" y="1020"/>
                  </a:lnTo>
                  <a:lnTo>
                    <a:pt x="996" y="1020"/>
                  </a:lnTo>
                  <a:lnTo>
                    <a:pt x="994" y="1022"/>
                  </a:lnTo>
                  <a:lnTo>
                    <a:pt x="990" y="1022"/>
                  </a:lnTo>
                  <a:lnTo>
                    <a:pt x="988" y="1024"/>
                  </a:lnTo>
                  <a:lnTo>
                    <a:pt x="988" y="1026"/>
                  </a:lnTo>
                  <a:lnTo>
                    <a:pt x="988" y="1028"/>
                  </a:lnTo>
                  <a:lnTo>
                    <a:pt x="988" y="1030"/>
                  </a:lnTo>
                  <a:lnTo>
                    <a:pt x="986" y="1032"/>
                  </a:lnTo>
                  <a:lnTo>
                    <a:pt x="982" y="1034"/>
                  </a:lnTo>
                  <a:lnTo>
                    <a:pt x="976" y="1034"/>
                  </a:lnTo>
                  <a:lnTo>
                    <a:pt x="968" y="1036"/>
                  </a:lnTo>
                  <a:lnTo>
                    <a:pt x="970" y="1038"/>
                  </a:lnTo>
                  <a:lnTo>
                    <a:pt x="974" y="1042"/>
                  </a:lnTo>
                  <a:lnTo>
                    <a:pt x="974" y="1044"/>
                  </a:lnTo>
                  <a:lnTo>
                    <a:pt x="972" y="1046"/>
                  </a:lnTo>
                  <a:lnTo>
                    <a:pt x="966" y="1050"/>
                  </a:lnTo>
                  <a:lnTo>
                    <a:pt x="964" y="1050"/>
                  </a:lnTo>
                  <a:lnTo>
                    <a:pt x="962" y="1050"/>
                  </a:lnTo>
                  <a:lnTo>
                    <a:pt x="956" y="1052"/>
                  </a:lnTo>
                  <a:lnTo>
                    <a:pt x="954" y="1056"/>
                  </a:lnTo>
                  <a:lnTo>
                    <a:pt x="956" y="1058"/>
                  </a:lnTo>
                  <a:lnTo>
                    <a:pt x="958" y="1058"/>
                  </a:lnTo>
                  <a:lnTo>
                    <a:pt x="958" y="1060"/>
                  </a:lnTo>
                  <a:lnTo>
                    <a:pt x="954" y="1062"/>
                  </a:lnTo>
                  <a:lnTo>
                    <a:pt x="954" y="1064"/>
                  </a:lnTo>
                  <a:lnTo>
                    <a:pt x="956" y="1066"/>
                  </a:lnTo>
                  <a:lnTo>
                    <a:pt x="954" y="1064"/>
                  </a:lnTo>
                  <a:lnTo>
                    <a:pt x="950" y="1064"/>
                  </a:lnTo>
                  <a:lnTo>
                    <a:pt x="946" y="1064"/>
                  </a:lnTo>
                  <a:lnTo>
                    <a:pt x="946" y="1066"/>
                  </a:lnTo>
                  <a:lnTo>
                    <a:pt x="948" y="1068"/>
                  </a:lnTo>
                  <a:lnTo>
                    <a:pt x="950" y="1070"/>
                  </a:lnTo>
                  <a:lnTo>
                    <a:pt x="950" y="1072"/>
                  </a:lnTo>
                  <a:lnTo>
                    <a:pt x="948" y="1076"/>
                  </a:lnTo>
                  <a:lnTo>
                    <a:pt x="948" y="1080"/>
                  </a:lnTo>
                  <a:lnTo>
                    <a:pt x="954" y="1080"/>
                  </a:lnTo>
                  <a:lnTo>
                    <a:pt x="958" y="1080"/>
                  </a:lnTo>
                  <a:lnTo>
                    <a:pt x="954" y="1082"/>
                  </a:lnTo>
                  <a:lnTo>
                    <a:pt x="948" y="1084"/>
                  </a:lnTo>
                  <a:lnTo>
                    <a:pt x="946" y="1086"/>
                  </a:lnTo>
                  <a:lnTo>
                    <a:pt x="954" y="1086"/>
                  </a:lnTo>
                  <a:lnTo>
                    <a:pt x="964" y="1084"/>
                  </a:lnTo>
                  <a:lnTo>
                    <a:pt x="988" y="1078"/>
                  </a:lnTo>
                  <a:lnTo>
                    <a:pt x="994" y="1078"/>
                  </a:lnTo>
                  <a:lnTo>
                    <a:pt x="990" y="1080"/>
                  </a:lnTo>
                  <a:lnTo>
                    <a:pt x="982" y="1084"/>
                  </a:lnTo>
                  <a:lnTo>
                    <a:pt x="972" y="1086"/>
                  </a:lnTo>
                  <a:lnTo>
                    <a:pt x="954" y="1090"/>
                  </a:lnTo>
                  <a:lnTo>
                    <a:pt x="946" y="1092"/>
                  </a:lnTo>
                  <a:lnTo>
                    <a:pt x="936" y="1094"/>
                  </a:lnTo>
                  <a:lnTo>
                    <a:pt x="932" y="1096"/>
                  </a:lnTo>
                  <a:lnTo>
                    <a:pt x="936" y="1096"/>
                  </a:lnTo>
                  <a:lnTo>
                    <a:pt x="942" y="1098"/>
                  </a:lnTo>
                  <a:lnTo>
                    <a:pt x="944" y="1098"/>
                  </a:lnTo>
                  <a:lnTo>
                    <a:pt x="946" y="1100"/>
                  </a:lnTo>
                  <a:lnTo>
                    <a:pt x="944" y="1104"/>
                  </a:lnTo>
                  <a:lnTo>
                    <a:pt x="940" y="1106"/>
                  </a:lnTo>
                  <a:lnTo>
                    <a:pt x="934" y="1108"/>
                  </a:lnTo>
                  <a:lnTo>
                    <a:pt x="932" y="1114"/>
                  </a:lnTo>
                  <a:lnTo>
                    <a:pt x="930" y="1118"/>
                  </a:lnTo>
                  <a:lnTo>
                    <a:pt x="928" y="1120"/>
                  </a:lnTo>
                  <a:lnTo>
                    <a:pt x="924" y="1122"/>
                  </a:lnTo>
                  <a:lnTo>
                    <a:pt x="920" y="1122"/>
                  </a:lnTo>
                  <a:lnTo>
                    <a:pt x="920" y="1128"/>
                  </a:lnTo>
                  <a:lnTo>
                    <a:pt x="922" y="1132"/>
                  </a:lnTo>
                  <a:lnTo>
                    <a:pt x="924" y="1134"/>
                  </a:lnTo>
                  <a:lnTo>
                    <a:pt x="926" y="1134"/>
                  </a:lnTo>
                  <a:lnTo>
                    <a:pt x="928" y="1138"/>
                  </a:lnTo>
                  <a:lnTo>
                    <a:pt x="928" y="1140"/>
                  </a:lnTo>
                  <a:lnTo>
                    <a:pt x="928" y="1142"/>
                  </a:lnTo>
                  <a:lnTo>
                    <a:pt x="922" y="1146"/>
                  </a:lnTo>
                  <a:lnTo>
                    <a:pt x="918" y="1150"/>
                  </a:lnTo>
                  <a:lnTo>
                    <a:pt x="918" y="1152"/>
                  </a:lnTo>
                  <a:lnTo>
                    <a:pt x="920" y="1152"/>
                  </a:lnTo>
                  <a:lnTo>
                    <a:pt x="922" y="1156"/>
                  </a:lnTo>
                  <a:lnTo>
                    <a:pt x="922" y="1160"/>
                  </a:lnTo>
                  <a:lnTo>
                    <a:pt x="918" y="1164"/>
                  </a:lnTo>
                  <a:lnTo>
                    <a:pt x="910" y="1166"/>
                  </a:lnTo>
                  <a:lnTo>
                    <a:pt x="904" y="1168"/>
                  </a:lnTo>
                  <a:lnTo>
                    <a:pt x="900" y="1168"/>
                  </a:lnTo>
                  <a:lnTo>
                    <a:pt x="898" y="1170"/>
                  </a:lnTo>
                  <a:lnTo>
                    <a:pt x="892" y="1172"/>
                  </a:lnTo>
                  <a:lnTo>
                    <a:pt x="888" y="1174"/>
                  </a:lnTo>
                  <a:lnTo>
                    <a:pt x="884" y="1174"/>
                  </a:lnTo>
                  <a:lnTo>
                    <a:pt x="880" y="1176"/>
                  </a:lnTo>
                  <a:lnTo>
                    <a:pt x="876" y="1176"/>
                  </a:lnTo>
                  <a:lnTo>
                    <a:pt x="866" y="1176"/>
                  </a:lnTo>
                  <a:lnTo>
                    <a:pt x="862" y="1176"/>
                  </a:lnTo>
                  <a:lnTo>
                    <a:pt x="860" y="1178"/>
                  </a:lnTo>
                  <a:lnTo>
                    <a:pt x="860" y="1180"/>
                  </a:lnTo>
                  <a:lnTo>
                    <a:pt x="864" y="1180"/>
                  </a:lnTo>
                  <a:lnTo>
                    <a:pt x="868" y="1180"/>
                  </a:lnTo>
                  <a:lnTo>
                    <a:pt x="876" y="1180"/>
                  </a:lnTo>
                  <a:lnTo>
                    <a:pt x="878" y="1182"/>
                  </a:lnTo>
                  <a:lnTo>
                    <a:pt x="880" y="1184"/>
                  </a:lnTo>
                  <a:lnTo>
                    <a:pt x="878" y="1186"/>
                  </a:lnTo>
                  <a:lnTo>
                    <a:pt x="878" y="1188"/>
                  </a:lnTo>
                  <a:lnTo>
                    <a:pt x="886" y="1184"/>
                  </a:lnTo>
                  <a:lnTo>
                    <a:pt x="892" y="1182"/>
                  </a:lnTo>
                  <a:lnTo>
                    <a:pt x="892" y="1184"/>
                  </a:lnTo>
                  <a:lnTo>
                    <a:pt x="890" y="1186"/>
                  </a:lnTo>
                  <a:lnTo>
                    <a:pt x="886" y="1190"/>
                  </a:lnTo>
                  <a:lnTo>
                    <a:pt x="884" y="1190"/>
                  </a:lnTo>
                  <a:lnTo>
                    <a:pt x="882" y="1192"/>
                  </a:lnTo>
                  <a:lnTo>
                    <a:pt x="886" y="1194"/>
                  </a:lnTo>
                  <a:lnTo>
                    <a:pt x="890" y="1196"/>
                  </a:lnTo>
                  <a:lnTo>
                    <a:pt x="890" y="1198"/>
                  </a:lnTo>
                  <a:lnTo>
                    <a:pt x="890" y="1200"/>
                  </a:lnTo>
                  <a:lnTo>
                    <a:pt x="886" y="1204"/>
                  </a:lnTo>
                  <a:lnTo>
                    <a:pt x="886" y="1206"/>
                  </a:lnTo>
                  <a:lnTo>
                    <a:pt x="884" y="1208"/>
                  </a:lnTo>
                  <a:lnTo>
                    <a:pt x="878" y="1208"/>
                  </a:lnTo>
                  <a:lnTo>
                    <a:pt x="874" y="1208"/>
                  </a:lnTo>
                  <a:lnTo>
                    <a:pt x="872" y="1208"/>
                  </a:lnTo>
                  <a:lnTo>
                    <a:pt x="870" y="1204"/>
                  </a:lnTo>
                  <a:lnTo>
                    <a:pt x="868" y="1198"/>
                  </a:lnTo>
                  <a:lnTo>
                    <a:pt x="866" y="1198"/>
                  </a:lnTo>
                  <a:lnTo>
                    <a:pt x="864" y="1198"/>
                  </a:lnTo>
                  <a:lnTo>
                    <a:pt x="862" y="1198"/>
                  </a:lnTo>
                  <a:lnTo>
                    <a:pt x="862" y="1200"/>
                  </a:lnTo>
                  <a:lnTo>
                    <a:pt x="862" y="1202"/>
                  </a:lnTo>
                  <a:lnTo>
                    <a:pt x="860" y="1204"/>
                  </a:lnTo>
                  <a:lnTo>
                    <a:pt x="852" y="1204"/>
                  </a:lnTo>
                  <a:lnTo>
                    <a:pt x="848" y="1208"/>
                  </a:lnTo>
                  <a:lnTo>
                    <a:pt x="846" y="1210"/>
                  </a:lnTo>
                  <a:lnTo>
                    <a:pt x="846" y="1214"/>
                  </a:lnTo>
                  <a:lnTo>
                    <a:pt x="846" y="1216"/>
                  </a:lnTo>
                  <a:lnTo>
                    <a:pt x="844" y="1218"/>
                  </a:lnTo>
                  <a:lnTo>
                    <a:pt x="840" y="1220"/>
                  </a:lnTo>
                  <a:lnTo>
                    <a:pt x="834" y="1222"/>
                  </a:lnTo>
                  <a:lnTo>
                    <a:pt x="832" y="1224"/>
                  </a:lnTo>
                  <a:lnTo>
                    <a:pt x="830" y="1228"/>
                  </a:lnTo>
                  <a:lnTo>
                    <a:pt x="828" y="1234"/>
                  </a:lnTo>
                  <a:lnTo>
                    <a:pt x="824" y="1240"/>
                  </a:lnTo>
                  <a:lnTo>
                    <a:pt x="818" y="1246"/>
                  </a:lnTo>
                  <a:lnTo>
                    <a:pt x="812" y="1250"/>
                  </a:lnTo>
                  <a:lnTo>
                    <a:pt x="808" y="1252"/>
                  </a:lnTo>
                  <a:lnTo>
                    <a:pt x="806" y="1256"/>
                  </a:lnTo>
                  <a:lnTo>
                    <a:pt x="806" y="1258"/>
                  </a:lnTo>
                  <a:lnTo>
                    <a:pt x="806" y="1260"/>
                  </a:lnTo>
                  <a:lnTo>
                    <a:pt x="810" y="1260"/>
                  </a:lnTo>
                  <a:lnTo>
                    <a:pt x="816" y="1258"/>
                  </a:lnTo>
                  <a:lnTo>
                    <a:pt x="818" y="1258"/>
                  </a:lnTo>
                  <a:lnTo>
                    <a:pt x="818" y="1262"/>
                  </a:lnTo>
                  <a:lnTo>
                    <a:pt x="820" y="1262"/>
                  </a:lnTo>
                  <a:lnTo>
                    <a:pt x="822" y="1264"/>
                  </a:lnTo>
                  <a:lnTo>
                    <a:pt x="822" y="1268"/>
                  </a:lnTo>
                  <a:lnTo>
                    <a:pt x="824" y="1270"/>
                  </a:lnTo>
                  <a:lnTo>
                    <a:pt x="826" y="1270"/>
                  </a:lnTo>
                  <a:lnTo>
                    <a:pt x="834" y="1270"/>
                  </a:lnTo>
                  <a:lnTo>
                    <a:pt x="848" y="1264"/>
                  </a:lnTo>
                  <a:lnTo>
                    <a:pt x="862" y="1254"/>
                  </a:lnTo>
                  <a:lnTo>
                    <a:pt x="868" y="1250"/>
                  </a:lnTo>
                  <a:lnTo>
                    <a:pt x="868" y="1246"/>
                  </a:lnTo>
                  <a:lnTo>
                    <a:pt x="864" y="1244"/>
                  </a:lnTo>
                  <a:lnTo>
                    <a:pt x="858" y="1244"/>
                  </a:lnTo>
                  <a:lnTo>
                    <a:pt x="862" y="1242"/>
                  </a:lnTo>
                  <a:lnTo>
                    <a:pt x="870" y="1238"/>
                  </a:lnTo>
                  <a:lnTo>
                    <a:pt x="874" y="1236"/>
                  </a:lnTo>
                  <a:lnTo>
                    <a:pt x="876" y="1234"/>
                  </a:lnTo>
                  <a:lnTo>
                    <a:pt x="880" y="1236"/>
                  </a:lnTo>
                  <a:lnTo>
                    <a:pt x="884" y="1236"/>
                  </a:lnTo>
                  <a:lnTo>
                    <a:pt x="884" y="1238"/>
                  </a:lnTo>
                  <a:lnTo>
                    <a:pt x="878" y="1240"/>
                  </a:lnTo>
                  <a:lnTo>
                    <a:pt x="874" y="1242"/>
                  </a:lnTo>
                  <a:lnTo>
                    <a:pt x="872" y="1244"/>
                  </a:lnTo>
                  <a:lnTo>
                    <a:pt x="874" y="1246"/>
                  </a:lnTo>
                  <a:lnTo>
                    <a:pt x="880" y="1248"/>
                  </a:lnTo>
                  <a:lnTo>
                    <a:pt x="884" y="1250"/>
                  </a:lnTo>
                  <a:lnTo>
                    <a:pt x="880" y="1254"/>
                  </a:lnTo>
                  <a:lnTo>
                    <a:pt x="860" y="1262"/>
                  </a:lnTo>
                  <a:lnTo>
                    <a:pt x="854" y="1266"/>
                  </a:lnTo>
                  <a:lnTo>
                    <a:pt x="858" y="1268"/>
                  </a:lnTo>
                  <a:lnTo>
                    <a:pt x="856" y="1268"/>
                  </a:lnTo>
                  <a:lnTo>
                    <a:pt x="856" y="1270"/>
                  </a:lnTo>
                  <a:lnTo>
                    <a:pt x="856" y="1272"/>
                  </a:lnTo>
                  <a:lnTo>
                    <a:pt x="858" y="1272"/>
                  </a:lnTo>
                  <a:lnTo>
                    <a:pt x="862" y="1274"/>
                  </a:lnTo>
                  <a:lnTo>
                    <a:pt x="860" y="1276"/>
                  </a:lnTo>
                  <a:lnTo>
                    <a:pt x="856" y="1276"/>
                  </a:lnTo>
                  <a:lnTo>
                    <a:pt x="852" y="1276"/>
                  </a:lnTo>
                  <a:lnTo>
                    <a:pt x="844" y="1276"/>
                  </a:lnTo>
                  <a:lnTo>
                    <a:pt x="836" y="1276"/>
                  </a:lnTo>
                  <a:lnTo>
                    <a:pt x="830" y="1276"/>
                  </a:lnTo>
                  <a:lnTo>
                    <a:pt x="826" y="1280"/>
                  </a:lnTo>
                  <a:lnTo>
                    <a:pt x="822" y="1282"/>
                  </a:lnTo>
                  <a:lnTo>
                    <a:pt x="822" y="1276"/>
                  </a:lnTo>
                  <a:lnTo>
                    <a:pt x="818" y="1268"/>
                  </a:lnTo>
                  <a:lnTo>
                    <a:pt x="814" y="1262"/>
                  </a:lnTo>
                  <a:lnTo>
                    <a:pt x="810" y="1262"/>
                  </a:lnTo>
                  <a:lnTo>
                    <a:pt x="806" y="1266"/>
                  </a:lnTo>
                  <a:lnTo>
                    <a:pt x="798" y="1268"/>
                  </a:lnTo>
                  <a:lnTo>
                    <a:pt x="796" y="1268"/>
                  </a:lnTo>
                  <a:lnTo>
                    <a:pt x="794" y="1270"/>
                  </a:lnTo>
                  <a:lnTo>
                    <a:pt x="792" y="1274"/>
                  </a:lnTo>
                  <a:lnTo>
                    <a:pt x="792" y="1276"/>
                  </a:lnTo>
                  <a:lnTo>
                    <a:pt x="790" y="1274"/>
                  </a:lnTo>
                  <a:lnTo>
                    <a:pt x="784" y="1274"/>
                  </a:lnTo>
                  <a:lnTo>
                    <a:pt x="778" y="1274"/>
                  </a:lnTo>
                  <a:lnTo>
                    <a:pt x="762" y="1280"/>
                  </a:lnTo>
                  <a:lnTo>
                    <a:pt x="760" y="1282"/>
                  </a:lnTo>
                  <a:lnTo>
                    <a:pt x="760" y="1284"/>
                  </a:lnTo>
                  <a:lnTo>
                    <a:pt x="766" y="1288"/>
                  </a:lnTo>
                  <a:lnTo>
                    <a:pt x="768" y="1290"/>
                  </a:lnTo>
                  <a:lnTo>
                    <a:pt x="768" y="1292"/>
                  </a:lnTo>
                  <a:lnTo>
                    <a:pt x="766" y="1294"/>
                  </a:lnTo>
                  <a:lnTo>
                    <a:pt x="760" y="1294"/>
                  </a:lnTo>
                  <a:lnTo>
                    <a:pt x="754" y="1296"/>
                  </a:lnTo>
                  <a:lnTo>
                    <a:pt x="752" y="1298"/>
                  </a:lnTo>
                  <a:lnTo>
                    <a:pt x="752" y="1300"/>
                  </a:lnTo>
                  <a:lnTo>
                    <a:pt x="756" y="1302"/>
                  </a:lnTo>
                  <a:lnTo>
                    <a:pt x="746" y="1300"/>
                  </a:lnTo>
                  <a:lnTo>
                    <a:pt x="738" y="1298"/>
                  </a:lnTo>
                  <a:lnTo>
                    <a:pt x="742" y="1300"/>
                  </a:lnTo>
                  <a:lnTo>
                    <a:pt x="744" y="1304"/>
                  </a:lnTo>
                  <a:lnTo>
                    <a:pt x="744" y="1306"/>
                  </a:lnTo>
                  <a:lnTo>
                    <a:pt x="740" y="1308"/>
                  </a:lnTo>
                  <a:lnTo>
                    <a:pt x="728" y="1308"/>
                  </a:lnTo>
                  <a:lnTo>
                    <a:pt x="716" y="1308"/>
                  </a:lnTo>
                  <a:lnTo>
                    <a:pt x="708" y="1306"/>
                  </a:lnTo>
                  <a:lnTo>
                    <a:pt x="704" y="1308"/>
                  </a:lnTo>
                  <a:lnTo>
                    <a:pt x="702" y="1310"/>
                  </a:lnTo>
                  <a:lnTo>
                    <a:pt x="702" y="1316"/>
                  </a:lnTo>
                  <a:lnTo>
                    <a:pt x="704" y="1318"/>
                  </a:lnTo>
                  <a:lnTo>
                    <a:pt x="708" y="1320"/>
                  </a:lnTo>
                  <a:lnTo>
                    <a:pt x="712" y="1320"/>
                  </a:lnTo>
                  <a:lnTo>
                    <a:pt x="718" y="1320"/>
                  </a:lnTo>
                  <a:lnTo>
                    <a:pt x="726" y="1318"/>
                  </a:lnTo>
                  <a:lnTo>
                    <a:pt x="724" y="1320"/>
                  </a:lnTo>
                  <a:lnTo>
                    <a:pt x="720" y="1324"/>
                  </a:lnTo>
                  <a:lnTo>
                    <a:pt x="720" y="1328"/>
                  </a:lnTo>
                  <a:lnTo>
                    <a:pt x="722" y="1332"/>
                  </a:lnTo>
                  <a:lnTo>
                    <a:pt x="724" y="1334"/>
                  </a:lnTo>
                  <a:lnTo>
                    <a:pt x="718" y="1332"/>
                  </a:lnTo>
                  <a:lnTo>
                    <a:pt x="704" y="1328"/>
                  </a:lnTo>
                  <a:lnTo>
                    <a:pt x="696" y="1328"/>
                  </a:lnTo>
                  <a:lnTo>
                    <a:pt x="686" y="1330"/>
                  </a:lnTo>
                  <a:lnTo>
                    <a:pt x="678" y="1334"/>
                  </a:lnTo>
                  <a:lnTo>
                    <a:pt x="676" y="1336"/>
                  </a:lnTo>
                  <a:lnTo>
                    <a:pt x="678" y="1336"/>
                  </a:lnTo>
                  <a:lnTo>
                    <a:pt x="682" y="1338"/>
                  </a:lnTo>
                  <a:lnTo>
                    <a:pt x="694" y="1340"/>
                  </a:lnTo>
                  <a:lnTo>
                    <a:pt x="698" y="1342"/>
                  </a:lnTo>
                  <a:lnTo>
                    <a:pt x="702" y="1344"/>
                  </a:lnTo>
                  <a:lnTo>
                    <a:pt x="704" y="1348"/>
                  </a:lnTo>
                  <a:lnTo>
                    <a:pt x="700" y="1346"/>
                  </a:lnTo>
                  <a:lnTo>
                    <a:pt x="696" y="1344"/>
                  </a:lnTo>
                  <a:lnTo>
                    <a:pt x="692" y="1344"/>
                  </a:lnTo>
                  <a:lnTo>
                    <a:pt x="684" y="1344"/>
                  </a:lnTo>
                  <a:lnTo>
                    <a:pt x="676" y="1346"/>
                  </a:lnTo>
                  <a:lnTo>
                    <a:pt x="668" y="1350"/>
                  </a:lnTo>
                  <a:lnTo>
                    <a:pt x="664" y="1354"/>
                  </a:lnTo>
                  <a:lnTo>
                    <a:pt x="662" y="1356"/>
                  </a:lnTo>
                  <a:lnTo>
                    <a:pt x="662" y="1358"/>
                  </a:lnTo>
                  <a:lnTo>
                    <a:pt x="664" y="1358"/>
                  </a:lnTo>
                  <a:lnTo>
                    <a:pt x="658" y="1358"/>
                  </a:lnTo>
                  <a:lnTo>
                    <a:pt x="654" y="1358"/>
                  </a:lnTo>
                  <a:lnTo>
                    <a:pt x="652" y="1358"/>
                  </a:lnTo>
                  <a:lnTo>
                    <a:pt x="652" y="1360"/>
                  </a:lnTo>
                  <a:lnTo>
                    <a:pt x="654" y="1362"/>
                  </a:lnTo>
                  <a:lnTo>
                    <a:pt x="652" y="1364"/>
                  </a:lnTo>
                  <a:lnTo>
                    <a:pt x="646" y="1362"/>
                  </a:lnTo>
                  <a:lnTo>
                    <a:pt x="628" y="1360"/>
                  </a:lnTo>
                  <a:lnTo>
                    <a:pt x="628" y="1362"/>
                  </a:lnTo>
                  <a:lnTo>
                    <a:pt x="632" y="1366"/>
                  </a:lnTo>
                  <a:lnTo>
                    <a:pt x="632" y="1368"/>
                  </a:lnTo>
                  <a:lnTo>
                    <a:pt x="626" y="1370"/>
                  </a:lnTo>
                  <a:lnTo>
                    <a:pt x="622" y="1370"/>
                  </a:lnTo>
                  <a:lnTo>
                    <a:pt x="624" y="1372"/>
                  </a:lnTo>
                  <a:lnTo>
                    <a:pt x="628" y="1374"/>
                  </a:lnTo>
                  <a:lnTo>
                    <a:pt x="632" y="1376"/>
                  </a:lnTo>
                  <a:lnTo>
                    <a:pt x="644" y="1376"/>
                  </a:lnTo>
                  <a:lnTo>
                    <a:pt x="660" y="1378"/>
                  </a:lnTo>
                  <a:lnTo>
                    <a:pt x="666" y="1378"/>
                  </a:lnTo>
                  <a:lnTo>
                    <a:pt x="674" y="1382"/>
                  </a:lnTo>
                  <a:lnTo>
                    <a:pt x="682" y="1386"/>
                  </a:lnTo>
                  <a:lnTo>
                    <a:pt x="680" y="1386"/>
                  </a:lnTo>
                  <a:lnTo>
                    <a:pt x="672" y="1384"/>
                  </a:lnTo>
                  <a:lnTo>
                    <a:pt x="668" y="1384"/>
                  </a:lnTo>
                  <a:lnTo>
                    <a:pt x="664" y="1386"/>
                  </a:lnTo>
                  <a:lnTo>
                    <a:pt x="662" y="1386"/>
                  </a:lnTo>
                  <a:lnTo>
                    <a:pt x="660" y="1386"/>
                  </a:lnTo>
                  <a:lnTo>
                    <a:pt x="654" y="1382"/>
                  </a:lnTo>
                  <a:lnTo>
                    <a:pt x="648" y="1380"/>
                  </a:lnTo>
                  <a:lnTo>
                    <a:pt x="644" y="1378"/>
                  </a:lnTo>
                  <a:lnTo>
                    <a:pt x="638" y="1380"/>
                  </a:lnTo>
                  <a:lnTo>
                    <a:pt x="630" y="1384"/>
                  </a:lnTo>
                  <a:lnTo>
                    <a:pt x="624" y="1390"/>
                  </a:lnTo>
                  <a:lnTo>
                    <a:pt x="622" y="1394"/>
                  </a:lnTo>
                  <a:lnTo>
                    <a:pt x="624" y="1396"/>
                  </a:lnTo>
                  <a:lnTo>
                    <a:pt x="626" y="1398"/>
                  </a:lnTo>
                  <a:lnTo>
                    <a:pt x="632" y="1404"/>
                  </a:lnTo>
                  <a:lnTo>
                    <a:pt x="628" y="1406"/>
                  </a:lnTo>
                  <a:lnTo>
                    <a:pt x="622" y="1410"/>
                  </a:lnTo>
                  <a:lnTo>
                    <a:pt x="622" y="1412"/>
                  </a:lnTo>
                  <a:lnTo>
                    <a:pt x="624" y="1412"/>
                  </a:lnTo>
                  <a:lnTo>
                    <a:pt x="628" y="1416"/>
                  </a:lnTo>
                  <a:lnTo>
                    <a:pt x="626" y="1418"/>
                  </a:lnTo>
                  <a:lnTo>
                    <a:pt x="626" y="1420"/>
                  </a:lnTo>
                  <a:lnTo>
                    <a:pt x="624" y="1424"/>
                  </a:lnTo>
                  <a:lnTo>
                    <a:pt x="626" y="1426"/>
                  </a:lnTo>
                  <a:lnTo>
                    <a:pt x="628" y="1428"/>
                  </a:lnTo>
                  <a:lnTo>
                    <a:pt x="632" y="1430"/>
                  </a:lnTo>
                  <a:lnTo>
                    <a:pt x="636" y="1430"/>
                  </a:lnTo>
                  <a:lnTo>
                    <a:pt x="642" y="1430"/>
                  </a:lnTo>
                  <a:lnTo>
                    <a:pt x="648" y="1428"/>
                  </a:lnTo>
                  <a:lnTo>
                    <a:pt x="654" y="1424"/>
                  </a:lnTo>
                  <a:lnTo>
                    <a:pt x="660" y="1424"/>
                  </a:lnTo>
                  <a:lnTo>
                    <a:pt x="670" y="1426"/>
                  </a:lnTo>
                  <a:lnTo>
                    <a:pt x="678" y="1428"/>
                  </a:lnTo>
                  <a:lnTo>
                    <a:pt x="680" y="1426"/>
                  </a:lnTo>
                  <a:lnTo>
                    <a:pt x="684" y="1422"/>
                  </a:lnTo>
                  <a:lnTo>
                    <a:pt x="686" y="1420"/>
                  </a:lnTo>
                  <a:lnTo>
                    <a:pt x="688" y="1418"/>
                  </a:lnTo>
                  <a:lnTo>
                    <a:pt x="692" y="1420"/>
                  </a:lnTo>
                  <a:lnTo>
                    <a:pt x="700" y="1424"/>
                  </a:lnTo>
                  <a:lnTo>
                    <a:pt x="704" y="1426"/>
                  </a:lnTo>
                  <a:lnTo>
                    <a:pt x="710" y="1426"/>
                  </a:lnTo>
                  <a:lnTo>
                    <a:pt x="720" y="1424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4" y="1426"/>
                  </a:lnTo>
                  <a:lnTo>
                    <a:pt x="716" y="1430"/>
                  </a:lnTo>
                  <a:lnTo>
                    <a:pt x="710" y="1432"/>
                  </a:lnTo>
                  <a:lnTo>
                    <a:pt x="708" y="1434"/>
                  </a:lnTo>
                  <a:lnTo>
                    <a:pt x="708" y="1436"/>
                  </a:lnTo>
                  <a:lnTo>
                    <a:pt x="708" y="1438"/>
                  </a:lnTo>
                  <a:lnTo>
                    <a:pt x="708" y="1440"/>
                  </a:lnTo>
                  <a:lnTo>
                    <a:pt x="700" y="1434"/>
                  </a:lnTo>
                  <a:lnTo>
                    <a:pt x="694" y="1428"/>
                  </a:lnTo>
                  <a:lnTo>
                    <a:pt x="690" y="1428"/>
                  </a:lnTo>
                  <a:lnTo>
                    <a:pt x="688" y="1428"/>
                  </a:lnTo>
                  <a:lnTo>
                    <a:pt x="686" y="1430"/>
                  </a:lnTo>
                  <a:lnTo>
                    <a:pt x="682" y="1434"/>
                  </a:lnTo>
                  <a:lnTo>
                    <a:pt x="680" y="1434"/>
                  </a:lnTo>
                  <a:lnTo>
                    <a:pt x="676" y="1432"/>
                  </a:lnTo>
                  <a:lnTo>
                    <a:pt x="672" y="1430"/>
                  </a:lnTo>
                  <a:lnTo>
                    <a:pt x="666" y="1430"/>
                  </a:lnTo>
                  <a:lnTo>
                    <a:pt x="656" y="1432"/>
                  </a:lnTo>
                  <a:lnTo>
                    <a:pt x="646" y="1436"/>
                  </a:lnTo>
                  <a:lnTo>
                    <a:pt x="640" y="1436"/>
                  </a:lnTo>
                  <a:lnTo>
                    <a:pt x="636" y="1436"/>
                  </a:lnTo>
                  <a:lnTo>
                    <a:pt x="626" y="1434"/>
                  </a:lnTo>
                  <a:lnTo>
                    <a:pt x="624" y="1436"/>
                  </a:lnTo>
                  <a:lnTo>
                    <a:pt x="626" y="1442"/>
                  </a:lnTo>
                  <a:lnTo>
                    <a:pt x="626" y="1446"/>
                  </a:lnTo>
                  <a:lnTo>
                    <a:pt x="626" y="1448"/>
                  </a:lnTo>
                  <a:lnTo>
                    <a:pt x="632" y="1448"/>
                  </a:lnTo>
                  <a:lnTo>
                    <a:pt x="636" y="1448"/>
                  </a:lnTo>
                  <a:lnTo>
                    <a:pt x="636" y="1450"/>
                  </a:lnTo>
                  <a:lnTo>
                    <a:pt x="638" y="1454"/>
                  </a:lnTo>
                  <a:lnTo>
                    <a:pt x="636" y="1456"/>
                  </a:lnTo>
                  <a:lnTo>
                    <a:pt x="630" y="1454"/>
                  </a:lnTo>
                  <a:lnTo>
                    <a:pt x="626" y="1454"/>
                  </a:lnTo>
                  <a:lnTo>
                    <a:pt x="624" y="1454"/>
                  </a:lnTo>
                  <a:lnTo>
                    <a:pt x="626" y="1458"/>
                  </a:lnTo>
                  <a:lnTo>
                    <a:pt x="628" y="1460"/>
                  </a:lnTo>
                  <a:lnTo>
                    <a:pt x="630" y="1462"/>
                  </a:lnTo>
                  <a:lnTo>
                    <a:pt x="634" y="1462"/>
                  </a:lnTo>
                  <a:lnTo>
                    <a:pt x="638" y="1462"/>
                  </a:lnTo>
                  <a:lnTo>
                    <a:pt x="640" y="1464"/>
                  </a:lnTo>
                  <a:lnTo>
                    <a:pt x="638" y="1468"/>
                  </a:lnTo>
                  <a:lnTo>
                    <a:pt x="638" y="1472"/>
                  </a:lnTo>
                  <a:lnTo>
                    <a:pt x="636" y="1476"/>
                  </a:lnTo>
                  <a:lnTo>
                    <a:pt x="630" y="1478"/>
                  </a:lnTo>
                  <a:lnTo>
                    <a:pt x="626" y="1480"/>
                  </a:lnTo>
                  <a:lnTo>
                    <a:pt x="626" y="1482"/>
                  </a:lnTo>
                  <a:lnTo>
                    <a:pt x="636" y="1490"/>
                  </a:lnTo>
                  <a:lnTo>
                    <a:pt x="638" y="1492"/>
                  </a:lnTo>
                  <a:lnTo>
                    <a:pt x="642" y="1490"/>
                  </a:lnTo>
                  <a:lnTo>
                    <a:pt x="646" y="1488"/>
                  </a:lnTo>
                  <a:lnTo>
                    <a:pt x="648" y="1490"/>
                  </a:lnTo>
                  <a:lnTo>
                    <a:pt x="650" y="1494"/>
                  </a:lnTo>
                  <a:lnTo>
                    <a:pt x="652" y="1492"/>
                  </a:lnTo>
                  <a:lnTo>
                    <a:pt x="654" y="1492"/>
                  </a:lnTo>
                  <a:lnTo>
                    <a:pt x="654" y="1496"/>
                  </a:lnTo>
                  <a:lnTo>
                    <a:pt x="654" y="1500"/>
                  </a:lnTo>
                  <a:lnTo>
                    <a:pt x="654" y="1502"/>
                  </a:lnTo>
                  <a:lnTo>
                    <a:pt x="656" y="1502"/>
                  </a:lnTo>
                  <a:lnTo>
                    <a:pt x="658" y="1502"/>
                  </a:lnTo>
                  <a:lnTo>
                    <a:pt x="658" y="1500"/>
                  </a:lnTo>
                  <a:lnTo>
                    <a:pt x="660" y="1494"/>
                  </a:lnTo>
                  <a:lnTo>
                    <a:pt x="662" y="1488"/>
                  </a:lnTo>
                  <a:lnTo>
                    <a:pt x="662" y="1486"/>
                  </a:lnTo>
                  <a:lnTo>
                    <a:pt x="666" y="1486"/>
                  </a:lnTo>
                  <a:lnTo>
                    <a:pt x="668" y="1486"/>
                  </a:lnTo>
                  <a:lnTo>
                    <a:pt x="670" y="1488"/>
                  </a:lnTo>
                  <a:lnTo>
                    <a:pt x="666" y="1496"/>
                  </a:lnTo>
                  <a:lnTo>
                    <a:pt x="660" y="1504"/>
                  </a:lnTo>
                  <a:lnTo>
                    <a:pt x="654" y="1508"/>
                  </a:lnTo>
                  <a:lnTo>
                    <a:pt x="652" y="1510"/>
                  </a:lnTo>
                  <a:lnTo>
                    <a:pt x="650" y="1512"/>
                  </a:lnTo>
                  <a:lnTo>
                    <a:pt x="654" y="1514"/>
                  </a:lnTo>
                  <a:lnTo>
                    <a:pt x="658" y="1518"/>
                  </a:lnTo>
                  <a:lnTo>
                    <a:pt x="658" y="1520"/>
                  </a:lnTo>
                  <a:lnTo>
                    <a:pt x="656" y="1522"/>
                  </a:lnTo>
                  <a:lnTo>
                    <a:pt x="650" y="1524"/>
                  </a:lnTo>
                  <a:lnTo>
                    <a:pt x="648" y="1522"/>
                  </a:lnTo>
                  <a:lnTo>
                    <a:pt x="644" y="1522"/>
                  </a:lnTo>
                  <a:lnTo>
                    <a:pt x="636" y="1526"/>
                  </a:lnTo>
                  <a:lnTo>
                    <a:pt x="632" y="1530"/>
                  </a:lnTo>
                  <a:lnTo>
                    <a:pt x="632" y="1536"/>
                  </a:lnTo>
                  <a:lnTo>
                    <a:pt x="632" y="1540"/>
                  </a:lnTo>
                  <a:lnTo>
                    <a:pt x="634" y="1544"/>
                  </a:lnTo>
                  <a:lnTo>
                    <a:pt x="640" y="1548"/>
                  </a:lnTo>
                  <a:lnTo>
                    <a:pt x="644" y="1548"/>
                  </a:lnTo>
                  <a:lnTo>
                    <a:pt x="646" y="1548"/>
                  </a:lnTo>
                  <a:lnTo>
                    <a:pt x="646" y="1546"/>
                  </a:lnTo>
                  <a:lnTo>
                    <a:pt x="648" y="1546"/>
                  </a:lnTo>
                  <a:lnTo>
                    <a:pt x="650" y="1546"/>
                  </a:lnTo>
                  <a:lnTo>
                    <a:pt x="654" y="1548"/>
                  </a:lnTo>
                  <a:lnTo>
                    <a:pt x="656" y="1544"/>
                  </a:lnTo>
                  <a:lnTo>
                    <a:pt x="658" y="1542"/>
                  </a:lnTo>
                  <a:lnTo>
                    <a:pt x="660" y="1540"/>
                  </a:lnTo>
                  <a:lnTo>
                    <a:pt x="664" y="1542"/>
                  </a:lnTo>
                  <a:lnTo>
                    <a:pt x="666" y="1544"/>
                  </a:lnTo>
                  <a:lnTo>
                    <a:pt x="664" y="1548"/>
                  </a:lnTo>
                  <a:lnTo>
                    <a:pt x="662" y="1548"/>
                  </a:lnTo>
                  <a:lnTo>
                    <a:pt x="660" y="1550"/>
                  </a:lnTo>
                  <a:lnTo>
                    <a:pt x="660" y="1552"/>
                  </a:lnTo>
                  <a:lnTo>
                    <a:pt x="662" y="1554"/>
                  </a:lnTo>
                  <a:lnTo>
                    <a:pt x="664" y="1556"/>
                  </a:lnTo>
                  <a:lnTo>
                    <a:pt x="662" y="1558"/>
                  </a:lnTo>
                  <a:lnTo>
                    <a:pt x="660" y="1560"/>
                  </a:lnTo>
                  <a:lnTo>
                    <a:pt x="660" y="1562"/>
                  </a:lnTo>
                  <a:lnTo>
                    <a:pt x="662" y="1564"/>
                  </a:lnTo>
                  <a:lnTo>
                    <a:pt x="662" y="1568"/>
                  </a:lnTo>
                  <a:lnTo>
                    <a:pt x="658" y="1570"/>
                  </a:lnTo>
                  <a:lnTo>
                    <a:pt x="654" y="1572"/>
                  </a:lnTo>
                  <a:lnTo>
                    <a:pt x="652" y="1570"/>
                  </a:lnTo>
                  <a:lnTo>
                    <a:pt x="648" y="1568"/>
                  </a:lnTo>
                  <a:lnTo>
                    <a:pt x="646" y="1566"/>
                  </a:lnTo>
                  <a:lnTo>
                    <a:pt x="644" y="1576"/>
                  </a:lnTo>
                  <a:lnTo>
                    <a:pt x="642" y="1586"/>
                  </a:lnTo>
                  <a:lnTo>
                    <a:pt x="646" y="1592"/>
                  </a:lnTo>
                  <a:lnTo>
                    <a:pt x="652" y="1598"/>
                  </a:lnTo>
                  <a:lnTo>
                    <a:pt x="658" y="1600"/>
                  </a:lnTo>
                  <a:lnTo>
                    <a:pt x="662" y="1600"/>
                  </a:lnTo>
                  <a:lnTo>
                    <a:pt x="664" y="1604"/>
                  </a:lnTo>
                  <a:lnTo>
                    <a:pt x="668" y="1608"/>
                  </a:lnTo>
                  <a:lnTo>
                    <a:pt x="674" y="1612"/>
                  </a:lnTo>
                  <a:lnTo>
                    <a:pt x="688" y="1616"/>
                  </a:lnTo>
                  <a:lnTo>
                    <a:pt x="690" y="1618"/>
                  </a:lnTo>
                  <a:lnTo>
                    <a:pt x="688" y="1620"/>
                  </a:lnTo>
                  <a:lnTo>
                    <a:pt x="688" y="1624"/>
                  </a:lnTo>
                  <a:lnTo>
                    <a:pt x="690" y="1626"/>
                  </a:lnTo>
                  <a:lnTo>
                    <a:pt x="692" y="1628"/>
                  </a:lnTo>
                  <a:lnTo>
                    <a:pt x="694" y="1628"/>
                  </a:lnTo>
                  <a:lnTo>
                    <a:pt x="696" y="1626"/>
                  </a:lnTo>
                  <a:lnTo>
                    <a:pt x="700" y="1626"/>
                  </a:lnTo>
                  <a:lnTo>
                    <a:pt x="704" y="1630"/>
                  </a:lnTo>
                  <a:lnTo>
                    <a:pt x="706" y="1632"/>
                  </a:lnTo>
                  <a:lnTo>
                    <a:pt x="710" y="1630"/>
                  </a:lnTo>
                  <a:lnTo>
                    <a:pt x="720" y="1628"/>
                  </a:lnTo>
                  <a:lnTo>
                    <a:pt x="734" y="1628"/>
                  </a:lnTo>
                  <a:lnTo>
                    <a:pt x="746" y="1626"/>
                  </a:lnTo>
                  <a:lnTo>
                    <a:pt x="752" y="1624"/>
                  </a:lnTo>
                  <a:lnTo>
                    <a:pt x="756" y="1620"/>
                  </a:lnTo>
                  <a:lnTo>
                    <a:pt x="760" y="1618"/>
                  </a:lnTo>
                  <a:lnTo>
                    <a:pt x="766" y="1614"/>
                  </a:lnTo>
                  <a:lnTo>
                    <a:pt x="774" y="1608"/>
                  </a:lnTo>
                  <a:lnTo>
                    <a:pt x="780" y="1600"/>
                  </a:lnTo>
                  <a:lnTo>
                    <a:pt x="782" y="1596"/>
                  </a:lnTo>
                  <a:lnTo>
                    <a:pt x="784" y="1594"/>
                  </a:lnTo>
                  <a:lnTo>
                    <a:pt x="790" y="1592"/>
                  </a:lnTo>
                  <a:lnTo>
                    <a:pt x="792" y="1592"/>
                  </a:lnTo>
                  <a:lnTo>
                    <a:pt x="794" y="1588"/>
                  </a:lnTo>
                  <a:lnTo>
                    <a:pt x="794" y="1586"/>
                  </a:lnTo>
                  <a:lnTo>
                    <a:pt x="796" y="1586"/>
                  </a:lnTo>
                  <a:lnTo>
                    <a:pt x="800" y="1584"/>
                  </a:lnTo>
                  <a:lnTo>
                    <a:pt x="804" y="1582"/>
                  </a:lnTo>
                  <a:lnTo>
                    <a:pt x="800" y="1578"/>
                  </a:lnTo>
                  <a:lnTo>
                    <a:pt x="798" y="1576"/>
                  </a:lnTo>
                  <a:lnTo>
                    <a:pt x="802" y="1574"/>
                  </a:lnTo>
                  <a:lnTo>
                    <a:pt x="810" y="1572"/>
                  </a:lnTo>
                  <a:lnTo>
                    <a:pt x="812" y="1570"/>
                  </a:lnTo>
                  <a:lnTo>
                    <a:pt x="812" y="1566"/>
                  </a:lnTo>
                  <a:lnTo>
                    <a:pt x="812" y="1562"/>
                  </a:lnTo>
                  <a:lnTo>
                    <a:pt x="816" y="1564"/>
                  </a:lnTo>
                  <a:lnTo>
                    <a:pt x="820" y="1568"/>
                  </a:lnTo>
                  <a:lnTo>
                    <a:pt x="822" y="1570"/>
                  </a:lnTo>
                  <a:lnTo>
                    <a:pt x="824" y="1568"/>
                  </a:lnTo>
                  <a:lnTo>
                    <a:pt x="828" y="1566"/>
                  </a:lnTo>
                  <a:lnTo>
                    <a:pt x="834" y="1566"/>
                  </a:lnTo>
                  <a:lnTo>
                    <a:pt x="838" y="1564"/>
                  </a:lnTo>
                  <a:lnTo>
                    <a:pt x="838" y="1558"/>
                  </a:lnTo>
                  <a:lnTo>
                    <a:pt x="838" y="1554"/>
                  </a:lnTo>
                  <a:lnTo>
                    <a:pt x="840" y="1552"/>
                  </a:lnTo>
                  <a:lnTo>
                    <a:pt x="844" y="1550"/>
                  </a:lnTo>
                  <a:lnTo>
                    <a:pt x="846" y="1548"/>
                  </a:lnTo>
                  <a:lnTo>
                    <a:pt x="842" y="1540"/>
                  </a:lnTo>
                  <a:lnTo>
                    <a:pt x="840" y="1536"/>
                  </a:lnTo>
                  <a:lnTo>
                    <a:pt x="838" y="1532"/>
                  </a:lnTo>
                  <a:lnTo>
                    <a:pt x="840" y="1528"/>
                  </a:lnTo>
                  <a:lnTo>
                    <a:pt x="844" y="1532"/>
                  </a:lnTo>
                  <a:lnTo>
                    <a:pt x="846" y="1534"/>
                  </a:lnTo>
                  <a:lnTo>
                    <a:pt x="848" y="1534"/>
                  </a:lnTo>
                  <a:lnTo>
                    <a:pt x="850" y="1530"/>
                  </a:lnTo>
                  <a:lnTo>
                    <a:pt x="850" y="1528"/>
                  </a:lnTo>
                  <a:lnTo>
                    <a:pt x="852" y="1530"/>
                  </a:lnTo>
                  <a:lnTo>
                    <a:pt x="852" y="1536"/>
                  </a:lnTo>
                  <a:lnTo>
                    <a:pt x="850" y="1538"/>
                  </a:lnTo>
                  <a:lnTo>
                    <a:pt x="850" y="1540"/>
                  </a:lnTo>
                  <a:lnTo>
                    <a:pt x="852" y="1542"/>
                  </a:lnTo>
                  <a:lnTo>
                    <a:pt x="854" y="1548"/>
                  </a:lnTo>
                  <a:lnTo>
                    <a:pt x="854" y="1552"/>
                  </a:lnTo>
                  <a:lnTo>
                    <a:pt x="856" y="1554"/>
                  </a:lnTo>
                  <a:lnTo>
                    <a:pt x="862" y="1556"/>
                  </a:lnTo>
                  <a:lnTo>
                    <a:pt x="866" y="1556"/>
                  </a:lnTo>
                  <a:lnTo>
                    <a:pt x="866" y="1558"/>
                  </a:lnTo>
                  <a:lnTo>
                    <a:pt x="868" y="1558"/>
                  </a:lnTo>
                  <a:lnTo>
                    <a:pt x="876" y="1560"/>
                  </a:lnTo>
                  <a:lnTo>
                    <a:pt x="874" y="1564"/>
                  </a:lnTo>
                  <a:lnTo>
                    <a:pt x="872" y="1566"/>
                  </a:lnTo>
                  <a:lnTo>
                    <a:pt x="872" y="1570"/>
                  </a:lnTo>
                  <a:lnTo>
                    <a:pt x="874" y="1576"/>
                  </a:lnTo>
                  <a:lnTo>
                    <a:pt x="876" y="1584"/>
                  </a:lnTo>
                  <a:lnTo>
                    <a:pt x="876" y="1594"/>
                  </a:lnTo>
                  <a:lnTo>
                    <a:pt x="876" y="1602"/>
                  </a:lnTo>
                  <a:lnTo>
                    <a:pt x="876" y="1608"/>
                  </a:lnTo>
                  <a:lnTo>
                    <a:pt x="878" y="1612"/>
                  </a:lnTo>
                  <a:lnTo>
                    <a:pt x="882" y="1616"/>
                  </a:lnTo>
                  <a:lnTo>
                    <a:pt x="886" y="1616"/>
                  </a:lnTo>
                  <a:lnTo>
                    <a:pt x="890" y="1614"/>
                  </a:lnTo>
                  <a:lnTo>
                    <a:pt x="896" y="1610"/>
                  </a:lnTo>
                  <a:lnTo>
                    <a:pt x="898" y="1612"/>
                  </a:lnTo>
                  <a:lnTo>
                    <a:pt x="900" y="1614"/>
                  </a:lnTo>
                  <a:lnTo>
                    <a:pt x="902" y="1618"/>
                  </a:lnTo>
                  <a:lnTo>
                    <a:pt x="902" y="1622"/>
                  </a:lnTo>
                  <a:lnTo>
                    <a:pt x="900" y="1628"/>
                  </a:lnTo>
                  <a:lnTo>
                    <a:pt x="896" y="1638"/>
                  </a:lnTo>
                  <a:lnTo>
                    <a:pt x="898" y="1644"/>
                  </a:lnTo>
                  <a:lnTo>
                    <a:pt x="900" y="1652"/>
                  </a:lnTo>
                  <a:lnTo>
                    <a:pt x="906" y="1672"/>
                  </a:lnTo>
                  <a:lnTo>
                    <a:pt x="916" y="1694"/>
                  </a:lnTo>
                  <a:lnTo>
                    <a:pt x="928" y="1710"/>
                  </a:lnTo>
                  <a:lnTo>
                    <a:pt x="932" y="1716"/>
                  </a:lnTo>
                  <a:lnTo>
                    <a:pt x="936" y="1716"/>
                  </a:lnTo>
                  <a:lnTo>
                    <a:pt x="942" y="1716"/>
                  </a:lnTo>
                  <a:lnTo>
                    <a:pt x="944" y="1718"/>
                  </a:lnTo>
                  <a:lnTo>
                    <a:pt x="944" y="1720"/>
                  </a:lnTo>
                  <a:lnTo>
                    <a:pt x="942" y="1726"/>
                  </a:lnTo>
                  <a:lnTo>
                    <a:pt x="934" y="1728"/>
                  </a:lnTo>
                  <a:lnTo>
                    <a:pt x="932" y="1730"/>
                  </a:lnTo>
                  <a:lnTo>
                    <a:pt x="934" y="1732"/>
                  </a:lnTo>
                  <a:lnTo>
                    <a:pt x="936" y="1738"/>
                  </a:lnTo>
                  <a:lnTo>
                    <a:pt x="938" y="1742"/>
                  </a:lnTo>
                  <a:lnTo>
                    <a:pt x="932" y="1740"/>
                  </a:lnTo>
                  <a:lnTo>
                    <a:pt x="926" y="1740"/>
                  </a:lnTo>
                  <a:lnTo>
                    <a:pt x="934" y="1752"/>
                  </a:lnTo>
                  <a:lnTo>
                    <a:pt x="940" y="1760"/>
                  </a:lnTo>
                  <a:lnTo>
                    <a:pt x="944" y="1768"/>
                  </a:lnTo>
                  <a:lnTo>
                    <a:pt x="946" y="1778"/>
                  </a:lnTo>
                  <a:lnTo>
                    <a:pt x="946" y="1782"/>
                  </a:lnTo>
                  <a:lnTo>
                    <a:pt x="944" y="1786"/>
                  </a:lnTo>
                  <a:lnTo>
                    <a:pt x="940" y="1792"/>
                  </a:lnTo>
                  <a:lnTo>
                    <a:pt x="942" y="1796"/>
                  </a:lnTo>
                  <a:lnTo>
                    <a:pt x="946" y="1798"/>
                  </a:lnTo>
                  <a:lnTo>
                    <a:pt x="954" y="1798"/>
                  </a:lnTo>
                  <a:lnTo>
                    <a:pt x="972" y="1796"/>
                  </a:lnTo>
                  <a:lnTo>
                    <a:pt x="982" y="1794"/>
                  </a:lnTo>
                  <a:lnTo>
                    <a:pt x="990" y="1794"/>
                  </a:lnTo>
                  <a:lnTo>
                    <a:pt x="996" y="1794"/>
                  </a:lnTo>
                  <a:lnTo>
                    <a:pt x="998" y="1788"/>
                  </a:lnTo>
                  <a:lnTo>
                    <a:pt x="1000" y="1774"/>
                  </a:lnTo>
                  <a:lnTo>
                    <a:pt x="1000" y="1768"/>
                  </a:lnTo>
                  <a:lnTo>
                    <a:pt x="1002" y="1760"/>
                  </a:lnTo>
                  <a:lnTo>
                    <a:pt x="1004" y="1756"/>
                  </a:lnTo>
                  <a:lnTo>
                    <a:pt x="1010" y="1756"/>
                  </a:lnTo>
                  <a:lnTo>
                    <a:pt x="1018" y="1756"/>
                  </a:lnTo>
                  <a:lnTo>
                    <a:pt x="1018" y="1754"/>
                  </a:lnTo>
                  <a:lnTo>
                    <a:pt x="1018" y="1752"/>
                  </a:lnTo>
                  <a:lnTo>
                    <a:pt x="1020" y="1750"/>
                  </a:lnTo>
                  <a:lnTo>
                    <a:pt x="1024" y="1748"/>
                  </a:lnTo>
                  <a:lnTo>
                    <a:pt x="1034" y="1746"/>
                  </a:lnTo>
                  <a:lnTo>
                    <a:pt x="1042" y="1746"/>
                  </a:lnTo>
                  <a:lnTo>
                    <a:pt x="1050" y="1746"/>
                  </a:lnTo>
                  <a:lnTo>
                    <a:pt x="1058" y="1750"/>
                  </a:lnTo>
                  <a:lnTo>
                    <a:pt x="1062" y="1750"/>
                  </a:lnTo>
                  <a:lnTo>
                    <a:pt x="1064" y="1750"/>
                  </a:lnTo>
                  <a:lnTo>
                    <a:pt x="1070" y="1736"/>
                  </a:lnTo>
                  <a:lnTo>
                    <a:pt x="1076" y="1720"/>
                  </a:lnTo>
                  <a:lnTo>
                    <a:pt x="1082" y="1708"/>
                  </a:lnTo>
                  <a:lnTo>
                    <a:pt x="1086" y="1700"/>
                  </a:lnTo>
                  <a:lnTo>
                    <a:pt x="1088" y="1692"/>
                  </a:lnTo>
                  <a:lnTo>
                    <a:pt x="1088" y="1684"/>
                  </a:lnTo>
                  <a:lnTo>
                    <a:pt x="1090" y="1676"/>
                  </a:lnTo>
                  <a:lnTo>
                    <a:pt x="1092" y="1666"/>
                  </a:lnTo>
                  <a:lnTo>
                    <a:pt x="1092" y="1658"/>
                  </a:lnTo>
                  <a:lnTo>
                    <a:pt x="1090" y="1654"/>
                  </a:lnTo>
                  <a:lnTo>
                    <a:pt x="1092" y="1650"/>
                  </a:lnTo>
                  <a:lnTo>
                    <a:pt x="1094" y="1644"/>
                  </a:lnTo>
                  <a:lnTo>
                    <a:pt x="1098" y="1638"/>
                  </a:lnTo>
                  <a:lnTo>
                    <a:pt x="1098" y="1634"/>
                  </a:lnTo>
                  <a:lnTo>
                    <a:pt x="1098" y="1632"/>
                  </a:lnTo>
                  <a:lnTo>
                    <a:pt x="1096" y="1626"/>
                  </a:lnTo>
                  <a:lnTo>
                    <a:pt x="1098" y="1622"/>
                  </a:lnTo>
                  <a:lnTo>
                    <a:pt x="1100" y="1618"/>
                  </a:lnTo>
                  <a:lnTo>
                    <a:pt x="1098" y="1610"/>
                  </a:lnTo>
                  <a:lnTo>
                    <a:pt x="1096" y="1606"/>
                  </a:lnTo>
                  <a:lnTo>
                    <a:pt x="1096" y="1604"/>
                  </a:lnTo>
                  <a:lnTo>
                    <a:pt x="1098" y="1604"/>
                  </a:lnTo>
                  <a:lnTo>
                    <a:pt x="1100" y="1602"/>
                  </a:lnTo>
                  <a:lnTo>
                    <a:pt x="1102" y="1600"/>
                  </a:lnTo>
                  <a:lnTo>
                    <a:pt x="1100" y="1598"/>
                  </a:lnTo>
                  <a:lnTo>
                    <a:pt x="1100" y="1596"/>
                  </a:lnTo>
                  <a:lnTo>
                    <a:pt x="1102" y="1592"/>
                  </a:lnTo>
                  <a:lnTo>
                    <a:pt x="1112" y="1588"/>
                  </a:lnTo>
                  <a:lnTo>
                    <a:pt x="1124" y="1582"/>
                  </a:lnTo>
                  <a:lnTo>
                    <a:pt x="1130" y="1578"/>
                  </a:lnTo>
                  <a:lnTo>
                    <a:pt x="1132" y="1574"/>
                  </a:lnTo>
                  <a:lnTo>
                    <a:pt x="1134" y="1570"/>
                  </a:lnTo>
                  <a:lnTo>
                    <a:pt x="1134" y="1568"/>
                  </a:lnTo>
                  <a:lnTo>
                    <a:pt x="1138" y="1572"/>
                  </a:lnTo>
                  <a:lnTo>
                    <a:pt x="1142" y="1576"/>
                  </a:lnTo>
                  <a:lnTo>
                    <a:pt x="1144" y="1574"/>
                  </a:lnTo>
                  <a:lnTo>
                    <a:pt x="1146" y="1572"/>
                  </a:lnTo>
                  <a:lnTo>
                    <a:pt x="1152" y="1566"/>
                  </a:lnTo>
                  <a:lnTo>
                    <a:pt x="1158" y="1562"/>
                  </a:lnTo>
                  <a:lnTo>
                    <a:pt x="1164" y="1560"/>
                  </a:lnTo>
                  <a:lnTo>
                    <a:pt x="1164" y="1558"/>
                  </a:lnTo>
                  <a:lnTo>
                    <a:pt x="1164" y="1556"/>
                  </a:lnTo>
                  <a:lnTo>
                    <a:pt x="1166" y="1554"/>
                  </a:lnTo>
                  <a:lnTo>
                    <a:pt x="1170" y="1552"/>
                  </a:lnTo>
                  <a:lnTo>
                    <a:pt x="1172" y="1550"/>
                  </a:lnTo>
                  <a:lnTo>
                    <a:pt x="1172" y="1548"/>
                  </a:lnTo>
                  <a:lnTo>
                    <a:pt x="1172" y="1546"/>
                  </a:lnTo>
                  <a:lnTo>
                    <a:pt x="1170" y="1542"/>
                  </a:lnTo>
                  <a:lnTo>
                    <a:pt x="1168" y="1540"/>
                  </a:lnTo>
                  <a:lnTo>
                    <a:pt x="1164" y="1540"/>
                  </a:lnTo>
                  <a:lnTo>
                    <a:pt x="1152" y="1546"/>
                  </a:lnTo>
                  <a:lnTo>
                    <a:pt x="1144" y="1550"/>
                  </a:lnTo>
                  <a:lnTo>
                    <a:pt x="1136" y="1550"/>
                  </a:lnTo>
                  <a:lnTo>
                    <a:pt x="1128" y="1550"/>
                  </a:lnTo>
                  <a:lnTo>
                    <a:pt x="1122" y="1546"/>
                  </a:lnTo>
                  <a:lnTo>
                    <a:pt x="1112" y="1540"/>
                  </a:lnTo>
                  <a:lnTo>
                    <a:pt x="1104" y="1538"/>
                  </a:lnTo>
                  <a:lnTo>
                    <a:pt x="1094" y="1538"/>
                  </a:lnTo>
                  <a:lnTo>
                    <a:pt x="1086" y="1538"/>
                  </a:lnTo>
                  <a:lnTo>
                    <a:pt x="1076" y="1538"/>
                  </a:lnTo>
                  <a:lnTo>
                    <a:pt x="1084" y="1534"/>
                  </a:lnTo>
                  <a:lnTo>
                    <a:pt x="1092" y="1530"/>
                  </a:lnTo>
                  <a:lnTo>
                    <a:pt x="1098" y="1530"/>
                  </a:lnTo>
                  <a:lnTo>
                    <a:pt x="1110" y="1530"/>
                  </a:lnTo>
                  <a:lnTo>
                    <a:pt x="1118" y="1534"/>
                  </a:lnTo>
                  <a:lnTo>
                    <a:pt x="1122" y="1534"/>
                  </a:lnTo>
                  <a:lnTo>
                    <a:pt x="1124" y="1532"/>
                  </a:lnTo>
                  <a:lnTo>
                    <a:pt x="1126" y="1532"/>
                  </a:lnTo>
                  <a:lnTo>
                    <a:pt x="1128" y="1532"/>
                  </a:lnTo>
                  <a:lnTo>
                    <a:pt x="1134" y="1538"/>
                  </a:lnTo>
                  <a:lnTo>
                    <a:pt x="1142" y="1544"/>
                  </a:lnTo>
                  <a:lnTo>
                    <a:pt x="1146" y="1544"/>
                  </a:lnTo>
                  <a:lnTo>
                    <a:pt x="1150" y="1542"/>
                  </a:lnTo>
                  <a:lnTo>
                    <a:pt x="1178" y="1528"/>
                  </a:lnTo>
                  <a:lnTo>
                    <a:pt x="1190" y="1518"/>
                  </a:lnTo>
                  <a:lnTo>
                    <a:pt x="1192" y="1516"/>
                  </a:lnTo>
                  <a:lnTo>
                    <a:pt x="1192" y="1512"/>
                  </a:lnTo>
                  <a:lnTo>
                    <a:pt x="1184" y="1500"/>
                  </a:lnTo>
                  <a:lnTo>
                    <a:pt x="1178" y="1496"/>
                  </a:lnTo>
                  <a:lnTo>
                    <a:pt x="1172" y="1496"/>
                  </a:lnTo>
                  <a:lnTo>
                    <a:pt x="1168" y="1496"/>
                  </a:lnTo>
                  <a:lnTo>
                    <a:pt x="1168" y="1494"/>
                  </a:lnTo>
                  <a:lnTo>
                    <a:pt x="1168" y="1490"/>
                  </a:lnTo>
                  <a:lnTo>
                    <a:pt x="1170" y="1484"/>
                  </a:lnTo>
                  <a:lnTo>
                    <a:pt x="1168" y="1482"/>
                  </a:lnTo>
                  <a:lnTo>
                    <a:pt x="1164" y="1480"/>
                  </a:lnTo>
                  <a:lnTo>
                    <a:pt x="1158" y="1476"/>
                  </a:lnTo>
                  <a:lnTo>
                    <a:pt x="1154" y="1472"/>
                  </a:lnTo>
                  <a:lnTo>
                    <a:pt x="1148" y="1468"/>
                  </a:lnTo>
                  <a:lnTo>
                    <a:pt x="1144" y="1466"/>
                  </a:lnTo>
                  <a:lnTo>
                    <a:pt x="1138" y="1468"/>
                  </a:lnTo>
                  <a:lnTo>
                    <a:pt x="1132" y="1468"/>
                  </a:lnTo>
                  <a:lnTo>
                    <a:pt x="1132" y="1466"/>
                  </a:lnTo>
                  <a:lnTo>
                    <a:pt x="1132" y="1462"/>
                  </a:lnTo>
                  <a:lnTo>
                    <a:pt x="1130" y="1462"/>
                  </a:lnTo>
                  <a:lnTo>
                    <a:pt x="1126" y="1460"/>
                  </a:lnTo>
                  <a:lnTo>
                    <a:pt x="1124" y="1460"/>
                  </a:lnTo>
                  <a:lnTo>
                    <a:pt x="1122" y="1458"/>
                  </a:lnTo>
                  <a:lnTo>
                    <a:pt x="1118" y="1450"/>
                  </a:lnTo>
                  <a:lnTo>
                    <a:pt x="1116" y="1440"/>
                  </a:lnTo>
                  <a:lnTo>
                    <a:pt x="1116" y="1428"/>
                  </a:lnTo>
                  <a:lnTo>
                    <a:pt x="1116" y="1416"/>
                  </a:lnTo>
                  <a:lnTo>
                    <a:pt x="1116" y="1406"/>
                  </a:lnTo>
                  <a:lnTo>
                    <a:pt x="1120" y="1398"/>
                  </a:lnTo>
                  <a:lnTo>
                    <a:pt x="1120" y="1396"/>
                  </a:lnTo>
                  <a:lnTo>
                    <a:pt x="1124" y="1396"/>
                  </a:lnTo>
                  <a:lnTo>
                    <a:pt x="1126" y="1394"/>
                  </a:lnTo>
                  <a:lnTo>
                    <a:pt x="1128" y="1392"/>
                  </a:lnTo>
                  <a:lnTo>
                    <a:pt x="1126" y="1386"/>
                  </a:lnTo>
                  <a:lnTo>
                    <a:pt x="1126" y="1374"/>
                  </a:lnTo>
                  <a:lnTo>
                    <a:pt x="1126" y="1368"/>
                  </a:lnTo>
                  <a:lnTo>
                    <a:pt x="1128" y="1360"/>
                  </a:lnTo>
                  <a:lnTo>
                    <a:pt x="1132" y="1356"/>
                  </a:lnTo>
                  <a:lnTo>
                    <a:pt x="1132" y="1352"/>
                  </a:lnTo>
                  <a:lnTo>
                    <a:pt x="1130" y="1352"/>
                  </a:lnTo>
                  <a:lnTo>
                    <a:pt x="1128" y="1350"/>
                  </a:lnTo>
                  <a:lnTo>
                    <a:pt x="1124" y="1350"/>
                  </a:lnTo>
                  <a:lnTo>
                    <a:pt x="1122" y="1348"/>
                  </a:lnTo>
                  <a:lnTo>
                    <a:pt x="1122" y="1342"/>
                  </a:lnTo>
                  <a:lnTo>
                    <a:pt x="1122" y="1336"/>
                  </a:lnTo>
                  <a:lnTo>
                    <a:pt x="1124" y="1338"/>
                  </a:lnTo>
                  <a:lnTo>
                    <a:pt x="1130" y="1340"/>
                  </a:lnTo>
                  <a:lnTo>
                    <a:pt x="1136" y="1340"/>
                  </a:lnTo>
                  <a:lnTo>
                    <a:pt x="1142" y="1338"/>
                  </a:lnTo>
                  <a:lnTo>
                    <a:pt x="1148" y="1334"/>
                  </a:lnTo>
                  <a:lnTo>
                    <a:pt x="1148" y="1332"/>
                  </a:lnTo>
                  <a:lnTo>
                    <a:pt x="1148" y="1330"/>
                  </a:lnTo>
                  <a:lnTo>
                    <a:pt x="1146" y="1326"/>
                  </a:lnTo>
                  <a:lnTo>
                    <a:pt x="1144" y="1324"/>
                  </a:lnTo>
                  <a:lnTo>
                    <a:pt x="1142" y="1322"/>
                  </a:lnTo>
                  <a:lnTo>
                    <a:pt x="1144" y="1322"/>
                  </a:lnTo>
                  <a:lnTo>
                    <a:pt x="1152" y="1320"/>
                  </a:lnTo>
                  <a:lnTo>
                    <a:pt x="1160" y="1318"/>
                  </a:lnTo>
                  <a:lnTo>
                    <a:pt x="1166" y="1312"/>
                  </a:lnTo>
                  <a:lnTo>
                    <a:pt x="1170" y="1308"/>
                  </a:lnTo>
                  <a:lnTo>
                    <a:pt x="1172" y="1302"/>
                  </a:lnTo>
                  <a:lnTo>
                    <a:pt x="1178" y="1294"/>
                  </a:lnTo>
                  <a:lnTo>
                    <a:pt x="1180" y="1292"/>
                  </a:lnTo>
                  <a:lnTo>
                    <a:pt x="1186" y="1292"/>
                  </a:lnTo>
                  <a:lnTo>
                    <a:pt x="1190" y="1294"/>
                  </a:lnTo>
                  <a:lnTo>
                    <a:pt x="1194" y="1292"/>
                  </a:lnTo>
                  <a:lnTo>
                    <a:pt x="1196" y="1286"/>
                  </a:lnTo>
                  <a:lnTo>
                    <a:pt x="1200" y="1278"/>
                  </a:lnTo>
                  <a:lnTo>
                    <a:pt x="1204" y="1274"/>
                  </a:lnTo>
                  <a:lnTo>
                    <a:pt x="1208" y="1274"/>
                  </a:lnTo>
                  <a:lnTo>
                    <a:pt x="1214" y="1274"/>
                  </a:lnTo>
                  <a:lnTo>
                    <a:pt x="1218" y="1274"/>
                  </a:lnTo>
                  <a:lnTo>
                    <a:pt x="1222" y="1268"/>
                  </a:lnTo>
                  <a:lnTo>
                    <a:pt x="1226" y="1264"/>
                  </a:lnTo>
                  <a:lnTo>
                    <a:pt x="1228" y="1264"/>
                  </a:lnTo>
                  <a:lnTo>
                    <a:pt x="1232" y="1264"/>
                  </a:lnTo>
                  <a:lnTo>
                    <a:pt x="1236" y="1264"/>
                  </a:lnTo>
                  <a:lnTo>
                    <a:pt x="1238" y="1264"/>
                  </a:lnTo>
                  <a:lnTo>
                    <a:pt x="1240" y="1260"/>
                  </a:lnTo>
                  <a:lnTo>
                    <a:pt x="1244" y="1254"/>
                  </a:lnTo>
                  <a:lnTo>
                    <a:pt x="1246" y="1254"/>
                  </a:lnTo>
                  <a:lnTo>
                    <a:pt x="1250" y="1254"/>
                  </a:lnTo>
                  <a:lnTo>
                    <a:pt x="1254" y="1252"/>
                  </a:lnTo>
                  <a:lnTo>
                    <a:pt x="1258" y="1250"/>
                  </a:lnTo>
                  <a:lnTo>
                    <a:pt x="1262" y="1240"/>
                  </a:lnTo>
                  <a:lnTo>
                    <a:pt x="1268" y="1226"/>
                  </a:lnTo>
                  <a:lnTo>
                    <a:pt x="1274" y="1220"/>
                  </a:lnTo>
                  <a:lnTo>
                    <a:pt x="1284" y="1214"/>
                  </a:lnTo>
                  <a:lnTo>
                    <a:pt x="1290" y="1208"/>
                  </a:lnTo>
                  <a:lnTo>
                    <a:pt x="1292" y="1206"/>
                  </a:lnTo>
                  <a:lnTo>
                    <a:pt x="1292" y="1204"/>
                  </a:lnTo>
                  <a:lnTo>
                    <a:pt x="1290" y="1202"/>
                  </a:lnTo>
                  <a:lnTo>
                    <a:pt x="1284" y="1198"/>
                  </a:lnTo>
                  <a:lnTo>
                    <a:pt x="1280" y="1194"/>
                  </a:lnTo>
                  <a:lnTo>
                    <a:pt x="1276" y="1190"/>
                  </a:lnTo>
                  <a:lnTo>
                    <a:pt x="1276" y="1184"/>
                  </a:lnTo>
                  <a:lnTo>
                    <a:pt x="1276" y="1180"/>
                  </a:lnTo>
                  <a:lnTo>
                    <a:pt x="1282" y="1174"/>
                  </a:lnTo>
                  <a:lnTo>
                    <a:pt x="1288" y="1168"/>
                  </a:lnTo>
                  <a:lnTo>
                    <a:pt x="1290" y="1164"/>
                  </a:lnTo>
                  <a:lnTo>
                    <a:pt x="1292" y="1156"/>
                  </a:lnTo>
                  <a:lnTo>
                    <a:pt x="1292" y="1150"/>
                  </a:lnTo>
                  <a:lnTo>
                    <a:pt x="1294" y="1146"/>
                  </a:lnTo>
                  <a:lnTo>
                    <a:pt x="1298" y="1144"/>
                  </a:lnTo>
                  <a:lnTo>
                    <a:pt x="1300" y="1144"/>
                  </a:lnTo>
                  <a:lnTo>
                    <a:pt x="1306" y="1142"/>
                  </a:lnTo>
                  <a:lnTo>
                    <a:pt x="1310" y="1140"/>
                  </a:lnTo>
                  <a:lnTo>
                    <a:pt x="1310" y="1138"/>
                  </a:lnTo>
                  <a:lnTo>
                    <a:pt x="1314" y="1132"/>
                  </a:lnTo>
                  <a:lnTo>
                    <a:pt x="1320" y="1126"/>
                  </a:lnTo>
                  <a:lnTo>
                    <a:pt x="1338" y="1114"/>
                  </a:lnTo>
                  <a:lnTo>
                    <a:pt x="1340" y="1112"/>
                  </a:lnTo>
                  <a:lnTo>
                    <a:pt x="1344" y="1112"/>
                  </a:lnTo>
                  <a:lnTo>
                    <a:pt x="1346" y="1116"/>
                  </a:lnTo>
                  <a:lnTo>
                    <a:pt x="1348" y="1118"/>
                  </a:lnTo>
                  <a:lnTo>
                    <a:pt x="1350" y="1120"/>
                  </a:lnTo>
                  <a:lnTo>
                    <a:pt x="1354" y="1120"/>
                  </a:lnTo>
                  <a:lnTo>
                    <a:pt x="1358" y="1118"/>
                  </a:lnTo>
                  <a:lnTo>
                    <a:pt x="1364" y="1116"/>
                  </a:lnTo>
                  <a:lnTo>
                    <a:pt x="1368" y="1116"/>
                  </a:lnTo>
                  <a:lnTo>
                    <a:pt x="1378" y="1116"/>
                  </a:lnTo>
                  <a:lnTo>
                    <a:pt x="1386" y="1116"/>
                  </a:lnTo>
                  <a:lnTo>
                    <a:pt x="1392" y="1116"/>
                  </a:lnTo>
                  <a:lnTo>
                    <a:pt x="1396" y="1114"/>
                  </a:lnTo>
                  <a:lnTo>
                    <a:pt x="1408" y="1116"/>
                  </a:lnTo>
                  <a:lnTo>
                    <a:pt x="1414" y="1120"/>
                  </a:lnTo>
                  <a:lnTo>
                    <a:pt x="1418" y="1124"/>
                  </a:lnTo>
                  <a:lnTo>
                    <a:pt x="1428" y="1126"/>
                  </a:lnTo>
                  <a:lnTo>
                    <a:pt x="1438" y="1130"/>
                  </a:lnTo>
                  <a:lnTo>
                    <a:pt x="1440" y="1134"/>
                  </a:lnTo>
                  <a:lnTo>
                    <a:pt x="1442" y="1136"/>
                  </a:lnTo>
                  <a:lnTo>
                    <a:pt x="1442" y="1144"/>
                  </a:lnTo>
                  <a:lnTo>
                    <a:pt x="1440" y="1154"/>
                  </a:lnTo>
                  <a:lnTo>
                    <a:pt x="1440" y="1162"/>
                  </a:lnTo>
                  <a:lnTo>
                    <a:pt x="1442" y="1166"/>
                  </a:lnTo>
                  <a:lnTo>
                    <a:pt x="1446" y="1168"/>
                  </a:lnTo>
                  <a:lnTo>
                    <a:pt x="1444" y="1174"/>
                  </a:lnTo>
                  <a:lnTo>
                    <a:pt x="1442" y="1176"/>
                  </a:lnTo>
                  <a:lnTo>
                    <a:pt x="1440" y="1176"/>
                  </a:lnTo>
                  <a:lnTo>
                    <a:pt x="1434" y="1176"/>
                  </a:lnTo>
                  <a:lnTo>
                    <a:pt x="1422" y="1178"/>
                  </a:lnTo>
                  <a:lnTo>
                    <a:pt x="1416" y="1180"/>
                  </a:lnTo>
                  <a:lnTo>
                    <a:pt x="1412" y="1184"/>
                  </a:lnTo>
                  <a:lnTo>
                    <a:pt x="1406" y="1196"/>
                  </a:lnTo>
                  <a:lnTo>
                    <a:pt x="1398" y="1208"/>
                  </a:lnTo>
                  <a:lnTo>
                    <a:pt x="1390" y="1216"/>
                  </a:lnTo>
                  <a:lnTo>
                    <a:pt x="1382" y="1222"/>
                  </a:lnTo>
                  <a:lnTo>
                    <a:pt x="1372" y="1228"/>
                  </a:lnTo>
                  <a:lnTo>
                    <a:pt x="1368" y="1232"/>
                  </a:lnTo>
                  <a:lnTo>
                    <a:pt x="1366" y="1236"/>
                  </a:lnTo>
                  <a:lnTo>
                    <a:pt x="1366" y="1238"/>
                  </a:lnTo>
                  <a:lnTo>
                    <a:pt x="1366" y="1242"/>
                  </a:lnTo>
                  <a:lnTo>
                    <a:pt x="1358" y="1244"/>
                  </a:lnTo>
                  <a:lnTo>
                    <a:pt x="1354" y="1246"/>
                  </a:lnTo>
                  <a:lnTo>
                    <a:pt x="1350" y="1248"/>
                  </a:lnTo>
                  <a:lnTo>
                    <a:pt x="1346" y="1254"/>
                  </a:lnTo>
                  <a:lnTo>
                    <a:pt x="1344" y="1258"/>
                  </a:lnTo>
                  <a:lnTo>
                    <a:pt x="1342" y="1260"/>
                  </a:lnTo>
                  <a:lnTo>
                    <a:pt x="1338" y="1260"/>
                  </a:lnTo>
                  <a:lnTo>
                    <a:pt x="1334" y="1260"/>
                  </a:lnTo>
                  <a:lnTo>
                    <a:pt x="1332" y="1260"/>
                  </a:lnTo>
                  <a:lnTo>
                    <a:pt x="1328" y="1264"/>
                  </a:lnTo>
                  <a:lnTo>
                    <a:pt x="1326" y="1268"/>
                  </a:lnTo>
                  <a:lnTo>
                    <a:pt x="1324" y="1270"/>
                  </a:lnTo>
                  <a:lnTo>
                    <a:pt x="1322" y="1270"/>
                  </a:lnTo>
                  <a:lnTo>
                    <a:pt x="1320" y="1272"/>
                  </a:lnTo>
                  <a:lnTo>
                    <a:pt x="1318" y="1272"/>
                  </a:lnTo>
                  <a:lnTo>
                    <a:pt x="1318" y="1278"/>
                  </a:lnTo>
                  <a:lnTo>
                    <a:pt x="1318" y="1286"/>
                  </a:lnTo>
                  <a:lnTo>
                    <a:pt x="1318" y="1288"/>
                  </a:lnTo>
                  <a:lnTo>
                    <a:pt x="1314" y="1292"/>
                  </a:lnTo>
                  <a:lnTo>
                    <a:pt x="1310" y="1294"/>
                  </a:lnTo>
                  <a:lnTo>
                    <a:pt x="1308" y="1294"/>
                  </a:lnTo>
                  <a:lnTo>
                    <a:pt x="1300" y="1292"/>
                  </a:lnTo>
                  <a:lnTo>
                    <a:pt x="1294" y="1290"/>
                  </a:lnTo>
                  <a:lnTo>
                    <a:pt x="1292" y="1292"/>
                  </a:lnTo>
                  <a:lnTo>
                    <a:pt x="1290" y="1296"/>
                  </a:lnTo>
                  <a:lnTo>
                    <a:pt x="1290" y="1300"/>
                  </a:lnTo>
                  <a:lnTo>
                    <a:pt x="1286" y="1304"/>
                  </a:lnTo>
                  <a:lnTo>
                    <a:pt x="1278" y="1314"/>
                  </a:lnTo>
                  <a:lnTo>
                    <a:pt x="1276" y="1322"/>
                  </a:lnTo>
                  <a:lnTo>
                    <a:pt x="1274" y="1328"/>
                  </a:lnTo>
                  <a:lnTo>
                    <a:pt x="1274" y="1338"/>
                  </a:lnTo>
                  <a:lnTo>
                    <a:pt x="1278" y="1346"/>
                  </a:lnTo>
                  <a:lnTo>
                    <a:pt x="1282" y="1354"/>
                  </a:lnTo>
                  <a:lnTo>
                    <a:pt x="1282" y="1360"/>
                  </a:lnTo>
                  <a:lnTo>
                    <a:pt x="1282" y="1364"/>
                  </a:lnTo>
                  <a:lnTo>
                    <a:pt x="1280" y="1366"/>
                  </a:lnTo>
                  <a:lnTo>
                    <a:pt x="1278" y="1368"/>
                  </a:lnTo>
                  <a:lnTo>
                    <a:pt x="1278" y="1372"/>
                  </a:lnTo>
                  <a:lnTo>
                    <a:pt x="1280" y="1378"/>
                  </a:lnTo>
                  <a:lnTo>
                    <a:pt x="1288" y="1388"/>
                  </a:lnTo>
                  <a:lnTo>
                    <a:pt x="1292" y="1394"/>
                  </a:lnTo>
                  <a:lnTo>
                    <a:pt x="1294" y="1396"/>
                  </a:lnTo>
                  <a:lnTo>
                    <a:pt x="1294" y="1398"/>
                  </a:lnTo>
                  <a:lnTo>
                    <a:pt x="1292" y="1400"/>
                  </a:lnTo>
                  <a:lnTo>
                    <a:pt x="1288" y="1402"/>
                  </a:lnTo>
                  <a:lnTo>
                    <a:pt x="1286" y="1404"/>
                  </a:lnTo>
                  <a:lnTo>
                    <a:pt x="1286" y="1406"/>
                  </a:lnTo>
                  <a:lnTo>
                    <a:pt x="1288" y="1416"/>
                  </a:lnTo>
                  <a:lnTo>
                    <a:pt x="1288" y="1424"/>
                  </a:lnTo>
                  <a:lnTo>
                    <a:pt x="1282" y="1444"/>
                  </a:lnTo>
                  <a:lnTo>
                    <a:pt x="1280" y="1456"/>
                  </a:lnTo>
                  <a:lnTo>
                    <a:pt x="1280" y="1462"/>
                  </a:lnTo>
                  <a:lnTo>
                    <a:pt x="1282" y="1464"/>
                  </a:lnTo>
                  <a:lnTo>
                    <a:pt x="1286" y="1466"/>
                  </a:lnTo>
                  <a:lnTo>
                    <a:pt x="1298" y="1470"/>
                  </a:lnTo>
                  <a:lnTo>
                    <a:pt x="1322" y="1476"/>
                  </a:lnTo>
                  <a:lnTo>
                    <a:pt x="1328" y="1478"/>
                  </a:lnTo>
                  <a:lnTo>
                    <a:pt x="1330" y="1480"/>
                  </a:lnTo>
                  <a:lnTo>
                    <a:pt x="1328" y="1484"/>
                  </a:lnTo>
                  <a:lnTo>
                    <a:pt x="1328" y="1492"/>
                  </a:lnTo>
                  <a:lnTo>
                    <a:pt x="1328" y="1500"/>
                  </a:lnTo>
                  <a:lnTo>
                    <a:pt x="1330" y="1504"/>
                  </a:lnTo>
                  <a:lnTo>
                    <a:pt x="1334" y="1504"/>
                  </a:lnTo>
                  <a:lnTo>
                    <a:pt x="1336" y="1504"/>
                  </a:lnTo>
                  <a:lnTo>
                    <a:pt x="1340" y="1500"/>
                  </a:lnTo>
                  <a:lnTo>
                    <a:pt x="1346" y="1494"/>
                  </a:lnTo>
                  <a:lnTo>
                    <a:pt x="1352" y="1494"/>
                  </a:lnTo>
                  <a:lnTo>
                    <a:pt x="1354" y="1496"/>
                  </a:lnTo>
                  <a:lnTo>
                    <a:pt x="1354" y="1498"/>
                  </a:lnTo>
                  <a:lnTo>
                    <a:pt x="1354" y="1500"/>
                  </a:lnTo>
                  <a:lnTo>
                    <a:pt x="1352" y="1506"/>
                  </a:lnTo>
                  <a:lnTo>
                    <a:pt x="1346" y="1512"/>
                  </a:lnTo>
                  <a:lnTo>
                    <a:pt x="1346" y="1516"/>
                  </a:lnTo>
                  <a:lnTo>
                    <a:pt x="1352" y="1514"/>
                  </a:lnTo>
                  <a:lnTo>
                    <a:pt x="1366" y="1508"/>
                  </a:lnTo>
                  <a:lnTo>
                    <a:pt x="1376" y="1504"/>
                  </a:lnTo>
                  <a:lnTo>
                    <a:pt x="1390" y="1504"/>
                  </a:lnTo>
                  <a:lnTo>
                    <a:pt x="1408" y="1500"/>
                  </a:lnTo>
                  <a:lnTo>
                    <a:pt x="1436" y="1488"/>
                  </a:lnTo>
                  <a:lnTo>
                    <a:pt x="1448" y="1484"/>
                  </a:lnTo>
                  <a:lnTo>
                    <a:pt x="1454" y="1484"/>
                  </a:lnTo>
                  <a:lnTo>
                    <a:pt x="1458" y="1484"/>
                  </a:lnTo>
                  <a:lnTo>
                    <a:pt x="1462" y="1484"/>
                  </a:lnTo>
                  <a:lnTo>
                    <a:pt x="1466" y="1486"/>
                  </a:lnTo>
                  <a:lnTo>
                    <a:pt x="1470" y="1482"/>
                  </a:lnTo>
                  <a:lnTo>
                    <a:pt x="1476" y="1476"/>
                  </a:lnTo>
                  <a:lnTo>
                    <a:pt x="1478" y="1476"/>
                  </a:lnTo>
                  <a:lnTo>
                    <a:pt x="1484" y="1478"/>
                  </a:lnTo>
                  <a:lnTo>
                    <a:pt x="1490" y="1476"/>
                  </a:lnTo>
                  <a:lnTo>
                    <a:pt x="1498" y="1474"/>
                  </a:lnTo>
                  <a:lnTo>
                    <a:pt x="1506" y="1472"/>
                  </a:lnTo>
                  <a:lnTo>
                    <a:pt x="1512" y="1470"/>
                  </a:lnTo>
                  <a:lnTo>
                    <a:pt x="1522" y="1470"/>
                  </a:lnTo>
                  <a:lnTo>
                    <a:pt x="1532" y="1470"/>
                  </a:lnTo>
                  <a:lnTo>
                    <a:pt x="1538" y="1470"/>
                  </a:lnTo>
                  <a:lnTo>
                    <a:pt x="1546" y="1466"/>
                  </a:lnTo>
                  <a:lnTo>
                    <a:pt x="1550" y="1468"/>
                  </a:lnTo>
                  <a:lnTo>
                    <a:pt x="1556" y="1468"/>
                  </a:lnTo>
                  <a:lnTo>
                    <a:pt x="1566" y="1462"/>
                  </a:lnTo>
                  <a:lnTo>
                    <a:pt x="1574" y="1456"/>
                  </a:lnTo>
                  <a:lnTo>
                    <a:pt x="1578" y="1454"/>
                  </a:lnTo>
                  <a:lnTo>
                    <a:pt x="1580" y="1456"/>
                  </a:lnTo>
                  <a:lnTo>
                    <a:pt x="1582" y="1458"/>
                  </a:lnTo>
                  <a:lnTo>
                    <a:pt x="1578" y="1458"/>
                  </a:lnTo>
                  <a:lnTo>
                    <a:pt x="1576" y="1462"/>
                  </a:lnTo>
                  <a:lnTo>
                    <a:pt x="1578" y="1466"/>
                  </a:lnTo>
                  <a:lnTo>
                    <a:pt x="1580" y="1470"/>
                  </a:lnTo>
                  <a:lnTo>
                    <a:pt x="1578" y="1472"/>
                  </a:lnTo>
                  <a:lnTo>
                    <a:pt x="1572" y="1470"/>
                  </a:lnTo>
                  <a:lnTo>
                    <a:pt x="1568" y="1468"/>
                  </a:lnTo>
                  <a:lnTo>
                    <a:pt x="1572" y="1474"/>
                  </a:lnTo>
                  <a:lnTo>
                    <a:pt x="1578" y="1480"/>
                  </a:lnTo>
                  <a:lnTo>
                    <a:pt x="1582" y="1480"/>
                  </a:lnTo>
                  <a:lnTo>
                    <a:pt x="1584" y="1482"/>
                  </a:lnTo>
                  <a:lnTo>
                    <a:pt x="1588" y="1486"/>
                  </a:lnTo>
                  <a:lnTo>
                    <a:pt x="1592" y="1490"/>
                  </a:lnTo>
                  <a:lnTo>
                    <a:pt x="1596" y="1490"/>
                  </a:lnTo>
                  <a:lnTo>
                    <a:pt x="1608" y="1490"/>
                  </a:lnTo>
                  <a:lnTo>
                    <a:pt x="1618" y="1490"/>
                  </a:lnTo>
                  <a:lnTo>
                    <a:pt x="1622" y="1492"/>
                  </a:lnTo>
                  <a:lnTo>
                    <a:pt x="1626" y="1494"/>
                  </a:lnTo>
                  <a:lnTo>
                    <a:pt x="1628" y="1498"/>
                  </a:lnTo>
                  <a:lnTo>
                    <a:pt x="1632" y="1500"/>
                  </a:lnTo>
                  <a:lnTo>
                    <a:pt x="1638" y="1502"/>
                  </a:lnTo>
                  <a:lnTo>
                    <a:pt x="1642" y="1504"/>
                  </a:lnTo>
                  <a:lnTo>
                    <a:pt x="1642" y="1508"/>
                  </a:lnTo>
                  <a:lnTo>
                    <a:pt x="1638" y="1510"/>
                  </a:lnTo>
                  <a:lnTo>
                    <a:pt x="1634" y="1510"/>
                  </a:lnTo>
                  <a:lnTo>
                    <a:pt x="1610" y="1504"/>
                  </a:lnTo>
                  <a:lnTo>
                    <a:pt x="1602" y="1502"/>
                  </a:lnTo>
                  <a:lnTo>
                    <a:pt x="1596" y="1504"/>
                  </a:lnTo>
                  <a:lnTo>
                    <a:pt x="1594" y="1506"/>
                  </a:lnTo>
                  <a:lnTo>
                    <a:pt x="1592" y="1510"/>
                  </a:lnTo>
                  <a:lnTo>
                    <a:pt x="1590" y="1512"/>
                  </a:lnTo>
                  <a:lnTo>
                    <a:pt x="1588" y="1516"/>
                  </a:lnTo>
                  <a:lnTo>
                    <a:pt x="1584" y="1516"/>
                  </a:lnTo>
                  <a:lnTo>
                    <a:pt x="1578" y="1514"/>
                  </a:lnTo>
                  <a:lnTo>
                    <a:pt x="1574" y="1512"/>
                  </a:lnTo>
                  <a:lnTo>
                    <a:pt x="1570" y="1514"/>
                  </a:lnTo>
                  <a:lnTo>
                    <a:pt x="1568" y="1516"/>
                  </a:lnTo>
                  <a:lnTo>
                    <a:pt x="1568" y="1518"/>
                  </a:lnTo>
                  <a:lnTo>
                    <a:pt x="1568" y="1522"/>
                  </a:lnTo>
                  <a:lnTo>
                    <a:pt x="1568" y="1524"/>
                  </a:lnTo>
                  <a:lnTo>
                    <a:pt x="1564" y="1524"/>
                  </a:lnTo>
                  <a:lnTo>
                    <a:pt x="1560" y="1520"/>
                  </a:lnTo>
                  <a:lnTo>
                    <a:pt x="1556" y="1518"/>
                  </a:lnTo>
                  <a:lnTo>
                    <a:pt x="1552" y="1516"/>
                  </a:lnTo>
                  <a:lnTo>
                    <a:pt x="1552" y="1518"/>
                  </a:lnTo>
                  <a:lnTo>
                    <a:pt x="1552" y="1520"/>
                  </a:lnTo>
                  <a:lnTo>
                    <a:pt x="1554" y="1530"/>
                  </a:lnTo>
                  <a:lnTo>
                    <a:pt x="1554" y="1534"/>
                  </a:lnTo>
                  <a:lnTo>
                    <a:pt x="1552" y="1536"/>
                  </a:lnTo>
                  <a:lnTo>
                    <a:pt x="1540" y="1540"/>
                  </a:lnTo>
                  <a:lnTo>
                    <a:pt x="1530" y="1542"/>
                  </a:lnTo>
                  <a:lnTo>
                    <a:pt x="1518" y="1540"/>
                  </a:lnTo>
                  <a:lnTo>
                    <a:pt x="1508" y="1536"/>
                  </a:lnTo>
                  <a:lnTo>
                    <a:pt x="1498" y="1532"/>
                  </a:lnTo>
                  <a:lnTo>
                    <a:pt x="1488" y="1530"/>
                  </a:lnTo>
                  <a:lnTo>
                    <a:pt x="1476" y="1528"/>
                  </a:lnTo>
                  <a:lnTo>
                    <a:pt x="1460" y="1526"/>
                  </a:lnTo>
                  <a:lnTo>
                    <a:pt x="1454" y="1524"/>
                  </a:lnTo>
                  <a:lnTo>
                    <a:pt x="1450" y="1524"/>
                  </a:lnTo>
                  <a:lnTo>
                    <a:pt x="1448" y="1526"/>
                  </a:lnTo>
                  <a:lnTo>
                    <a:pt x="1448" y="1528"/>
                  </a:lnTo>
                  <a:lnTo>
                    <a:pt x="1446" y="1532"/>
                  </a:lnTo>
                  <a:lnTo>
                    <a:pt x="1442" y="1534"/>
                  </a:lnTo>
                  <a:lnTo>
                    <a:pt x="1436" y="1534"/>
                  </a:lnTo>
                  <a:lnTo>
                    <a:pt x="1422" y="1534"/>
                  </a:lnTo>
                  <a:lnTo>
                    <a:pt x="1408" y="1534"/>
                  </a:lnTo>
                  <a:lnTo>
                    <a:pt x="1398" y="1538"/>
                  </a:lnTo>
                  <a:lnTo>
                    <a:pt x="1394" y="1542"/>
                  </a:lnTo>
                  <a:lnTo>
                    <a:pt x="1392" y="1544"/>
                  </a:lnTo>
                  <a:lnTo>
                    <a:pt x="1390" y="1548"/>
                  </a:lnTo>
                  <a:lnTo>
                    <a:pt x="1388" y="1550"/>
                  </a:lnTo>
                  <a:lnTo>
                    <a:pt x="1380" y="1552"/>
                  </a:lnTo>
                  <a:lnTo>
                    <a:pt x="1374" y="1554"/>
                  </a:lnTo>
                  <a:lnTo>
                    <a:pt x="1372" y="1558"/>
                  </a:lnTo>
                  <a:lnTo>
                    <a:pt x="1370" y="1562"/>
                  </a:lnTo>
                  <a:lnTo>
                    <a:pt x="1368" y="1572"/>
                  </a:lnTo>
                  <a:lnTo>
                    <a:pt x="1368" y="1580"/>
                  </a:lnTo>
                  <a:lnTo>
                    <a:pt x="1370" y="1588"/>
                  </a:lnTo>
                  <a:lnTo>
                    <a:pt x="1372" y="1594"/>
                  </a:lnTo>
                  <a:lnTo>
                    <a:pt x="1378" y="1604"/>
                  </a:lnTo>
                  <a:lnTo>
                    <a:pt x="1382" y="1610"/>
                  </a:lnTo>
                  <a:lnTo>
                    <a:pt x="1386" y="1614"/>
                  </a:lnTo>
                  <a:lnTo>
                    <a:pt x="1390" y="1614"/>
                  </a:lnTo>
                  <a:lnTo>
                    <a:pt x="1396" y="1614"/>
                  </a:lnTo>
                  <a:lnTo>
                    <a:pt x="1402" y="1610"/>
                  </a:lnTo>
                  <a:lnTo>
                    <a:pt x="1410" y="1606"/>
                  </a:lnTo>
                  <a:lnTo>
                    <a:pt x="1410" y="1608"/>
                  </a:lnTo>
                  <a:lnTo>
                    <a:pt x="1410" y="1610"/>
                  </a:lnTo>
                  <a:lnTo>
                    <a:pt x="1402" y="1640"/>
                  </a:lnTo>
                  <a:lnTo>
                    <a:pt x="1402" y="1646"/>
                  </a:lnTo>
                  <a:lnTo>
                    <a:pt x="1404" y="1654"/>
                  </a:lnTo>
                  <a:lnTo>
                    <a:pt x="1406" y="1668"/>
                  </a:lnTo>
                  <a:lnTo>
                    <a:pt x="1408" y="1676"/>
                  </a:lnTo>
                  <a:lnTo>
                    <a:pt x="1406" y="1682"/>
                  </a:lnTo>
                  <a:lnTo>
                    <a:pt x="1402" y="1686"/>
                  </a:lnTo>
                  <a:lnTo>
                    <a:pt x="1392" y="1692"/>
                  </a:lnTo>
                  <a:lnTo>
                    <a:pt x="1380" y="1694"/>
                  </a:lnTo>
                  <a:lnTo>
                    <a:pt x="1370" y="1694"/>
                  </a:lnTo>
                  <a:lnTo>
                    <a:pt x="1364" y="1690"/>
                  </a:lnTo>
                  <a:lnTo>
                    <a:pt x="1360" y="1684"/>
                  </a:lnTo>
                  <a:lnTo>
                    <a:pt x="1354" y="1672"/>
                  </a:lnTo>
                  <a:lnTo>
                    <a:pt x="1348" y="1666"/>
                  </a:lnTo>
                  <a:lnTo>
                    <a:pt x="1342" y="1662"/>
                  </a:lnTo>
                  <a:lnTo>
                    <a:pt x="1336" y="1660"/>
                  </a:lnTo>
                  <a:lnTo>
                    <a:pt x="1334" y="1656"/>
                  </a:lnTo>
                  <a:lnTo>
                    <a:pt x="1332" y="1652"/>
                  </a:lnTo>
                  <a:lnTo>
                    <a:pt x="1332" y="1650"/>
                  </a:lnTo>
                  <a:lnTo>
                    <a:pt x="1332" y="1648"/>
                  </a:lnTo>
                  <a:lnTo>
                    <a:pt x="1324" y="1648"/>
                  </a:lnTo>
                  <a:lnTo>
                    <a:pt x="1302" y="1656"/>
                  </a:lnTo>
                  <a:lnTo>
                    <a:pt x="1294" y="1660"/>
                  </a:lnTo>
                  <a:lnTo>
                    <a:pt x="1292" y="1664"/>
                  </a:lnTo>
                  <a:lnTo>
                    <a:pt x="1286" y="1674"/>
                  </a:lnTo>
                  <a:lnTo>
                    <a:pt x="1284" y="1678"/>
                  </a:lnTo>
                  <a:lnTo>
                    <a:pt x="1286" y="1684"/>
                  </a:lnTo>
                  <a:lnTo>
                    <a:pt x="1286" y="1688"/>
                  </a:lnTo>
                  <a:lnTo>
                    <a:pt x="1286" y="1690"/>
                  </a:lnTo>
                  <a:lnTo>
                    <a:pt x="1280" y="1694"/>
                  </a:lnTo>
                  <a:lnTo>
                    <a:pt x="1274" y="1700"/>
                  </a:lnTo>
                  <a:lnTo>
                    <a:pt x="1272" y="1704"/>
                  </a:lnTo>
                  <a:lnTo>
                    <a:pt x="1270" y="1710"/>
                  </a:lnTo>
                  <a:lnTo>
                    <a:pt x="1266" y="1720"/>
                  </a:lnTo>
                  <a:lnTo>
                    <a:pt x="1266" y="1732"/>
                  </a:lnTo>
                  <a:lnTo>
                    <a:pt x="1268" y="1752"/>
                  </a:lnTo>
                  <a:lnTo>
                    <a:pt x="1268" y="1766"/>
                  </a:lnTo>
                  <a:lnTo>
                    <a:pt x="1270" y="1772"/>
                  </a:lnTo>
                  <a:lnTo>
                    <a:pt x="1274" y="1776"/>
                  </a:lnTo>
                  <a:lnTo>
                    <a:pt x="1278" y="1782"/>
                  </a:lnTo>
                  <a:lnTo>
                    <a:pt x="1280" y="1790"/>
                  </a:lnTo>
                  <a:lnTo>
                    <a:pt x="1280" y="1804"/>
                  </a:lnTo>
                  <a:lnTo>
                    <a:pt x="1278" y="1806"/>
                  </a:lnTo>
                  <a:lnTo>
                    <a:pt x="1276" y="1808"/>
                  </a:lnTo>
                  <a:lnTo>
                    <a:pt x="1276" y="1816"/>
                  </a:lnTo>
                  <a:lnTo>
                    <a:pt x="1278" y="1818"/>
                  </a:lnTo>
                  <a:lnTo>
                    <a:pt x="1276" y="1822"/>
                  </a:lnTo>
                  <a:lnTo>
                    <a:pt x="1270" y="1824"/>
                  </a:lnTo>
                  <a:lnTo>
                    <a:pt x="1264" y="1826"/>
                  </a:lnTo>
                  <a:lnTo>
                    <a:pt x="1258" y="1824"/>
                  </a:lnTo>
                  <a:lnTo>
                    <a:pt x="1256" y="1824"/>
                  </a:lnTo>
                  <a:lnTo>
                    <a:pt x="1256" y="1822"/>
                  </a:lnTo>
                  <a:lnTo>
                    <a:pt x="1258" y="1816"/>
                  </a:lnTo>
                  <a:lnTo>
                    <a:pt x="1268" y="1804"/>
                  </a:lnTo>
                  <a:lnTo>
                    <a:pt x="1270" y="1800"/>
                  </a:lnTo>
                  <a:lnTo>
                    <a:pt x="1268" y="1800"/>
                  </a:lnTo>
                  <a:lnTo>
                    <a:pt x="1256" y="1814"/>
                  </a:lnTo>
                  <a:lnTo>
                    <a:pt x="1248" y="1820"/>
                  </a:lnTo>
                  <a:lnTo>
                    <a:pt x="1246" y="1822"/>
                  </a:lnTo>
                  <a:lnTo>
                    <a:pt x="1240" y="1820"/>
                  </a:lnTo>
                  <a:lnTo>
                    <a:pt x="1232" y="1820"/>
                  </a:lnTo>
                  <a:lnTo>
                    <a:pt x="1226" y="1822"/>
                  </a:lnTo>
                  <a:lnTo>
                    <a:pt x="1224" y="1824"/>
                  </a:lnTo>
                  <a:lnTo>
                    <a:pt x="1224" y="1830"/>
                  </a:lnTo>
                  <a:lnTo>
                    <a:pt x="1224" y="1836"/>
                  </a:lnTo>
                  <a:lnTo>
                    <a:pt x="1224" y="1840"/>
                  </a:lnTo>
                  <a:lnTo>
                    <a:pt x="1220" y="1846"/>
                  </a:lnTo>
                  <a:lnTo>
                    <a:pt x="1214" y="1852"/>
                  </a:lnTo>
                  <a:lnTo>
                    <a:pt x="1202" y="1858"/>
                  </a:lnTo>
                  <a:lnTo>
                    <a:pt x="1188" y="1860"/>
                  </a:lnTo>
                  <a:lnTo>
                    <a:pt x="1182" y="1858"/>
                  </a:lnTo>
                  <a:lnTo>
                    <a:pt x="1176" y="1856"/>
                  </a:lnTo>
                  <a:lnTo>
                    <a:pt x="1172" y="1854"/>
                  </a:lnTo>
                  <a:lnTo>
                    <a:pt x="1170" y="1848"/>
                  </a:lnTo>
                  <a:lnTo>
                    <a:pt x="1166" y="1836"/>
                  </a:lnTo>
                  <a:lnTo>
                    <a:pt x="1172" y="1840"/>
                  </a:lnTo>
                  <a:lnTo>
                    <a:pt x="1180" y="1844"/>
                  </a:lnTo>
                  <a:lnTo>
                    <a:pt x="1184" y="1844"/>
                  </a:lnTo>
                  <a:lnTo>
                    <a:pt x="1184" y="1842"/>
                  </a:lnTo>
                  <a:lnTo>
                    <a:pt x="1180" y="1840"/>
                  </a:lnTo>
                  <a:lnTo>
                    <a:pt x="1168" y="1832"/>
                  </a:lnTo>
                  <a:lnTo>
                    <a:pt x="1160" y="1828"/>
                  </a:lnTo>
                  <a:lnTo>
                    <a:pt x="1152" y="1828"/>
                  </a:lnTo>
                  <a:lnTo>
                    <a:pt x="1136" y="1832"/>
                  </a:lnTo>
                  <a:lnTo>
                    <a:pt x="1118" y="1836"/>
                  </a:lnTo>
                  <a:lnTo>
                    <a:pt x="1112" y="1838"/>
                  </a:lnTo>
                  <a:lnTo>
                    <a:pt x="1110" y="1840"/>
                  </a:lnTo>
                  <a:lnTo>
                    <a:pt x="1098" y="1844"/>
                  </a:lnTo>
                  <a:lnTo>
                    <a:pt x="1090" y="1848"/>
                  </a:lnTo>
                  <a:lnTo>
                    <a:pt x="1086" y="1850"/>
                  </a:lnTo>
                  <a:lnTo>
                    <a:pt x="1082" y="1856"/>
                  </a:lnTo>
                  <a:lnTo>
                    <a:pt x="1080" y="1858"/>
                  </a:lnTo>
                  <a:lnTo>
                    <a:pt x="1074" y="1862"/>
                  </a:lnTo>
                  <a:lnTo>
                    <a:pt x="1066" y="1864"/>
                  </a:lnTo>
                  <a:lnTo>
                    <a:pt x="1054" y="1868"/>
                  </a:lnTo>
                  <a:lnTo>
                    <a:pt x="1034" y="1874"/>
                  </a:lnTo>
                  <a:lnTo>
                    <a:pt x="1020" y="1880"/>
                  </a:lnTo>
                  <a:lnTo>
                    <a:pt x="1008" y="1884"/>
                  </a:lnTo>
                  <a:lnTo>
                    <a:pt x="1002" y="1884"/>
                  </a:lnTo>
                  <a:lnTo>
                    <a:pt x="996" y="1884"/>
                  </a:lnTo>
                  <a:lnTo>
                    <a:pt x="992" y="1882"/>
                  </a:lnTo>
                  <a:lnTo>
                    <a:pt x="986" y="1878"/>
                  </a:lnTo>
                  <a:lnTo>
                    <a:pt x="980" y="1870"/>
                  </a:lnTo>
                  <a:lnTo>
                    <a:pt x="978" y="1870"/>
                  </a:lnTo>
                  <a:lnTo>
                    <a:pt x="980" y="1874"/>
                  </a:lnTo>
                  <a:lnTo>
                    <a:pt x="984" y="1884"/>
                  </a:lnTo>
                  <a:lnTo>
                    <a:pt x="984" y="1886"/>
                  </a:lnTo>
                  <a:lnTo>
                    <a:pt x="984" y="1888"/>
                  </a:lnTo>
                  <a:lnTo>
                    <a:pt x="982" y="1888"/>
                  </a:lnTo>
                  <a:lnTo>
                    <a:pt x="982" y="1890"/>
                  </a:lnTo>
                  <a:lnTo>
                    <a:pt x="984" y="1890"/>
                  </a:lnTo>
                  <a:lnTo>
                    <a:pt x="988" y="1890"/>
                  </a:lnTo>
                  <a:lnTo>
                    <a:pt x="992" y="1888"/>
                  </a:lnTo>
                  <a:lnTo>
                    <a:pt x="996" y="1890"/>
                  </a:lnTo>
                  <a:lnTo>
                    <a:pt x="998" y="1892"/>
                  </a:lnTo>
                  <a:lnTo>
                    <a:pt x="1002" y="1892"/>
                  </a:lnTo>
                  <a:lnTo>
                    <a:pt x="1004" y="1890"/>
                  </a:lnTo>
                  <a:lnTo>
                    <a:pt x="1008" y="1890"/>
                  </a:lnTo>
                  <a:lnTo>
                    <a:pt x="1010" y="1894"/>
                  </a:lnTo>
                  <a:lnTo>
                    <a:pt x="1010" y="1900"/>
                  </a:lnTo>
                  <a:lnTo>
                    <a:pt x="1010" y="1902"/>
                  </a:lnTo>
                  <a:lnTo>
                    <a:pt x="1008" y="1902"/>
                  </a:lnTo>
                  <a:lnTo>
                    <a:pt x="1004" y="1900"/>
                  </a:lnTo>
                  <a:lnTo>
                    <a:pt x="998" y="1898"/>
                  </a:lnTo>
                  <a:lnTo>
                    <a:pt x="996" y="1898"/>
                  </a:lnTo>
                  <a:lnTo>
                    <a:pt x="986" y="1896"/>
                  </a:lnTo>
                  <a:lnTo>
                    <a:pt x="980" y="1892"/>
                  </a:lnTo>
                  <a:lnTo>
                    <a:pt x="980" y="1890"/>
                  </a:lnTo>
                  <a:lnTo>
                    <a:pt x="980" y="1886"/>
                  </a:lnTo>
                  <a:lnTo>
                    <a:pt x="980" y="1884"/>
                  </a:lnTo>
                  <a:lnTo>
                    <a:pt x="978" y="1882"/>
                  </a:lnTo>
                  <a:lnTo>
                    <a:pt x="976" y="1878"/>
                  </a:lnTo>
                  <a:lnTo>
                    <a:pt x="976" y="1872"/>
                  </a:lnTo>
                  <a:lnTo>
                    <a:pt x="976" y="1870"/>
                  </a:lnTo>
                  <a:lnTo>
                    <a:pt x="974" y="1870"/>
                  </a:lnTo>
                  <a:lnTo>
                    <a:pt x="970" y="1872"/>
                  </a:lnTo>
                  <a:lnTo>
                    <a:pt x="962" y="1872"/>
                  </a:lnTo>
                  <a:lnTo>
                    <a:pt x="958" y="1870"/>
                  </a:lnTo>
                  <a:lnTo>
                    <a:pt x="954" y="1868"/>
                  </a:lnTo>
                  <a:lnTo>
                    <a:pt x="950" y="1860"/>
                  </a:lnTo>
                  <a:lnTo>
                    <a:pt x="948" y="1856"/>
                  </a:lnTo>
                  <a:lnTo>
                    <a:pt x="946" y="1854"/>
                  </a:lnTo>
                  <a:lnTo>
                    <a:pt x="944" y="1854"/>
                  </a:lnTo>
                  <a:lnTo>
                    <a:pt x="938" y="1854"/>
                  </a:lnTo>
                  <a:lnTo>
                    <a:pt x="932" y="1852"/>
                  </a:lnTo>
                  <a:lnTo>
                    <a:pt x="930" y="1850"/>
                  </a:lnTo>
                  <a:lnTo>
                    <a:pt x="926" y="1850"/>
                  </a:lnTo>
                  <a:lnTo>
                    <a:pt x="924" y="1854"/>
                  </a:lnTo>
                  <a:lnTo>
                    <a:pt x="920" y="1862"/>
                  </a:lnTo>
                  <a:lnTo>
                    <a:pt x="912" y="1868"/>
                  </a:lnTo>
                  <a:lnTo>
                    <a:pt x="908" y="1870"/>
                  </a:lnTo>
                  <a:lnTo>
                    <a:pt x="900" y="1870"/>
                  </a:lnTo>
                  <a:lnTo>
                    <a:pt x="894" y="1872"/>
                  </a:lnTo>
                  <a:lnTo>
                    <a:pt x="890" y="1874"/>
                  </a:lnTo>
                  <a:lnTo>
                    <a:pt x="886" y="1880"/>
                  </a:lnTo>
                  <a:lnTo>
                    <a:pt x="884" y="1884"/>
                  </a:lnTo>
                  <a:lnTo>
                    <a:pt x="882" y="1884"/>
                  </a:lnTo>
                  <a:lnTo>
                    <a:pt x="878" y="1882"/>
                  </a:lnTo>
                  <a:lnTo>
                    <a:pt x="874" y="1880"/>
                  </a:lnTo>
                  <a:lnTo>
                    <a:pt x="870" y="1880"/>
                  </a:lnTo>
                  <a:lnTo>
                    <a:pt x="864" y="1882"/>
                  </a:lnTo>
                  <a:lnTo>
                    <a:pt x="860" y="1882"/>
                  </a:lnTo>
                  <a:lnTo>
                    <a:pt x="858" y="1882"/>
                  </a:lnTo>
                  <a:lnTo>
                    <a:pt x="856" y="1880"/>
                  </a:lnTo>
                  <a:lnTo>
                    <a:pt x="856" y="1878"/>
                  </a:lnTo>
                  <a:lnTo>
                    <a:pt x="858" y="1876"/>
                  </a:lnTo>
                  <a:lnTo>
                    <a:pt x="864" y="1872"/>
                  </a:lnTo>
                  <a:lnTo>
                    <a:pt x="870" y="1870"/>
                  </a:lnTo>
                  <a:lnTo>
                    <a:pt x="870" y="1868"/>
                  </a:lnTo>
                  <a:lnTo>
                    <a:pt x="870" y="1864"/>
                  </a:lnTo>
                  <a:lnTo>
                    <a:pt x="870" y="1862"/>
                  </a:lnTo>
                  <a:lnTo>
                    <a:pt x="870" y="1858"/>
                  </a:lnTo>
                  <a:lnTo>
                    <a:pt x="870" y="1856"/>
                  </a:lnTo>
                  <a:lnTo>
                    <a:pt x="862" y="1858"/>
                  </a:lnTo>
                  <a:lnTo>
                    <a:pt x="856" y="1860"/>
                  </a:lnTo>
                  <a:lnTo>
                    <a:pt x="852" y="1860"/>
                  </a:lnTo>
                  <a:lnTo>
                    <a:pt x="848" y="1860"/>
                  </a:lnTo>
                  <a:lnTo>
                    <a:pt x="846" y="1858"/>
                  </a:lnTo>
                  <a:lnTo>
                    <a:pt x="842" y="1854"/>
                  </a:lnTo>
                  <a:lnTo>
                    <a:pt x="840" y="1854"/>
                  </a:lnTo>
                  <a:lnTo>
                    <a:pt x="838" y="1854"/>
                  </a:lnTo>
                  <a:lnTo>
                    <a:pt x="834" y="1856"/>
                  </a:lnTo>
                  <a:lnTo>
                    <a:pt x="832" y="1854"/>
                  </a:lnTo>
                  <a:lnTo>
                    <a:pt x="830" y="1852"/>
                  </a:lnTo>
                  <a:lnTo>
                    <a:pt x="826" y="1850"/>
                  </a:lnTo>
                  <a:lnTo>
                    <a:pt x="822" y="1850"/>
                  </a:lnTo>
                  <a:lnTo>
                    <a:pt x="824" y="1848"/>
                  </a:lnTo>
                  <a:lnTo>
                    <a:pt x="826" y="1844"/>
                  </a:lnTo>
                  <a:lnTo>
                    <a:pt x="828" y="1842"/>
                  </a:lnTo>
                  <a:lnTo>
                    <a:pt x="826" y="1838"/>
                  </a:lnTo>
                  <a:lnTo>
                    <a:pt x="824" y="1834"/>
                  </a:lnTo>
                  <a:lnTo>
                    <a:pt x="822" y="1832"/>
                  </a:lnTo>
                  <a:lnTo>
                    <a:pt x="820" y="1834"/>
                  </a:lnTo>
                  <a:lnTo>
                    <a:pt x="816" y="1832"/>
                  </a:lnTo>
                  <a:lnTo>
                    <a:pt x="812" y="1830"/>
                  </a:lnTo>
                  <a:lnTo>
                    <a:pt x="808" y="1830"/>
                  </a:lnTo>
                  <a:lnTo>
                    <a:pt x="806" y="1832"/>
                  </a:lnTo>
                  <a:lnTo>
                    <a:pt x="802" y="1830"/>
                  </a:lnTo>
                  <a:lnTo>
                    <a:pt x="808" y="1826"/>
                  </a:lnTo>
                  <a:lnTo>
                    <a:pt x="810" y="1824"/>
                  </a:lnTo>
                  <a:lnTo>
                    <a:pt x="810" y="1826"/>
                  </a:lnTo>
                  <a:lnTo>
                    <a:pt x="812" y="1828"/>
                  </a:lnTo>
                  <a:lnTo>
                    <a:pt x="816" y="1828"/>
                  </a:lnTo>
                  <a:lnTo>
                    <a:pt x="818" y="1826"/>
                  </a:lnTo>
                  <a:lnTo>
                    <a:pt x="820" y="1826"/>
                  </a:lnTo>
                  <a:lnTo>
                    <a:pt x="824" y="1828"/>
                  </a:lnTo>
                  <a:lnTo>
                    <a:pt x="826" y="1826"/>
                  </a:lnTo>
                  <a:lnTo>
                    <a:pt x="828" y="1824"/>
                  </a:lnTo>
                  <a:lnTo>
                    <a:pt x="828" y="1822"/>
                  </a:lnTo>
                  <a:lnTo>
                    <a:pt x="822" y="1818"/>
                  </a:lnTo>
                  <a:lnTo>
                    <a:pt x="816" y="1814"/>
                  </a:lnTo>
                  <a:lnTo>
                    <a:pt x="812" y="1816"/>
                  </a:lnTo>
                  <a:lnTo>
                    <a:pt x="810" y="1818"/>
                  </a:lnTo>
                  <a:lnTo>
                    <a:pt x="806" y="1814"/>
                  </a:lnTo>
                  <a:lnTo>
                    <a:pt x="806" y="1812"/>
                  </a:lnTo>
                  <a:lnTo>
                    <a:pt x="806" y="1810"/>
                  </a:lnTo>
                  <a:lnTo>
                    <a:pt x="810" y="1808"/>
                  </a:lnTo>
                  <a:lnTo>
                    <a:pt x="812" y="1804"/>
                  </a:lnTo>
                  <a:lnTo>
                    <a:pt x="814" y="1804"/>
                  </a:lnTo>
                  <a:lnTo>
                    <a:pt x="812" y="1802"/>
                  </a:lnTo>
                  <a:lnTo>
                    <a:pt x="810" y="1798"/>
                  </a:lnTo>
                  <a:lnTo>
                    <a:pt x="810" y="1794"/>
                  </a:lnTo>
                  <a:lnTo>
                    <a:pt x="810" y="1792"/>
                  </a:lnTo>
                  <a:lnTo>
                    <a:pt x="808" y="1790"/>
                  </a:lnTo>
                  <a:lnTo>
                    <a:pt x="808" y="1788"/>
                  </a:lnTo>
                  <a:lnTo>
                    <a:pt x="808" y="1786"/>
                  </a:lnTo>
                  <a:lnTo>
                    <a:pt x="814" y="1784"/>
                  </a:lnTo>
                  <a:lnTo>
                    <a:pt x="818" y="1782"/>
                  </a:lnTo>
                  <a:lnTo>
                    <a:pt x="818" y="1780"/>
                  </a:lnTo>
                  <a:lnTo>
                    <a:pt x="818" y="1778"/>
                  </a:lnTo>
                  <a:lnTo>
                    <a:pt x="818" y="1776"/>
                  </a:lnTo>
                  <a:lnTo>
                    <a:pt x="822" y="1776"/>
                  </a:lnTo>
                  <a:lnTo>
                    <a:pt x="826" y="1774"/>
                  </a:lnTo>
                  <a:lnTo>
                    <a:pt x="826" y="1772"/>
                  </a:lnTo>
                  <a:lnTo>
                    <a:pt x="824" y="1768"/>
                  </a:lnTo>
                  <a:lnTo>
                    <a:pt x="820" y="1764"/>
                  </a:lnTo>
                  <a:lnTo>
                    <a:pt x="824" y="1766"/>
                  </a:lnTo>
                  <a:lnTo>
                    <a:pt x="828" y="1768"/>
                  </a:lnTo>
                  <a:lnTo>
                    <a:pt x="832" y="1768"/>
                  </a:lnTo>
                  <a:lnTo>
                    <a:pt x="834" y="1766"/>
                  </a:lnTo>
                  <a:lnTo>
                    <a:pt x="834" y="1764"/>
                  </a:lnTo>
                  <a:lnTo>
                    <a:pt x="834" y="1760"/>
                  </a:lnTo>
                  <a:lnTo>
                    <a:pt x="834" y="1750"/>
                  </a:lnTo>
                  <a:lnTo>
                    <a:pt x="836" y="1742"/>
                  </a:lnTo>
                  <a:lnTo>
                    <a:pt x="836" y="1740"/>
                  </a:lnTo>
                  <a:lnTo>
                    <a:pt x="840" y="1738"/>
                  </a:lnTo>
                  <a:lnTo>
                    <a:pt x="844" y="1738"/>
                  </a:lnTo>
                  <a:lnTo>
                    <a:pt x="844" y="1742"/>
                  </a:lnTo>
                  <a:lnTo>
                    <a:pt x="842" y="1744"/>
                  </a:lnTo>
                  <a:lnTo>
                    <a:pt x="842" y="1746"/>
                  </a:lnTo>
                  <a:lnTo>
                    <a:pt x="844" y="1748"/>
                  </a:lnTo>
                  <a:lnTo>
                    <a:pt x="848" y="1750"/>
                  </a:lnTo>
                  <a:lnTo>
                    <a:pt x="848" y="1748"/>
                  </a:lnTo>
                  <a:lnTo>
                    <a:pt x="850" y="1746"/>
                  </a:lnTo>
                  <a:lnTo>
                    <a:pt x="852" y="1746"/>
                  </a:lnTo>
                  <a:lnTo>
                    <a:pt x="854" y="1748"/>
                  </a:lnTo>
                  <a:lnTo>
                    <a:pt x="856" y="1746"/>
                  </a:lnTo>
                  <a:lnTo>
                    <a:pt x="858" y="1744"/>
                  </a:lnTo>
                  <a:lnTo>
                    <a:pt x="864" y="1732"/>
                  </a:lnTo>
                  <a:lnTo>
                    <a:pt x="864" y="1730"/>
                  </a:lnTo>
                  <a:lnTo>
                    <a:pt x="864" y="1728"/>
                  </a:lnTo>
                  <a:lnTo>
                    <a:pt x="858" y="1726"/>
                  </a:lnTo>
                  <a:lnTo>
                    <a:pt x="844" y="1724"/>
                  </a:lnTo>
                  <a:lnTo>
                    <a:pt x="840" y="1722"/>
                  </a:lnTo>
                  <a:lnTo>
                    <a:pt x="838" y="1722"/>
                  </a:lnTo>
                  <a:lnTo>
                    <a:pt x="840" y="1718"/>
                  </a:lnTo>
                  <a:lnTo>
                    <a:pt x="842" y="1714"/>
                  </a:lnTo>
                  <a:lnTo>
                    <a:pt x="840" y="1710"/>
                  </a:lnTo>
                  <a:lnTo>
                    <a:pt x="838" y="1706"/>
                  </a:lnTo>
                  <a:lnTo>
                    <a:pt x="838" y="1700"/>
                  </a:lnTo>
                  <a:lnTo>
                    <a:pt x="840" y="1690"/>
                  </a:lnTo>
                  <a:lnTo>
                    <a:pt x="842" y="1686"/>
                  </a:lnTo>
                  <a:lnTo>
                    <a:pt x="844" y="1684"/>
                  </a:lnTo>
                  <a:lnTo>
                    <a:pt x="846" y="1680"/>
                  </a:lnTo>
                  <a:lnTo>
                    <a:pt x="848" y="1676"/>
                  </a:lnTo>
                  <a:lnTo>
                    <a:pt x="848" y="1670"/>
                  </a:lnTo>
                  <a:lnTo>
                    <a:pt x="846" y="1662"/>
                  </a:lnTo>
                  <a:lnTo>
                    <a:pt x="844" y="1658"/>
                  </a:lnTo>
                  <a:lnTo>
                    <a:pt x="844" y="1656"/>
                  </a:lnTo>
                  <a:lnTo>
                    <a:pt x="846" y="1652"/>
                  </a:lnTo>
                  <a:lnTo>
                    <a:pt x="850" y="1648"/>
                  </a:lnTo>
                  <a:lnTo>
                    <a:pt x="850" y="1646"/>
                  </a:lnTo>
                  <a:lnTo>
                    <a:pt x="846" y="1646"/>
                  </a:lnTo>
                  <a:lnTo>
                    <a:pt x="844" y="1650"/>
                  </a:lnTo>
                  <a:lnTo>
                    <a:pt x="838" y="1654"/>
                  </a:lnTo>
                  <a:lnTo>
                    <a:pt x="830" y="1656"/>
                  </a:lnTo>
                  <a:lnTo>
                    <a:pt x="824" y="1658"/>
                  </a:lnTo>
                  <a:lnTo>
                    <a:pt x="822" y="1660"/>
                  </a:lnTo>
                  <a:lnTo>
                    <a:pt x="814" y="1672"/>
                  </a:lnTo>
                  <a:lnTo>
                    <a:pt x="810" y="1676"/>
                  </a:lnTo>
                  <a:lnTo>
                    <a:pt x="804" y="1680"/>
                  </a:lnTo>
                  <a:lnTo>
                    <a:pt x="796" y="1684"/>
                  </a:lnTo>
                  <a:lnTo>
                    <a:pt x="786" y="1686"/>
                  </a:lnTo>
                  <a:lnTo>
                    <a:pt x="776" y="1686"/>
                  </a:lnTo>
                  <a:lnTo>
                    <a:pt x="768" y="1690"/>
                  </a:lnTo>
                  <a:lnTo>
                    <a:pt x="762" y="1694"/>
                  </a:lnTo>
                  <a:lnTo>
                    <a:pt x="758" y="1700"/>
                  </a:lnTo>
                  <a:lnTo>
                    <a:pt x="754" y="1708"/>
                  </a:lnTo>
                  <a:lnTo>
                    <a:pt x="752" y="1718"/>
                  </a:lnTo>
                  <a:lnTo>
                    <a:pt x="748" y="1736"/>
                  </a:lnTo>
                  <a:lnTo>
                    <a:pt x="748" y="1752"/>
                  </a:lnTo>
                  <a:lnTo>
                    <a:pt x="750" y="1762"/>
                  </a:lnTo>
                  <a:lnTo>
                    <a:pt x="752" y="1770"/>
                  </a:lnTo>
                  <a:lnTo>
                    <a:pt x="750" y="1778"/>
                  </a:lnTo>
                  <a:lnTo>
                    <a:pt x="746" y="1784"/>
                  </a:lnTo>
                  <a:lnTo>
                    <a:pt x="748" y="1786"/>
                  </a:lnTo>
                  <a:lnTo>
                    <a:pt x="750" y="1786"/>
                  </a:lnTo>
                  <a:lnTo>
                    <a:pt x="754" y="1790"/>
                  </a:lnTo>
                  <a:lnTo>
                    <a:pt x="758" y="1792"/>
                  </a:lnTo>
                  <a:lnTo>
                    <a:pt x="758" y="1790"/>
                  </a:lnTo>
                  <a:lnTo>
                    <a:pt x="758" y="1788"/>
                  </a:lnTo>
                  <a:lnTo>
                    <a:pt x="762" y="1790"/>
                  </a:lnTo>
                  <a:lnTo>
                    <a:pt x="764" y="1792"/>
                  </a:lnTo>
                  <a:lnTo>
                    <a:pt x="768" y="1792"/>
                  </a:lnTo>
                  <a:lnTo>
                    <a:pt x="772" y="1796"/>
                  </a:lnTo>
                  <a:lnTo>
                    <a:pt x="772" y="1804"/>
                  </a:lnTo>
                  <a:lnTo>
                    <a:pt x="770" y="1810"/>
                  </a:lnTo>
                  <a:lnTo>
                    <a:pt x="768" y="1808"/>
                  </a:lnTo>
                  <a:lnTo>
                    <a:pt x="766" y="1806"/>
                  </a:lnTo>
                  <a:lnTo>
                    <a:pt x="764" y="1806"/>
                  </a:lnTo>
                  <a:lnTo>
                    <a:pt x="764" y="1810"/>
                  </a:lnTo>
                  <a:lnTo>
                    <a:pt x="764" y="1814"/>
                  </a:lnTo>
                  <a:lnTo>
                    <a:pt x="768" y="1812"/>
                  </a:lnTo>
                  <a:lnTo>
                    <a:pt x="770" y="1812"/>
                  </a:lnTo>
                  <a:lnTo>
                    <a:pt x="770" y="1814"/>
                  </a:lnTo>
                  <a:lnTo>
                    <a:pt x="770" y="1826"/>
                  </a:lnTo>
                  <a:lnTo>
                    <a:pt x="770" y="1830"/>
                  </a:lnTo>
                  <a:lnTo>
                    <a:pt x="774" y="1836"/>
                  </a:lnTo>
                  <a:lnTo>
                    <a:pt x="784" y="1848"/>
                  </a:lnTo>
                  <a:lnTo>
                    <a:pt x="786" y="1850"/>
                  </a:lnTo>
                  <a:lnTo>
                    <a:pt x="786" y="1852"/>
                  </a:lnTo>
                  <a:lnTo>
                    <a:pt x="782" y="1854"/>
                  </a:lnTo>
                  <a:lnTo>
                    <a:pt x="774" y="1856"/>
                  </a:lnTo>
                  <a:lnTo>
                    <a:pt x="772" y="1858"/>
                  </a:lnTo>
                  <a:lnTo>
                    <a:pt x="770" y="1860"/>
                  </a:lnTo>
                  <a:lnTo>
                    <a:pt x="770" y="1864"/>
                  </a:lnTo>
                  <a:lnTo>
                    <a:pt x="776" y="1864"/>
                  </a:lnTo>
                  <a:lnTo>
                    <a:pt x="780" y="1862"/>
                  </a:lnTo>
                  <a:lnTo>
                    <a:pt x="780" y="1864"/>
                  </a:lnTo>
                  <a:lnTo>
                    <a:pt x="778" y="1866"/>
                  </a:lnTo>
                  <a:lnTo>
                    <a:pt x="778" y="1870"/>
                  </a:lnTo>
                  <a:lnTo>
                    <a:pt x="778" y="1872"/>
                  </a:lnTo>
                  <a:lnTo>
                    <a:pt x="782" y="1874"/>
                  </a:lnTo>
                  <a:lnTo>
                    <a:pt x="786" y="1876"/>
                  </a:lnTo>
                  <a:lnTo>
                    <a:pt x="784" y="1878"/>
                  </a:lnTo>
                  <a:lnTo>
                    <a:pt x="780" y="1880"/>
                  </a:lnTo>
                  <a:lnTo>
                    <a:pt x="780" y="1882"/>
                  </a:lnTo>
                  <a:lnTo>
                    <a:pt x="782" y="1886"/>
                  </a:lnTo>
                  <a:lnTo>
                    <a:pt x="790" y="1886"/>
                  </a:lnTo>
                  <a:lnTo>
                    <a:pt x="798" y="1890"/>
                  </a:lnTo>
                  <a:lnTo>
                    <a:pt x="804" y="1894"/>
                  </a:lnTo>
                  <a:lnTo>
                    <a:pt x="804" y="1898"/>
                  </a:lnTo>
                  <a:lnTo>
                    <a:pt x="800" y="1896"/>
                  </a:lnTo>
                  <a:lnTo>
                    <a:pt x="794" y="1892"/>
                  </a:lnTo>
                  <a:lnTo>
                    <a:pt x="786" y="1890"/>
                  </a:lnTo>
                  <a:lnTo>
                    <a:pt x="780" y="1890"/>
                  </a:lnTo>
                  <a:lnTo>
                    <a:pt x="772" y="1888"/>
                  </a:lnTo>
                  <a:lnTo>
                    <a:pt x="770" y="1888"/>
                  </a:lnTo>
                  <a:lnTo>
                    <a:pt x="768" y="1890"/>
                  </a:lnTo>
                  <a:lnTo>
                    <a:pt x="768" y="1900"/>
                  </a:lnTo>
                  <a:lnTo>
                    <a:pt x="770" y="1910"/>
                  </a:lnTo>
                  <a:lnTo>
                    <a:pt x="768" y="1916"/>
                  </a:lnTo>
                  <a:lnTo>
                    <a:pt x="766" y="1918"/>
                  </a:lnTo>
                  <a:lnTo>
                    <a:pt x="764" y="1920"/>
                  </a:lnTo>
                  <a:lnTo>
                    <a:pt x="764" y="1918"/>
                  </a:lnTo>
                  <a:lnTo>
                    <a:pt x="764" y="1914"/>
                  </a:lnTo>
                  <a:lnTo>
                    <a:pt x="764" y="1908"/>
                  </a:lnTo>
                  <a:lnTo>
                    <a:pt x="764" y="1906"/>
                  </a:lnTo>
                  <a:lnTo>
                    <a:pt x="762" y="1904"/>
                  </a:lnTo>
                  <a:lnTo>
                    <a:pt x="758" y="1904"/>
                  </a:lnTo>
                  <a:lnTo>
                    <a:pt x="756" y="1906"/>
                  </a:lnTo>
                  <a:lnTo>
                    <a:pt x="756" y="1912"/>
                  </a:lnTo>
                  <a:lnTo>
                    <a:pt x="754" y="1916"/>
                  </a:lnTo>
                  <a:lnTo>
                    <a:pt x="750" y="1914"/>
                  </a:lnTo>
                  <a:lnTo>
                    <a:pt x="748" y="1912"/>
                  </a:lnTo>
                  <a:lnTo>
                    <a:pt x="748" y="1910"/>
                  </a:lnTo>
                  <a:lnTo>
                    <a:pt x="750" y="1904"/>
                  </a:lnTo>
                  <a:lnTo>
                    <a:pt x="748" y="1902"/>
                  </a:lnTo>
                  <a:lnTo>
                    <a:pt x="746" y="1900"/>
                  </a:lnTo>
                  <a:lnTo>
                    <a:pt x="742" y="1898"/>
                  </a:lnTo>
                  <a:lnTo>
                    <a:pt x="734" y="1898"/>
                  </a:lnTo>
                  <a:lnTo>
                    <a:pt x="720" y="1898"/>
                  </a:lnTo>
                  <a:lnTo>
                    <a:pt x="714" y="1900"/>
                  </a:lnTo>
                  <a:lnTo>
                    <a:pt x="710" y="1906"/>
                  </a:lnTo>
                  <a:lnTo>
                    <a:pt x="708" y="1914"/>
                  </a:lnTo>
                  <a:lnTo>
                    <a:pt x="706" y="1916"/>
                  </a:lnTo>
                  <a:lnTo>
                    <a:pt x="706" y="1920"/>
                  </a:lnTo>
                  <a:lnTo>
                    <a:pt x="710" y="1922"/>
                  </a:lnTo>
                  <a:lnTo>
                    <a:pt x="714" y="1922"/>
                  </a:lnTo>
                  <a:lnTo>
                    <a:pt x="714" y="1924"/>
                  </a:lnTo>
                  <a:lnTo>
                    <a:pt x="712" y="1926"/>
                  </a:lnTo>
                  <a:lnTo>
                    <a:pt x="708" y="1926"/>
                  </a:lnTo>
                  <a:lnTo>
                    <a:pt x="706" y="1926"/>
                  </a:lnTo>
                  <a:lnTo>
                    <a:pt x="700" y="1918"/>
                  </a:lnTo>
                  <a:lnTo>
                    <a:pt x="696" y="1914"/>
                  </a:lnTo>
                  <a:lnTo>
                    <a:pt x="688" y="1914"/>
                  </a:lnTo>
                  <a:lnTo>
                    <a:pt x="664" y="1918"/>
                  </a:lnTo>
                  <a:lnTo>
                    <a:pt x="654" y="1920"/>
                  </a:lnTo>
                  <a:lnTo>
                    <a:pt x="646" y="1924"/>
                  </a:lnTo>
                  <a:lnTo>
                    <a:pt x="640" y="1926"/>
                  </a:lnTo>
                  <a:lnTo>
                    <a:pt x="636" y="1930"/>
                  </a:lnTo>
                  <a:lnTo>
                    <a:pt x="634" y="1934"/>
                  </a:lnTo>
                  <a:lnTo>
                    <a:pt x="634" y="1938"/>
                  </a:lnTo>
                  <a:lnTo>
                    <a:pt x="634" y="1940"/>
                  </a:lnTo>
                  <a:lnTo>
                    <a:pt x="636" y="1940"/>
                  </a:lnTo>
                  <a:lnTo>
                    <a:pt x="638" y="1940"/>
                  </a:lnTo>
                  <a:lnTo>
                    <a:pt x="640" y="1942"/>
                  </a:lnTo>
                  <a:lnTo>
                    <a:pt x="640" y="1946"/>
                  </a:lnTo>
                  <a:lnTo>
                    <a:pt x="640" y="1950"/>
                  </a:lnTo>
                  <a:lnTo>
                    <a:pt x="642" y="1950"/>
                  </a:lnTo>
                  <a:lnTo>
                    <a:pt x="644" y="1952"/>
                  </a:lnTo>
                  <a:lnTo>
                    <a:pt x="646" y="1952"/>
                  </a:lnTo>
                  <a:lnTo>
                    <a:pt x="646" y="1954"/>
                  </a:lnTo>
                  <a:lnTo>
                    <a:pt x="646" y="1958"/>
                  </a:lnTo>
                  <a:lnTo>
                    <a:pt x="646" y="1962"/>
                  </a:lnTo>
                  <a:lnTo>
                    <a:pt x="648" y="1964"/>
                  </a:lnTo>
                  <a:lnTo>
                    <a:pt x="650" y="1966"/>
                  </a:lnTo>
                  <a:lnTo>
                    <a:pt x="654" y="1968"/>
                  </a:lnTo>
                  <a:lnTo>
                    <a:pt x="656" y="1972"/>
                  </a:lnTo>
                  <a:lnTo>
                    <a:pt x="654" y="1976"/>
                  </a:lnTo>
                  <a:lnTo>
                    <a:pt x="652" y="1980"/>
                  </a:lnTo>
                  <a:lnTo>
                    <a:pt x="648" y="1984"/>
                  </a:lnTo>
                  <a:lnTo>
                    <a:pt x="644" y="1986"/>
                  </a:lnTo>
                  <a:lnTo>
                    <a:pt x="638" y="1988"/>
                  </a:lnTo>
                  <a:lnTo>
                    <a:pt x="634" y="1986"/>
                  </a:lnTo>
                  <a:lnTo>
                    <a:pt x="628" y="1980"/>
                  </a:lnTo>
                  <a:lnTo>
                    <a:pt x="624" y="1974"/>
                  </a:lnTo>
                  <a:lnTo>
                    <a:pt x="624" y="1970"/>
                  </a:lnTo>
                  <a:lnTo>
                    <a:pt x="624" y="1968"/>
                  </a:lnTo>
                  <a:lnTo>
                    <a:pt x="626" y="1966"/>
                  </a:lnTo>
                  <a:lnTo>
                    <a:pt x="630" y="1964"/>
                  </a:lnTo>
                  <a:lnTo>
                    <a:pt x="634" y="1960"/>
                  </a:lnTo>
                  <a:lnTo>
                    <a:pt x="632" y="1958"/>
                  </a:lnTo>
                  <a:lnTo>
                    <a:pt x="628" y="1956"/>
                  </a:lnTo>
                  <a:lnTo>
                    <a:pt x="626" y="1952"/>
                  </a:lnTo>
                  <a:lnTo>
                    <a:pt x="626" y="1946"/>
                  </a:lnTo>
                  <a:lnTo>
                    <a:pt x="630" y="1942"/>
                  </a:lnTo>
                  <a:lnTo>
                    <a:pt x="630" y="1940"/>
                  </a:lnTo>
                  <a:lnTo>
                    <a:pt x="628" y="1940"/>
                  </a:lnTo>
                  <a:lnTo>
                    <a:pt x="618" y="1946"/>
                  </a:lnTo>
                  <a:lnTo>
                    <a:pt x="614" y="1944"/>
                  </a:lnTo>
                  <a:lnTo>
                    <a:pt x="612" y="1946"/>
                  </a:lnTo>
                  <a:lnTo>
                    <a:pt x="610" y="1954"/>
                  </a:lnTo>
                  <a:lnTo>
                    <a:pt x="606" y="1968"/>
                  </a:lnTo>
                  <a:lnTo>
                    <a:pt x="604" y="1978"/>
                  </a:lnTo>
                  <a:lnTo>
                    <a:pt x="600" y="1986"/>
                  </a:lnTo>
                  <a:lnTo>
                    <a:pt x="592" y="2000"/>
                  </a:lnTo>
                  <a:lnTo>
                    <a:pt x="588" y="2004"/>
                  </a:lnTo>
                  <a:lnTo>
                    <a:pt x="586" y="2004"/>
                  </a:lnTo>
                  <a:lnTo>
                    <a:pt x="586" y="2008"/>
                  </a:lnTo>
                  <a:lnTo>
                    <a:pt x="586" y="2010"/>
                  </a:lnTo>
                  <a:lnTo>
                    <a:pt x="584" y="2012"/>
                  </a:lnTo>
                  <a:lnTo>
                    <a:pt x="578" y="2014"/>
                  </a:lnTo>
                  <a:lnTo>
                    <a:pt x="572" y="2016"/>
                  </a:lnTo>
                  <a:lnTo>
                    <a:pt x="570" y="2018"/>
                  </a:lnTo>
                  <a:lnTo>
                    <a:pt x="572" y="2020"/>
                  </a:lnTo>
                  <a:lnTo>
                    <a:pt x="578" y="2024"/>
                  </a:lnTo>
                  <a:lnTo>
                    <a:pt x="586" y="2024"/>
                  </a:lnTo>
                  <a:lnTo>
                    <a:pt x="590" y="2026"/>
                  </a:lnTo>
                  <a:lnTo>
                    <a:pt x="584" y="2030"/>
                  </a:lnTo>
                  <a:lnTo>
                    <a:pt x="570" y="2026"/>
                  </a:lnTo>
                  <a:lnTo>
                    <a:pt x="564" y="2026"/>
                  </a:lnTo>
                  <a:lnTo>
                    <a:pt x="562" y="2028"/>
                  </a:lnTo>
                  <a:lnTo>
                    <a:pt x="562" y="2030"/>
                  </a:lnTo>
                  <a:lnTo>
                    <a:pt x="562" y="2032"/>
                  </a:lnTo>
                  <a:lnTo>
                    <a:pt x="568" y="2034"/>
                  </a:lnTo>
                  <a:lnTo>
                    <a:pt x="574" y="2036"/>
                  </a:lnTo>
                  <a:lnTo>
                    <a:pt x="580" y="2036"/>
                  </a:lnTo>
                  <a:lnTo>
                    <a:pt x="586" y="2036"/>
                  </a:lnTo>
                  <a:lnTo>
                    <a:pt x="588" y="2036"/>
                  </a:lnTo>
                  <a:lnTo>
                    <a:pt x="588" y="2038"/>
                  </a:lnTo>
                  <a:lnTo>
                    <a:pt x="588" y="2040"/>
                  </a:lnTo>
                  <a:lnTo>
                    <a:pt x="580" y="2042"/>
                  </a:lnTo>
                  <a:lnTo>
                    <a:pt x="576" y="2042"/>
                  </a:lnTo>
                  <a:lnTo>
                    <a:pt x="572" y="2042"/>
                  </a:lnTo>
                  <a:lnTo>
                    <a:pt x="566" y="2038"/>
                  </a:lnTo>
                  <a:lnTo>
                    <a:pt x="564" y="2038"/>
                  </a:lnTo>
                  <a:lnTo>
                    <a:pt x="558" y="2040"/>
                  </a:lnTo>
                  <a:lnTo>
                    <a:pt x="550" y="2044"/>
                  </a:lnTo>
                  <a:lnTo>
                    <a:pt x="540" y="2048"/>
                  </a:lnTo>
                  <a:lnTo>
                    <a:pt x="532" y="2054"/>
                  </a:lnTo>
                  <a:lnTo>
                    <a:pt x="524" y="2058"/>
                  </a:lnTo>
                  <a:lnTo>
                    <a:pt x="504" y="2060"/>
                  </a:lnTo>
                  <a:lnTo>
                    <a:pt x="492" y="2064"/>
                  </a:lnTo>
                  <a:lnTo>
                    <a:pt x="488" y="2068"/>
                  </a:lnTo>
                  <a:lnTo>
                    <a:pt x="486" y="2070"/>
                  </a:lnTo>
                  <a:lnTo>
                    <a:pt x="484" y="2074"/>
                  </a:lnTo>
                  <a:lnTo>
                    <a:pt x="484" y="2078"/>
                  </a:lnTo>
                  <a:lnTo>
                    <a:pt x="486" y="2086"/>
                  </a:lnTo>
                  <a:lnTo>
                    <a:pt x="484" y="2090"/>
                  </a:lnTo>
                  <a:lnTo>
                    <a:pt x="484" y="2094"/>
                  </a:lnTo>
                  <a:lnTo>
                    <a:pt x="486" y="2098"/>
                  </a:lnTo>
                  <a:lnTo>
                    <a:pt x="486" y="2100"/>
                  </a:lnTo>
                  <a:lnTo>
                    <a:pt x="484" y="2100"/>
                  </a:lnTo>
                  <a:lnTo>
                    <a:pt x="484" y="2102"/>
                  </a:lnTo>
                  <a:lnTo>
                    <a:pt x="486" y="2106"/>
                  </a:lnTo>
                  <a:lnTo>
                    <a:pt x="488" y="2108"/>
                  </a:lnTo>
                  <a:lnTo>
                    <a:pt x="486" y="2110"/>
                  </a:lnTo>
                  <a:lnTo>
                    <a:pt x="482" y="2112"/>
                  </a:lnTo>
                  <a:lnTo>
                    <a:pt x="480" y="2114"/>
                  </a:lnTo>
                  <a:lnTo>
                    <a:pt x="478" y="2118"/>
                  </a:lnTo>
                  <a:lnTo>
                    <a:pt x="472" y="2120"/>
                  </a:lnTo>
                  <a:lnTo>
                    <a:pt x="444" y="2132"/>
                  </a:lnTo>
                  <a:lnTo>
                    <a:pt x="434" y="2136"/>
                  </a:lnTo>
                  <a:lnTo>
                    <a:pt x="428" y="2140"/>
                  </a:lnTo>
                  <a:lnTo>
                    <a:pt x="426" y="2144"/>
                  </a:lnTo>
                  <a:lnTo>
                    <a:pt x="426" y="2146"/>
                  </a:lnTo>
                  <a:lnTo>
                    <a:pt x="426" y="2150"/>
                  </a:lnTo>
                  <a:lnTo>
                    <a:pt x="428" y="2152"/>
                  </a:lnTo>
                  <a:lnTo>
                    <a:pt x="432" y="2154"/>
                  </a:lnTo>
                  <a:lnTo>
                    <a:pt x="434" y="2154"/>
                  </a:lnTo>
                  <a:lnTo>
                    <a:pt x="432" y="2156"/>
                  </a:lnTo>
                  <a:lnTo>
                    <a:pt x="420" y="2162"/>
                  </a:lnTo>
                  <a:lnTo>
                    <a:pt x="416" y="2164"/>
                  </a:lnTo>
                  <a:lnTo>
                    <a:pt x="412" y="2164"/>
                  </a:lnTo>
                  <a:lnTo>
                    <a:pt x="402" y="2162"/>
                  </a:lnTo>
                  <a:lnTo>
                    <a:pt x="392" y="2158"/>
                  </a:lnTo>
                  <a:lnTo>
                    <a:pt x="384" y="2158"/>
                  </a:lnTo>
                  <a:lnTo>
                    <a:pt x="376" y="2160"/>
                  </a:lnTo>
                  <a:lnTo>
                    <a:pt x="374" y="2160"/>
                  </a:lnTo>
                  <a:lnTo>
                    <a:pt x="372" y="2156"/>
                  </a:lnTo>
                  <a:lnTo>
                    <a:pt x="372" y="2148"/>
                  </a:lnTo>
                  <a:lnTo>
                    <a:pt x="370" y="2142"/>
                  </a:lnTo>
                  <a:lnTo>
                    <a:pt x="368" y="2140"/>
                  </a:lnTo>
                  <a:lnTo>
                    <a:pt x="364" y="2140"/>
                  </a:lnTo>
                  <a:lnTo>
                    <a:pt x="356" y="2140"/>
                  </a:lnTo>
                  <a:lnTo>
                    <a:pt x="348" y="2140"/>
                  </a:lnTo>
                  <a:lnTo>
                    <a:pt x="346" y="2138"/>
                  </a:lnTo>
                  <a:lnTo>
                    <a:pt x="346" y="2142"/>
                  </a:lnTo>
                  <a:lnTo>
                    <a:pt x="348" y="2148"/>
                  </a:lnTo>
                  <a:lnTo>
                    <a:pt x="348" y="2152"/>
                  </a:lnTo>
                  <a:lnTo>
                    <a:pt x="348" y="2156"/>
                  </a:lnTo>
                  <a:lnTo>
                    <a:pt x="352" y="2160"/>
                  </a:lnTo>
                  <a:lnTo>
                    <a:pt x="356" y="2164"/>
                  </a:lnTo>
                  <a:lnTo>
                    <a:pt x="358" y="2172"/>
                  </a:lnTo>
                  <a:lnTo>
                    <a:pt x="360" y="2180"/>
                  </a:lnTo>
                  <a:lnTo>
                    <a:pt x="360" y="2188"/>
                  </a:lnTo>
                  <a:lnTo>
                    <a:pt x="360" y="2192"/>
                  </a:lnTo>
                  <a:lnTo>
                    <a:pt x="360" y="2194"/>
                  </a:lnTo>
                  <a:lnTo>
                    <a:pt x="362" y="2200"/>
                  </a:lnTo>
                  <a:lnTo>
                    <a:pt x="364" y="2202"/>
                  </a:lnTo>
                  <a:lnTo>
                    <a:pt x="358" y="2204"/>
                  </a:lnTo>
                  <a:lnTo>
                    <a:pt x="352" y="2204"/>
                  </a:lnTo>
                  <a:lnTo>
                    <a:pt x="350" y="2202"/>
                  </a:lnTo>
                  <a:lnTo>
                    <a:pt x="348" y="2198"/>
                  </a:lnTo>
                  <a:lnTo>
                    <a:pt x="346" y="2198"/>
                  </a:lnTo>
                  <a:lnTo>
                    <a:pt x="344" y="2198"/>
                  </a:lnTo>
                  <a:lnTo>
                    <a:pt x="344" y="2200"/>
                  </a:lnTo>
                  <a:lnTo>
                    <a:pt x="342" y="2202"/>
                  </a:lnTo>
                  <a:lnTo>
                    <a:pt x="338" y="2202"/>
                  </a:lnTo>
                  <a:lnTo>
                    <a:pt x="334" y="2202"/>
                  </a:lnTo>
                  <a:lnTo>
                    <a:pt x="332" y="2200"/>
                  </a:lnTo>
                  <a:lnTo>
                    <a:pt x="330" y="2198"/>
                  </a:lnTo>
                  <a:lnTo>
                    <a:pt x="326" y="2200"/>
                  </a:lnTo>
                  <a:lnTo>
                    <a:pt x="318" y="2206"/>
                  </a:lnTo>
                  <a:lnTo>
                    <a:pt x="314" y="2208"/>
                  </a:lnTo>
                  <a:lnTo>
                    <a:pt x="310" y="2206"/>
                  </a:lnTo>
                  <a:lnTo>
                    <a:pt x="302" y="2192"/>
                  </a:lnTo>
                  <a:lnTo>
                    <a:pt x="298" y="2186"/>
                  </a:lnTo>
                  <a:lnTo>
                    <a:pt x="296" y="2186"/>
                  </a:lnTo>
                  <a:lnTo>
                    <a:pt x="292" y="2188"/>
                  </a:lnTo>
                  <a:lnTo>
                    <a:pt x="286" y="2190"/>
                  </a:lnTo>
                  <a:lnTo>
                    <a:pt x="282" y="2190"/>
                  </a:lnTo>
                  <a:lnTo>
                    <a:pt x="280" y="2190"/>
                  </a:lnTo>
                  <a:lnTo>
                    <a:pt x="278" y="2194"/>
                  </a:lnTo>
                  <a:lnTo>
                    <a:pt x="278" y="2198"/>
                  </a:lnTo>
                  <a:lnTo>
                    <a:pt x="276" y="2200"/>
                  </a:lnTo>
                  <a:lnTo>
                    <a:pt x="270" y="2200"/>
                  </a:lnTo>
                  <a:lnTo>
                    <a:pt x="264" y="2198"/>
                  </a:lnTo>
                  <a:lnTo>
                    <a:pt x="260" y="2196"/>
                  </a:lnTo>
                  <a:lnTo>
                    <a:pt x="258" y="2198"/>
                  </a:lnTo>
                  <a:lnTo>
                    <a:pt x="250" y="2200"/>
                  </a:lnTo>
                  <a:lnTo>
                    <a:pt x="240" y="2202"/>
                  </a:lnTo>
                  <a:lnTo>
                    <a:pt x="234" y="2206"/>
                  </a:lnTo>
                  <a:lnTo>
                    <a:pt x="230" y="2212"/>
                  </a:lnTo>
                  <a:lnTo>
                    <a:pt x="230" y="2216"/>
                  </a:lnTo>
                  <a:lnTo>
                    <a:pt x="232" y="2218"/>
                  </a:lnTo>
                  <a:lnTo>
                    <a:pt x="236" y="2218"/>
                  </a:lnTo>
                  <a:lnTo>
                    <a:pt x="240" y="2218"/>
                  </a:lnTo>
                  <a:lnTo>
                    <a:pt x="244" y="2218"/>
                  </a:lnTo>
                  <a:lnTo>
                    <a:pt x="246" y="2220"/>
                  </a:lnTo>
                  <a:lnTo>
                    <a:pt x="242" y="2220"/>
                  </a:lnTo>
                  <a:lnTo>
                    <a:pt x="238" y="2222"/>
                  </a:lnTo>
                  <a:lnTo>
                    <a:pt x="238" y="2224"/>
                  </a:lnTo>
                  <a:lnTo>
                    <a:pt x="236" y="2226"/>
                  </a:lnTo>
                  <a:lnTo>
                    <a:pt x="238" y="2228"/>
                  </a:lnTo>
                  <a:lnTo>
                    <a:pt x="242" y="2228"/>
                  </a:lnTo>
                  <a:lnTo>
                    <a:pt x="246" y="2228"/>
                  </a:lnTo>
                  <a:lnTo>
                    <a:pt x="250" y="2230"/>
                  </a:lnTo>
                  <a:lnTo>
                    <a:pt x="246" y="2232"/>
                  </a:lnTo>
                  <a:lnTo>
                    <a:pt x="240" y="2234"/>
                  </a:lnTo>
                  <a:lnTo>
                    <a:pt x="234" y="2234"/>
                  </a:lnTo>
                  <a:lnTo>
                    <a:pt x="234" y="2236"/>
                  </a:lnTo>
                  <a:lnTo>
                    <a:pt x="236" y="2238"/>
                  </a:lnTo>
                  <a:lnTo>
                    <a:pt x="242" y="2244"/>
                  </a:lnTo>
                  <a:lnTo>
                    <a:pt x="244" y="2248"/>
                  </a:lnTo>
                  <a:lnTo>
                    <a:pt x="248" y="2250"/>
                  </a:lnTo>
                  <a:lnTo>
                    <a:pt x="252" y="2250"/>
                  </a:lnTo>
                  <a:lnTo>
                    <a:pt x="258" y="2248"/>
                  </a:lnTo>
                  <a:lnTo>
                    <a:pt x="264" y="2248"/>
                  </a:lnTo>
                  <a:lnTo>
                    <a:pt x="280" y="2254"/>
                  </a:lnTo>
                  <a:lnTo>
                    <a:pt x="286" y="2258"/>
                  </a:lnTo>
                  <a:lnTo>
                    <a:pt x="292" y="2260"/>
                  </a:lnTo>
                  <a:lnTo>
                    <a:pt x="296" y="2262"/>
                  </a:lnTo>
                  <a:lnTo>
                    <a:pt x="302" y="2262"/>
                  </a:lnTo>
                  <a:lnTo>
                    <a:pt x="306" y="2262"/>
                  </a:lnTo>
                  <a:lnTo>
                    <a:pt x="306" y="2266"/>
                  </a:lnTo>
                  <a:lnTo>
                    <a:pt x="306" y="2268"/>
                  </a:lnTo>
                  <a:lnTo>
                    <a:pt x="314" y="2268"/>
                  </a:lnTo>
                  <a:lnTo>
                    <a:pt x="318" y="2268"/>
                  </a:lnTo>
                  <a:lnTo>
                    <a:pt x="322" y="2268"/>
                  </a:lnTo>
                  <a:lnTo>
                    <a:pt x="324" y="2270"/>
                  </a:lnTo>
                  <a:lnTo>
                    <a:pt x="322" y="2272"/>
                  </a:lnTo>
                  <a:lnTo>
                    <a:pt x="320" y="2276"/>
                  </a:lnTo>
                  <a:lnTo>
                    <a:pt x="320" y="2280"/>
                  </a:lnTo>
                  <a:lnTo>
                    <a:pt x="322" y="2282"/>
                  </a:lnTo>
                  <a:lnTo>
                    <a:pt x="330" y="2282"/>
                  </a:lnTo>
                  <a:lnTo>
                    <a:pt x="334" y="2282"/>
                  </a:lnTo>
                  <a:lnTo>
                    <a:pt x="334" y="2286"/>
                  </a:lnTo>
                  <a:lnTo>
                    <a:pt x="332" y="2290"/>
                  </a:lnTo>
                  <a:lnTo>
                    <a:pt x="334" y="2290"/>
                  </a:lnTo>
                  <a:lnTo>
                    <a:pt x="336" y="2292"/>
                  </a:lnTo>
                  <a:lnTo>
                    <a:pt x="340" y="2292"/>
                  </a:lnTo>
                  <a:lnTo>
                    <a:pt x="342" y="2294"/>
                  </a:lnTo>
                  <a:lnTo>
                    <a:pt x="342" y="2298"/>
                  </a:lnTo>
                  <a:lnTo>
                    <a:pt x="338" y="2300"/>
                  </a:lnTo>
                  <a:lnTo>
                    <a:pt x="336" y="2302"/>
                  </a:lnTo>
                  <a:lnTo>
                    <a:pt x="336" y="2306"/>
                  </a:lnTo>
                  <a:lnTo>
                    <a:pt x="340" y="2314"/>
                  </a:lnTo>
                  <a:lnTo>
                    <a:pt x="348" y="2324"/>
                  </a:lnTo>
                  <a:lnTo>
                    <a:pt x="358" y="2332"/>
                  </a:lnTo>
                  <a:lnTo>
                    <a:pt x="368" y="2336"/>
                  </a:lnTo>
                  <a:lnTo>
                    <a:pt x="374" y="2338"/>
                  </a:lnTo>
                  <a:lnTo>
                    <a:pt x="376" y="2338"/>
                  </a:lnTo>
                  <a:lnTo>
                    <a:pt x="374" y="2342"/>
                  </a:lnTo>
                  <a:lnTo>
                    <a:pt x="374" y="2346"/>
                  </a:lnTo>
                  <a:lnTo>
                    <a:pt x="376" y="2348"/>
                  </a:lnTo>
                  <a:lnTo>
                    <a:pt x="378" y="2352"/>
                  </a:lnTo>
                  <a:lnTo>
                    <a:pt x="378" y="2360"/>
                  </a:lnTo>
                  <a:lnTo>
                    <a:pt x="376" y="2364"/>
                  </a:lnTo>
                  <a:lnTo>
                    <a:pt x="374" y="2366"/>
                  </a:lnTo>
                  <a:lnTo>
                    <a:pt x="370" y="2368"/>
                  </a:lnTo>
                  <a:lnTo>
                    <a:pt x="370" y="2370"/>
                  </a:lnTo>
                  <a:lnTo>
                    <a:pt x="378" y="2376"/>
                  </a:lnTo>
                  <a:lnTo>
                    <a:pt x="388" y="2382"/>
                  </a:lnTo>
                  <a:lnTo>
                    <a:pt x="392" y="2388"/>
                  </a:lnTo>
                  <a:lnTo>
                    <a:pt x="394" y="2396"/>
                  </a:lnTo>
                  <a:lnTo>
                    <a:pt x="394" y="2402"/>
                  </a:lnTo>
                  <a:lnTo>
                    <a:pt x="394" y="2404"/>
                  </a:lnTo>
                  <a:lnTo>
                    <a:pt x="392" y="2398"/>
                  </a:lnTo>
                  <a:lnTo>
                    <a:pt x="388" y="2388"/>
                  </a:lnTo>
                  <a:lnTo>
                    <a:pt x="384" y="2384"/>
                  </a:lnTo>
                  <a:lnTo>
                    <a:pt x="380" y="2382"/>
                  </a:lnTo>
                  <a:lnTo>
                    <a:pt x="378" y="2390"/>
                  </a:lnTo>
                  <a:lnTo>
                    <a:pt x="372" y="2410"/>
                  </a:lnTo>
                  <a:lnTo>
                    <a:pt x="370" y="2426"/>
                  </a:lnTo>
                  <a:lnTo>
                    <a:pt x="372" y="2428"/>
                  </a:lnTo>
                  <a:lnTo>
                    <a:pt x="374" y="2426"/>
                  </a:lnTo>
                  <a:lnTo>
                    <a:pt x="376" y="2426"/>
                  </a:lnTo>
                  <a:lnTo>
                    <a:pt x="378" y="2426"/>
                  </a:lnTo>
                  <a:lnTo>
                    <a:pt x="378" y="2430"/>
                  </a:lnTo>
                  <a:lnTo>
                    <a:pt x="376" y="2432"/>
                  </a:lnTo>
                  <a:lnTo>
                    <a:pt x="374" y="2432"/>
                  </a:lnTo>
                  <a:lnTo>
                    <a:pt x="372" y="2436"/>
                  </a:lnTo>
                  <a:lnTo>
                    <a:pt x="370" y="2460"/>
                  </a:lnTo>
                  <a:lnTo>
                    <a:pt x="366" y="2480"/>
                  </a:lnTo>
                  <a:lnTo>
                    <a:pt x="362" y="2492"/>
                  </a:lnTo>
                  <a:lnTo>
                    <a:pt x="358" y="2500"/>
                  </a:lnTo>
                  <a:lnTo>
                    <a:pt x="352" y="2502"/>
                  </a:lnTo>
                  <a:lnTo>
                    <a:pt x="342" y="2506"/>
                  </a:lnTo>
                  <a:lnTo>
                    <a:pt x="334" y="2506"/>
                  </a:lnTo>
                  <a:lnTo>
                    <a:pt x="326" y="2504"/>
                  </a:lnTo>
                  <a:lnTo>
                    <a:pt x="314" y="2500"/>
                  </a:lnTo>
                  <a:lnTo>
                    <a:pt x="308" y="2500"/>
                  </a:lnTo>
                  <a:lnTo>
                    <a:pt x="300" y="2502"/>
                  </a:lnTo>
                  <a:lnTo>
                    <a:pt x="286" y="2498"/>
                  </a:lnTo>
                  <a:lnTo>
                    <a:pt x="278" y="2496"/>
                  </a:lnTo>
                  <a:lnTo>
                    <a:pt x="270" y="2496"/>
                  </a:lnTo>
                  <a:lnTo>
                    <a:pt x="252" y="2498"/>
                  </a:lnTo>
                  <a:lnTo>
                    <a:pt x="232" y="2498"/>
                  </a:lnTo>
                  <a:lnTo>
                    <a:pt x="220" y="2498"/>
                  </a:lnTo>
                  <a:lnTo>
                    <a:pt x="206" y="2494"/>
                  </a:lnTo>
                  <a:lnTo>
                    <a:pt x="192" y="2490"/>
                  </a:lnTo>
                  <a:lnTo>
                    <a:pt x="182" y="2490"/>
                  </a:lnTo>
                  <a:lnTo>
                    <a:pt x="172" y="2492"/>
                  </a:lnTo>
                  <a:lnTo>
                    <a:pt x="154" y="2492"/>
                  </a:lnTo>
                  <a:lnTo>
                    <a:pt x="142" y="2492"/>
                  </a:lnTo>
                  <a:lnTo>
                    <a:pt x="134" y="2490"/>
                  </a:lnTo>
                  <a:lnTo>
                    <a:pt x="120" y="2486"/>
                  </a:lnTo>
                  <a:lnTo>
                    <a:pt x="110" y="2482"/>
                  </a:lnTo>
                  <a:lnTo>
                    <a:pt x="104" y="2484"/>
                  </a:lnTo>
                  <a:lnTo>
                    <a:pt x="98" y="2486"/>
                  </a:lnTo>
                  <a:lnTo>
                    <a:pt x="92" y="2490"/>
                  </a:lnTo>
                  <a:lnTo>
                    <a:pt x="88" y="2492"/>
                  </a:lnTo>
                  <a:lnTo>
                    <a:pt x="86" y="2500"/>
                  </a:lnTo>
                  <a:lnTo>
                    <a:pt x="86" y="2504"/>
                  </a:lnTo>
                  <a:lnTo>
                    <a:pt x="82" y="2506"/>
                  </a:lnTo>
                  <a:lnTo>
                    <a:pt x="78" y="2506"/>
                  </a:lnTo>
                  <a:lnTo>
                    <a:pt x="72" y="2506"/>
                  </a:lnTo>
                  <a:lnTo>
                    <a:pt x="66" y="2508"/>
                  </a:lnTo>
                  <a:lnTo>
                    <a:pt x="54" y="2516"/>
                  </a:lnTo>
                  <a:lnTo>
                    <a:pt x="50" y="2520"/>
                  </a:lnTo>
                  <a:lnTo>
                    <a:pt x="48" y="2524"/>
                  </a:lnTo>
                  <a:lnTo>
                    <a:pt x="48" y="2528"/>
                  </a:lnTo>
                  <a:lnTo>
                    <a:pt x="50" y="2530"/>
                  </a:lnTo>
                  <a:lnTo>
                    <a:pt x="54" y="2534"/>
                  </a:lnTo>
                  <a:lnTo>
                    <a:pt x="56" y="2540"/>
                  </a:lnTo>
                  <a:lnTo>
                    <a:pt x="58" y="2546"/>
                  </a:lnTo>
                  <a:lnTo>
                    <a:pt x="60" y="2552"/>
                  </a:lnTo>
                  <a:lnTo>
                    <a:pt x="64" y="2560"/>
                  </a:lnTo>
                  <a:lnTo>
                    <a:pt x="64" y="2570"/>
                  </a:lnTo>
                  <a:lnTo>
                    <a:pt x="64" y="2578"/>
                  </a:lnTo>
                  <a:lnTo>
                    <a:pt x="66" y="2588"/>
                  </a:lnTo>
                  <a:lnTo>
                    <a:pt x="64" y="2594"/>
                  </a:lnTo>
                  <a:lnTo>
                    <a:pt x="66" y="2596"/>
                  </a:lnTo>
                  <a:lnTo>
                    <a:pt x="68" y="2600"/>
                  </a:lnTo>
                  <a:lnTo>
                    <a:pt x="66" y="2602"/>
                  </a:lnTo>
                  <a:lnTo>
                    <a:pt x="66" y="2606"/>
                  </a:lnTo>
                  <a:lnTo>
                    <a:pt x="66" y="2612"/>
                  </a:lnTo>
                  <a:lnTo>
                    <a:pt x="74" y="2628"/>
                  </a:lnTo>
                  <a:lnTo>
                    <a:pt x="74" y="2632"/>
                  </a:lnTo>
                  <a:lnTo>
                    <a:pt x="74" y="2640"/>
                  </a:lnTo>
                  <a:lnTo>
                    <a:pt x="70" y="2654"/>
                  </a:lnTo>
                  <a:lnTo>
                    <a:pt x="66" y="2670"/>
                  </a:lnTo>
                  <a:lnTo>
                    <a:pt x="64" y="2680"/>
                  </a:lnTo>
                  <a:lnTo>
                    <a:pt x="66" y="2684"/>
                  </a:lnTo>
                  <a:lnTo>
                    <a:pt x="64" y="2688"/>
                  </a:lnTo>
                  <a:lnTo>
                    <a:pt x="60" y="2694"/>
                  </a:lnTo>
                  <a:lnTo>
                    <a:pt x="56" y="2708"/>
                  </a:lnTo>
                  <a:lnTo>
                    <a:pt x="54" y="2716"/>
                  </a:lnTo>
                  <a:lnTo>
                    <a:pt x="50" y="2720"/>
                  </a:lnTo>
                  <a:lnTo>
                    <a:pt x="46" y="2724"/>
                  </a:lnTo>
                  <a:lnTo>
                    <a:pt x="44" y="2726"/>
                  </a:lnTo>
                  <a:lnTo>
                    <a:pt x="44" y="2730"/>
                  </a:lnTo>
                  <a:lnTo>
                    <a:pt x="44" y="2734"/>
                  </a:lnTo>
                  <a:lnTo>
                    <a:pt x="44" y="2740"/>
                  </a:lnTo>
                  <a:lnTo>
                    <a:pt x="40" y="2750"/>
                  </a:lnTo>
                  <a:lnTo>
                    <a:pt x="38" y="2756"/>
                  </a:lnTo>
                  <a:lnTo>
                    <a:pt x="38" y="2760"/>
                  </a:lnTo>
                  <a:lnTo>
                    <a:pt x="40" y="2762"/>
                  </a:lnTo>
                  <a:lnTo>
                    <a:pt x="44" y="2764"/>
                  </a:lnTo>
                  <a:lnTo>
                    <a:pt x="52" y="2764"/>
                  </a:lnTo>
                  <a:lnTo>
                    <a:pt x="50" y="2766"/>
                  </a:lnTo>
                  <a:lnTo>
                    <a:pt x="50" y="2770"/>
                  </a:lnTo>
                  <a:lnTo>
                    <a:pt x="50" y="2772"/>
                  </a:lnTo>
                  <a:lnTo>
                    <a:pt x="50" y="2776"/>
                  </a:lnTo>
                  <a:lnTo>
                    <a:pt x="50" y="2778"/>
                  </a:lnTo>
                  <a:lnTo>
                    <a:pt x="52" y="2778"/>
                  </a:lnTo>
                  <a:lnTo>
                    <a:pt x="58" y="2776"/>
                  </a:lnTo>
                  <a:lnTo>
                    <a:pt x="64" y="2778"/>
                  </a:lnTo>
                  <a:lnTo>
                    <a:pt x="66" y="2780"/>
                  </a:lnTo>
                  <a:lnTo>
                    <a:pt x="66" y="2782"/>
                  </a:lnTo>
                  <a:lnTo>
                    <a:pt x="68" y="2788"/>
                  </a:lnTo>
                  <a:lnTo>
                    <a:pt x="66" y="2794"/>
                  </a:lnTo>
                  <a:lnTo>
                    <a:pt x="64" y="2804"/>
                  </a:lnTo>
                  <a:lnTo>
                    <a:pt x="66" y="2810"/>
                  </a:lnTo>
                  <a:lnTo>
                    <a:pt x="66" y="2820"/>
                  </a:lnTo>
                  <a:lnTo>
                    <a:pt x="62" y="2842"/>
                  </a:lnTo>
                  <a:lnTo>
                    <a:pt x="60" y="2856"/>
                  </a:lnTo>
                  <a:lnTo>
                    <a:pt x="62" y="2856"/>
                  </a:lnTo>
                  <a:lnTo>
                    <a:pt x="64" y="2856"/>
                  </a:lnTo>
                  <a:lnTo>
                    <a:pt x="68" y="2852"/>
                  </a:lnTo>
                  <a:lnTo>
                    <a:pt x="72" y="2850"/>
                  </a:lnTo>
                  <a:lnTo>
                    <a:pt x="80" y="2850"/>
                  </a:lnTo>
                  <a:lnTo>
                    <a:pt x="92" y="2854"/>
                  </a:lnTo>
                  <a:lnTo>
                    <a:pt x="104" y="2858"/>
                  </a:lnTo>
                  <a:lnTo>
                    <a:pt x="110" y="2856"/>
                  </a:lnTo>
                  <a:lnTo>
                    <a:pt x="114" y="2852"/>
                  </a:lnTo>
                  <a:lnTo>
                    <a:pt x="124" y="2846"/>
                  </a:lnTo>
                  <a:lnTo>
                    <a:pt x="130" y="2844"/>
                  </a:lnTo>
                  <a:lnTo>
                    <a:pt x="136" y="2844"/>
                  </a:lnTo>
                  <a:lnTo>
                    <a:pt x="142" y="2846"/>
                  </a:lnTo>
                  <a:lnTo>
                    <a:pt x="148" y="2850"/>
                  </a:lnTo>
                  <a:lnTo>
                    <a:pt x="158" y="2858"/>
                  </a:lnTo>
                  <a:lnTo>
                    <a:pt x="160" y="2862"/>
                  </a:lnTo>
                  <a:lnTo>
                    <a:pt x="162" y="2866"/>
                  </a:lnTo>
                  <a:lnTo>
                    <a:pt x="162" y="2874"/>
                  </a:lnTo>
                  <a:lnTo>
                    <a:pt x="166" y="2882"/>
                  </a:lnTo>
                  <a:lnTo>
                    <a:pt x="174" y="2892"/>
                  </a:lnTo>
                  <a:lnTo>
                    <a:pt x="182" y="2902"/>
                  </a:lnTo>
                  <a:lnTo>
                    <a:pt x="190" y="2908"/>
                  </a:lnTo>
                  <a:lnTo>
                    <a:pt x="196" y="2910"/>
                  </a:lnTo>
                  <a:lnTo>
                    <a:pt x="198" y="2910"/>
                  </a:lnTo>
                  <a:lnTo>
                    <a:pt x="202" y="2906"/>
                  </a:lnTo>
                  <a:lnTo>
                    <a:pt x="206" y="2902"/>
                  </a:lnTo>
                  <a:lnTo>
                    <a:pt x="208" y="2898"/>
                  </a:lnTo>
                  <a:lnTo>
                    <a:pt x="212" y="2892"/>
                  </a:lnTo>
                  <a:lnTo>
                    <a:pt x="214" y="2888"/>
                  </a:lnTo>
                  <a:lnTo>
                    <a:pt x="218" y="2886"/>
                  </a:lnTo>
                  <a:lnTo>
                    <a:pt x="228" y="2884"/>
                  </a:lnTo>
                  <a:lnTo>
                    <a:pt x="236" y="2884"/>
                  </a:lnTo>
                  <a:lnTo>
                    <a:pt x="238" y="2882"/>
                  </a:lnTo>
                  <a:lnTo>
                    <a:pt x="240" y="2880"/>
                  </a:lnTo>
                  <a:lnTo>
                    <a:pt x="246" y="2874"/>
                  </a:lnTo>
                  <a:lnTo>
                    <a:pt x="254" y="2868"/>
                  </a:lnTo>
                  <a:lnTo>
                    <a:pt x="264" y="2868"/>
                  </a:lnTo>
                  <a:lnTo>
                    <a:pt x="270" y="2868"/>
                  </a:lnTo>
                  <a:lnTo>
                    <a:pt x="276" y="2870"/>
                  </a:lnTo>
                  <a:lnTo>
                    <a:pt x="284" y="2872"/>
                  </a:lnTo>
                  <a:lnTo>
                    <a:pt x="292" y="2874"/>
                  </a:lnTo>
                  <a:lnTo>
                    <a:pt x="310" y="2870"/>
                  </a:lnTo>
                  <a:lnTo>
                    <a:pt x="322" y="2868"/>
                  </a:lnTo>
                  <a:lnTo>
                    <a:pt x="328" y="2866"/>
                  </a:lnTo>
                  <a:lnTo>
                    <a:pt x="332" y="2868"/>
                  </a:lnTo>
                  <a:lnTo>
                    <a:pt x="336" y="2870"/>
                  </a:lnTo>
                  <a:lnTo>
                    <a:pt x="340" y="2866"/>
                  </a:lnTo>
                  <a:lnTo>
                    <a:pt x="346" y="2852"/>
                  </a:lnTo>
                  <a:lnTo>
                    <a:pt x="350" y="2844"/>
                  </a:lnTo>
                  <a:lnTo>
                    <a:pt x="356" y="2836"/>
                  </a:lnTo>
                  <a:lnTo>
                    <a:pt x="364" y="2830"/>
                  </a:lnTo>
                  <a:lnTo>
                    <a:pt x="374" y="2828"/>
                  </a:lnTo>
                  <a:lnTo>
                    <a:pt x="390" y="2826"/>
                  </a:lnTo>
                  <a:lnTo>
                    <a:pt x="392" y="2824"/>
                  </a:lnTo>
                  <a:lnTo>
                    <a:pt x="390" y="2818"/>
                  </a:lnTo>
                  <a:lnTo>
                    <a:pt x="392" y="2808"/>
                  </a:lnTo>
                  <a:lnTo>
                    <a:pt x="396" y="2798"/>
                  </a:lnTo>
                  <a:lnTo>
                    <a:pt x="402" y="2788"/>
                  </a:lnTo>
                  <a:lnTo>
                    <a:pt x="410" y="2780"/>
                  </a:lnTo>
                  <a:lnTo>
                    <a:pt x="424" y="2768"/>
                  </a:lnTo>
                  <a:lnTo>
                    <a:pt x="428" y="2764"/>
                  </a:lnTo>
                  <a:lnTo>
                    <a:pt x="430" y="2760"/>
                  </a:lnTo>
                  <a:lnTo>
                    <a:pt x="428" y="2756"/>
                  </a:lnTo>
                  <a:lnTo>
                    <a:pt x="422" y="2752"/>
                  </a:lnTo>
                  <a:lnTo>
                    <a:pt x="416" y="2746"/>
                  </a:lnTo>
                  <a:lnTo>
                    <a:pt x="412" y="2740"/>
                  </a:lnTo>
                  <a:lnTo>
                    <a:pt x="410" y="2734"/>
                  </a:lnTo>
                  <a:lnTo>
                    <a:pt x="410" y="2724"/>
                  </a:lnTo>
                  <a:lnTo>
                    <a:pt x="412" y="2714"/>
                  </a:lnTo>
                  <a:lnTo>
                    <a:pt x="418" y="2702"/>
                  </a:lnTo>
                  <a:lnTo>
                    <a:pt x="424" y="2690"/>
                  </a:lnTo>
                  <a:lnTo>
                    <a:pt x="438" y="2670"/>
                  </a:lnTo>
                  <a:lnTo>
                    <a:pt x="446" y="2664"/>
                  </a:lnTo>
                  <a:lnTo>
                    <a:pt x="450" y="2660"/>
                  </a:lnTo>
                  <a:lnTo>
                    <a:pt x="460" y="2656"/>
                  </a:lnTo>
                  <a:lnTo>
                    <a:pt x="460" y="2654"/>
                  </a:lnTo>
                  <a:lnTo>
                    <a:pt x="460" y="2652"/>
                  </a:lnTo>
                  <a:lnTo>
                    <a:pt x="454" y="2648"/>
                  </a:lnTo>
                  <a:lnTo>
                    <a:pt x="454" y="2646"/>
                  </a:lnTo>
                  <a:lnTo>
                    <a:pt x="454" y="2642"/>
                  </a:lnTo>
                  <a:lnTo>
                    <a:pt x="458" y="2638"/>
                  </a:lnTo>
                  <a:lnTo>
                    <a:pt x="466" y="2634"/>
                  </a:lnTo>
                  <a:lnTo>
                    <a:pt x="484" y="2628"/>
                  </a:lnTo>
                  <a:lnTo>
                    <a:pt x="502" y="2624"/>
                  </a:lnTo>
                  <a:lnTo>
                    <a:pt x="508" y="2620"/>
                  </a:lnTo>
                  <a:lnTo>
                    <a:pt x="510" y="2616"/>
                  </a:lnTo>
                  <a:lnTo>
                    <a:pt x="514" y="2612"/>
                  </a:lnTo>
                  <a:lnTo>
                    <a:pt x="520" y="2608"/>
                  </a:lnTo>
                  <a:lnTo>
                    <a:pt x="536" y="2600"/>
                  </a:lnTo>
                  <a:lnTo>
                    <a:pt x="544" y="2596"/>
                  </a:lnTo>
                  <a:lnTo>
                    <a:pt x="550" y="2590"/>
                  </a:lnTo>
                  <a:lnTo>
                    <a:pt x="552" y="2584"/>
                  </a:lnTo>
                  <a:lnTo>
                    <a:pt x="552" y="2580"/>
                  </a:lnTo>
                  <a:lnTo>
                    <a:pt x="550" y="2576"/>
                  </a:lnTo>
                  <a:lnTo>
                    <a:pt x="550" y="2572"/>
                  </a:lnTo>
                  <a:lnTo>
                    <a:pt x="550" y="2570"/>
                  </a:lnTo>
                  <a:lnTo>
                    <a:pt x="554" y="2566"/>
                  </a:lnTo>
                  <a:lnTo>
                    <a:pt x="556" y="2566"/>
                  </a:lnTo>
                  <a:lnTo>
                    <a:pt x="556" y="2562"/>
                  </a:lnTo>
                  <a:lnTo>
                    <a:pt x="554" y="2560"/>
                  </a:lnTo>
                  <a:lnTo>
                    <a:pt x="548" y="2554"/>
                  </a:lnTo>
                  <a:lnTo>
                    <a:pt x="548" y="2542"/>
                  </a:lnTo>
                  <a:lnTo>
                    <a:pt x="548" y="2536"/>
                  </a:lnTo>
                  <a:lnTo>
                    <a:pt x="548" y="2532"/>
                  </a:lnTo>
                  <a:lnTo>
                    <a:pt x="548" y="2524"/>
                  </a:lnTo>
                  <a:lnTo>
                    <a:pt x="548" y="2518"/>
                  </a:lnTo>
                  <a:lnTo>
                    <a:pt x="550" y="2514"/>
                  </a:lnTo>
                  <a:lnTo>
                    <a:pt x="556" y="2510"/>
                  </a:lnTo>
                  <a:lnTo>
                    <a:pt x="564" y="2508"/>
                  </a:lnTo>
                  <a:lnTo>
                    <a:pt x="572" y="2502"/>
                  </a:lnTo>
                  <a:lnTo>
                    <a:pt x="584" y="2494"/>
                  </a:lnTo>
                  <a:lnTo>
                    <a:pt x="586" y="2494"/>
                  </a:lnTo>
                  <a:lnTo>
                    <a:pt x="588" y="2494"/>
                  </a:lnTo>
                  <a:lnTo>
                    <a:pt x="590" y="2498"/>
                  </a:lnTo>
                  <a:lnTo>
                    <a:pt x="592" y="2500"/>
                  </a:lnTo>
                  <a:lnTo>
                    <a:pt x="598" y="2502"/>
                  </a:lnTo>
                  <a:lnTo>
                    <a:pt x="604" y="2502"/>
                  </a:lnTo>
                  <a:lnTo>
                    <a:pt x="608" y="2504"/>
                  </a:lnTo>
                  <a:lnTo>
                    <a:pt x="610" y="2506"/>
                  </a:lnTo>
                  <a:lnTo>
                    <a:pt x="616" y="2506"/>
                  </a:lnTo>
                  <a:lnTo>
                    <a:pt x="626" y="2504"/>
                  </a:lnTo>
                  <a:lnTo>
                    <a:pt x="630" y="2504"/>
                  </a:lnTo>
                  <a:lnTo>
                    <a:pt x="634" y="2506"/>
                  </a:lnTo>
                  <a:lnTo>
                    <a:pt x="640" y="2512"/>
                  </a:lnTo>
                  <a:lnTo>
                    <a:pt x="644" y="2516"/>
                  </a:lnTo>
                  <a:lnTo>
                    <a:pt x="646" y="2516"/>
                  </a:lnTo>
                  <a:lnTo>
                    <a:pt x="650" y="2514"/>
                  </a:lnTo>
                  <a:lnTo>
                    <a:pt x="654" y="2516"/>
                  </a:lnTo>
                  <a:lnTo>
                    <a:pt x="656" y="2518"/>
                  </a:lnTo>
                  <a:lnTo>
                    <a:pt x="660" y="2520"/>
                  </a:lnTo>
                  <a:lnTo>
                    <a:pt x="664" y="2520"/>
                  </a:lnTo>
                  <a:lnTo>
                    <a:pt x="678" y="2518"/>
                  </a:lnTo>
                  <a:lnTo>
                    <a:pt x="690" y="2512"/>
                  </a:lnTo>
                  <a:lnTo>
                    <a:pt x="692" y="2508"/>
                  </a:lnTo>
                  <a:lnTo>
                    <a:pt x="694" y="2506"/>
                  </a:lnTo>
                  <a:lnTo>
                    <a:pt x="694" y="2502"/>
                  </a:lnTo>
                  <a:lnTo>
                    <a:pt x="696" y="2500"/>
                  </a:lnTo>
                  <a:lnTo>
                    <a:pt x="704" y="2494"/>
                  </a:lnTo>
                  <a:lnTo>
                    <a:pt x="726" y="2482"/>
                  </a:lnTo>
                  <a:lnTo>
                    <a:pt x="738" y="2476"/>
                  </a:lnTo>
                  <a:lnTo>
                    <a:pt x="748" y="2472"/>
                  </a:lnTo>
                  <a:lnTo>
                    <a:pt x="754" y="2466"/>
                  </a:lnTo>
                  <a:lnTo>
                    <a:pt x="758" y="2462"/>
                  </a:lnTo>
                  <a:lnTo>
                    <a:pt x="762" y="2452"/>
                  </a:lnTo>
                  <a:lnTo>
                    <a:pt x="766" y="2448"/>
                  </a:lnTo>
                  <a:lnTo>
                    <a:pt x="774" y="2444"/>
                  </a:lnTo>
                  <a:lnTo>
                    <a:pt x="780" y="2444"/>
                  </a:lnTo>
                  <a:lnTo>
                    <a:pt x="786" y="2444"/>
                  </a:lnTo>
                  <a:lnTo>
                    <a:pt x="792" y="2448"/>
                  </a:lnTo>
                  <a:lnTo>
                    <a:pt x="798" y="2454"/>
                  </a:lnTo>
                  <a:lnTo>
                    <a:pt x="808" y="2462"/>
                  </a:lnTo>
                  <a:lnTo>
                    <a:pt x="814" y="2466"/>
                  </a:lnTo>
                  <a:lnTo>
                    <a:pt x="820" y="2466"/>
                  </a:lnTo>
                  <a:lnTo>
                    <a:pt x="826" y="2466"/>
                  </a:lnTo>
                  <a:lnTo>
                    <a:pt x="830" y="2468"/>
                  </a:lnTo>
                  <a:lnTo>
                    <a:pt x="832" y="2474"/>
                  </a:lnTo>
                  <a:lnTo>
                    <a:pt x="834" y="2480"/>
                  </a:lnTo>
                  <a:lnTo>
                    <a:pt x="836" y="2494"/>
                  </a:lnTo>
                  <a:lnTo>
                    <a:pt x="838" y="2500"/>
                  </a:lnTo>
                  <a:lnTo>
                    <a:pt x="842" y="2504"/>
                  </a:lnTo>
                  <a:lnTo>
                    <a:pt x="844" y="2508"/>
                  </a:lnTo>
                  <a:lnTo>
                    <a:pt x="846" y="2512"/>
                  </a:lnTo>
                  <a:lnTo>
                    <a:pt x="846" y="2518"/>
                  </a:lnTo>
                  <a:lnTo>
                    <a:pt x="846" y="2522"/>
                  </a:lnTo>
                  <a:lnTo>
                    <a:pt x="846" y="2526"/>
                  </a:lnTo>
                  <a:lnTo>
                    <a:pt x="848" y="2530"/>
                  </a:lnTo>
                  <a:lnTo>
                    <a:pt x="854" y="2536"/>
                  </a:lnTo>
                  <a:lnTo>
                    <a:pt x="870" y="2546"/>
                  </a:lnTo>
                  <a:lnTo>
                    <a:pt x="872" y="2550"/>
                  </a:lnTo>
                  <a:lnTo>
                    <a:pt x="872" y="2556"/>
                  </a:lnTo>
                  <a:lnTo>
                    <a:pt x="872" y="2560"/>
                  </a:lnTo>
                  <a:lnTo>
                    <a:pt x="874" y="2562"/>
                  </a:lnTo>
                  <a:lnTo>
                    <a:pt x="882" y="2564"/>
                  </a:lnTo>
                  <a:lnTo>
                    <a:pt x="890" y="2566"/>
                  </a:lnTo>
                  <a:lnTo>
                    <a:pt x="894" y="2570"/>
                  </a:lnTo>
                  <a:lnTo>
                    <a:pt x="898" y="2576"/>
                  </a:lnTo>
                  <a:lnTo>
                    <a:pt x="902" y="2584"/>
                  </a:lnTo>
                  <a:lnTo>
                    <a:pt x="906" y="2586"/>
                  </a:lnTo>
                  <a:lnTo>
                    <a:pt x="910" y="2588"/>
                  </a:lnTo>
                  <a:lnTo>
                    <a:pt x="920" y="2598"/>
                  </a:lnTo>
                  <a:lnTo>
                    <a:pt x="932" y="2612"/>
                  </a:lnTo>
                  <a:lnTo>
                    <a:pt x="944" y="2620"/>
                  </a:lnTo>
                  <a:lnTo>
                    <a:pt x="956" y="2624"/>
                  </a:lnTo>
                  <a:lnTo>
                    <a:pt x="970" y="2624"/>
                  </a:lnTo>
                  <a:lnTo>
                    <a:pt x="974" y="2626"/>
                  </a:lnTo>
                  <a:lnTo>
                    <a:pt x="978" y="2628"/>
                  </a:lnTo>
                  <a:lnTo>
                    <a:pt x="982" y="2638"/>
                  </a:lnTo>
                  <a:lnTo>
                    <a:pt x="988" y="2646"/>
                  </a:lnTo>
                  <a:lnTo>
                    <a:pt x="990" y="2650"/>
                  </a:lnTo>
                  <a:lnTo>
                    <a:pt x="996" y="2650"/>
                  </a:lnTo>
                  <a:lnTo>
                    <a:pt x="1002" y="2650"/>
                  </a:lnTo>
                  <a:lnTo>
                    <a:pt x="1004" y="2650"/>
                  </a:lnTo>
                  <a:lnTo>
                    <a:pt x="1004" y="2656"/>
                  </a:lnTo>
                  <a:lnTo>
                    <a:pt x="1002" y="2658"/>
                  </a:lnTo>
                  <a:lnTo>
                    <a:pt x="1004" y="2658"/>
                  </a:lnTo>
                  <a:lnTo>
                    <a:pt x="1006" y="2660"/>
                  </a:lnTo>
                  <a:lnTo>
                    <a:pt x="1012" y="2658"/>
                  </a:lnTo>
                  <a:lnTo>
                    <a:pt x="1018" y="2658"/>
                  </a:lnTo>
                  <a:lnTo>
                    <a:pt x="1020" y="2660"/>
                  </a:lnTo>
                  <a:lnTo>
                    <a:pt x="1022" y="2662"/>
                  </a:lnTo>
                  <a:lnTo>
                    <a:pt x="1022" y="2666"/>
                  </a:lnTo>
                  <a:lnTo>
                    <a:pt x="1022" y="2674"/>
                  </a:lnTo>
                  <a:lnTo>
                    <a:pt x="1024" y="2680"/>
                  </a:lnTo>
                  <a:lnTo>
                    <a:pt x="1030" y="2684"/>
                  </a:lnTo>
                  <a:lnTo>
                    <a:pt x="1040" y="2690"/>
                  </a:lnTo>
                  <a:lnTo>
                    <a:pt x="1050" y="2694"/>
                  </a:lnTo>
                  <a:lnTo>
                    <a:pt x="1054" y="2698"/>
                  </a:lnTo>
                  <a:lnTo>
                    <a:pt x="1058" y="2702"/>
                  </a:lnTo>
                  <a:lnTo>
                    <a:pt x="1062" y="2710"/>
                  </a:lnTo>
                  <a:lnTo>
                    <a:pt x="1066" y="2720"/>
                  </a:lnTo>
                  <a:lnTo>
                    <a:pt x="1070" y="2740"/>
                  </a:lnTo>
                  <a:lnTo>
                    <a:pt x="1072" y="2752"/>
                  </a:lnTo>
                  <a:lnTo>
                    <a:pt x="1072" y="2758"/>
                  </a:lnTo>
                  <a:lnTo>
                    <a:pt x="1066" y="2762"/>
                  </a:lnTo>
                  <a:lnTo>
                    <a:pt x="1064" y="2768"/>
                  </a:lnTo>
                  <a:lnTo>
                    <a:pt x="1064" y="2772"/>
                  </a:lnTo>
                  <a:lnTo>
                    <a:pt x="1062" y="2776"/>
                  </a:lnTo>
                  <a:lnTo>
                    <a:pt x="1060" y="2784"/>
                  </a:lnTo>
                  <a:lnTo>
                    <a:pt x="1054" y="2790"/>
                  </a:lnTo>
                  <a:lnTo>
                    <a:pt x="1052" y="2796"/>
                  </a:lnTo>
                  <a:lnTo>
                    <a:pt x="1054" y="2802"/>
                  </a:lnTo>
                  <a:lnTo>
                    <a:pt x="1058" y="2806"/>
                  </a:lnTo>
                  <a:lnTo>
                    <a:pt x="1064" y="2808"/>
                  </a:lnTo>
                  <a:lnTo>
                    <a:pt x="1068" y="2808"/>
                  </a:lnTo>
                  <a:lnTo>
                    <a:pt x="1070" y="2806"/>
                  </a:lnTo>
                  <a:lnTo>
                    <a:pt x="1072" y="2804"/>
                  </a:lnTo>
                  <a:lnTo>
                    <a:pt x="1076" y="2794"/>
                  </a:lnTo>
                  <a:lnTo>
                    <a:pt x="1084" y="2784"/>
                  </a:lnTo>
                  <a:lnTo>
                    <a:pt x="1088" y="2780"/>
                  </a:lnTo>
                  <a:lnTo>
                    <a:pt x="1090" y="2776"/>
                  </a:lnTo>
                  <a:lnTo>
                    <a:pt x="1092" y="2768"/>
                  </a:lnTo>
                  <a:lnTo>
                    <a:pt x="1096" y="2760"/>
                  </a:lnTo>
                  <a:lnTo>
                    <a:pt x="1098" y="2756"/>
                  </a:lnTo>
                  <a:lnTo>
                    <a:pt x="1104" y="2752"/>
                  </a:lnTo>
                  <a:lnTo>
                    <a:pt x="1110" y="2748"/>
                  </a:lnTo>
                  <a:lnTo>
                    <a:pt x="1114" y="2742"/>
                  </a:lnTo>
                  <a:lnTo>
                    <a:pt x="1116" y="2738"/>
                  </a:lnTo>
                  <a:lnTo>
                    <a:pt x="1114" y="2732"/>
                  </a:lnTo>
                  <a:lnTo>
                    <a:pt x="1112" y="2726"/>
                  </a:lnTo>
                  <a:lnTo>
                    <a:pt x="1108" y="2722"/>
                  </a:lnTo>
                  <a:lnTo>
                    <a:pt x="1104" y="2718"/>
                  </a:lnTo>
                  <a:lnTo>
                    <a:pt x="1098" y="2716"/>
                  </a:lnTo>
                  <a:lnTo>
                    <a:pt x="1090" y="2712"/>
                  </a:lnTo>
                  <a:lnTo>
                    <a:pt x="1086" y="2708"/>
                  </a:lnTo>
                  <a:lnTo>
                    <a:pt x="1086" y="2704"/>
                  </a:lnTo>
                  <a:lnTo>
                    <a:pt x="1090" y="2698"/>
                  </a:lnTo>
                  <a:lnTo>
                    <a:pt x="1092" y="2692"/>
                  </a:lnTo>
                  <a:lnTo>
                    <a:pt x="1094" y="2684"/>
                  </a:lnTo>
                  <a:lnTo>
                    <a:pt x="1096" y="2676"/>
                  </a:lnTo>
                  <a:lnTo>
                    <a:pt x="1100" y="2672"/>
                  </a:lnTo>
                  <a:lnTo>
                    <a:pt x="1104" y="2670"/>
                  </a:lnTo>
                  <a:lnTo>
                    <a:pt x="1112" y="2666"/>
                  </a:lnTo>
                  <a:lnTo>
                    <a:pt x="1116" y="2668"/>
                  </a:lnTo>
                  <a:lnTo>
                    <a:pt x="1124" y="2670"/>
                  </a:lnTo>
                  <a:lnTo>
                    <a:pt x="1134" y="2672"/>
                  </a:lnTo>
                  <a:lnTo>
                    <a:pt x="1140" y="2674"/>
                  </a:lnTo>
                  <a:lnTo>
                    <a:pt x="1144" y="2678"/>
                  </a:lnTo>
                  <a:lnTo>
                    <a:pt x="1148" y="2688"/>
                  </a:lnTo>
                  <a:lnTo>
                    <a:pt x="1150" y="2696"/>
                  </a:lnTo>
                  <a:lnTo>
                    <a:pt x="1154" y="2700"/>
                  </a:lnTo>
                  <a:lnTo>
                    <a:pt x="1158" y="2702"/>
                  </a:lnTo>
                  <a:lnTo>
                    <a:pt x="1166" y="2702"/>
                  </a:lnTo>
                  <a:lnTo>
                    <a:pt x="1166" y="2700"/>
                  </a:lnTo>
                  <a:lnTo>
                    <a:pt x="1166" y="2696"/>
                  </a:lnTo>
                  <a:lnTo>
                    <a:pt x="1168" y="2688"/>
                  </a:lnTo>
                  <a:lnTo>
                    <a:pt x="1168" y="2684"/>
                  </a:lnTo>
                  <a:lnTo>
                    <a:pt x="1168" y="2678"/>
                  </a:lnTo>
                  <a:lnTo>
                    <a:pt x="1166" y="2674"/>
                  </a:lnTo>
                  <a:lnTo>
                    <a:pt x="1162" y="2670"/>
                  </a:lnTo>
                  <a:lnTo>
                    <a:pt x="1152" y="2662"/>
                  </a:lnTo>
                  <a:lnTo>
                    <a:pt x="1142" y="2654"/>
                  </a:lnTo>
                  <a:lnTo>
                    <a:pt x="1126" y="2646"/>
                  </a:lnTo>
                  <a:lnTo>
                    <a:pt x="1120" y="2642"/>
                  </a:lnTo>
                  <a:lnTo>
                    <a:pt x="1114" y="2636"/>
                  </a:lnTo>
                  <a:lnTo>
                    <a:pt x="1110" y="2632"/>
                  </a:lnTo>
                  <a:lnTo>
                    <a:pt x="1102" y="2628"/>
                  </a:lnTo>
                  <a:lnTo>
                    <a:pt x="1082" y="2620"/>
                  </a:lnTo>
                  <a:lnTo>
                    <a:pt x="1074" y="2616"/>
                  </a:lnTo>
                  <a:lnTo>
                    <a:pt x="1068" y="2610"/>
                  </a:lnTo>
                  <a:lnTo>
                    <a:pt x="1066" y="2606"/>
                  </a:lnTo>
                  <a:lnTo>
                    <a:pt x="1066" y="2602"/>
                  </a:lnTo>
                  <a:lnTo>
                    <a:pt x="1070" y="2600"/>
                  </a:lnTo>
                  <a:lnTo>
                    <a:pt x="1074" y="2594"/>
                  </a:lnTo>
                  <a:lnTo>
                    <a:pt x="1076" y="2592"/>
                  </a:lnTo>
                  <a:lnTo>
                    <a:pt x="1074" y="2590"/>
                  </a:lnTo>
                  <a:lnTo>
                    <a:pt x="1068" y="2588"/>
                  </a:lnTo>
                  <a:lnTo>
                    <a:pt x="1060" y="2586"/>
                  </a:lnTo>
                  <a:lnTo>
                    <a:pt x="1036" y="2584"/>
                  </a:lnTo>
                  <a:lnTo>
                    <a:pt x="1026" y="2580"/>
                  </a:lnTo>
                  <a:lnTo>
                    <a:pt x="1016" y="2576"/>
                  </a:lnTo>
                  <a:lnTo>
                    <a:pt x="1002" y="2560"/>
                  </a:lnTo>
                  <a:lnTo>
                    <a:pt x="990" y="2544"/>
                  </a:lnTo>
                  <a:lnTo>
                    <a:pt x="984" y="2530"/>
                  </a:lnTo>
                  <a:lnTo>
                    <a:pt x="978" y="2518"/>
                  </a:lnTo>
                  <a:lnTo>
                    <a:pt x="974" y="2498"/>
                  </a:lnTo>
                  <a:lnTo>
                    <a:pt x="970" y="2492"/>
                  </a:lnTo>
                  <a:lnTo>
                    <a:pt x="966" y="2490"/>
                  </a:lnTo>
                  <a:lnTo>
                    <a:pt x="958" y="2488"/>
                  </a:lnTo>
                  <a:lnTo>
                    <a:pt x="950" y="2484"/>
                  </a:lnTo>
                  <a:lnTo>
                    <a:pt x="944" y="2476"/>
                  </a:lnTo>
                  <a:lnTo>
                    <a:pt x="934" y="2468"/>
                  </a:lnTo>
                  <a:lnTo>
                    <a:pt x="928" y="2462"/>
                  </a:lnTo>
                  <a:lnTo>
                    <a:pt x="922" y="2456"/>
                  </a:lnTo>
                  <a:lnTo>
                    <a:pt x="920" y="2448"/>
                  </a:lnTo>
                  <a:lnTo>
                    <a:pt x="918" y="2442"/>
                  </a:lnTo>
                  <a:lnTo>
                    <a:pt x="916" y="2434"/>
                  </a:lnTo>
                  <a:lnTo>
                    <a:pt x="918" y="2428"/>
                  </a:lnTo>
                  <a:lnTo>
                    <a:pt x="920" y="2424"/>
                  </a:lnTo>
                  <a:lnTo>
                    <a:pt x="922" y="2422"/>
                  </a:lnTo>
                  <a:lnTo>
                    <a:pt x="926" y="2420"/>
                  </a:lnTo>
                  <a:lnTo>
                    <a:pt x="928" y="2418"/>
                  </a:lnTo>
                  <a:lnTo>
                    <a:pt x="926" y="2414"/>
                  </a:lnTo>
                  <a:lnTo>
                    <a:pt x="918" y="2400"/>
                  </a:lnTo>
                  <a:lnTo>
                    <a:pt x="914" y="2394"/>
                  </a:lnTo>
                  <a:lnTo>
                    <a:pt x="916" y="2388"/>
                  </a:lnTo>
                  <a:lnTo>
                    <a:pt x="920" y="2384"/>
                  </a:lnTo>
                  <a:lnTo>
                    <a:pt x="924" y="2386"/>
                  </a:lnTo>
                  <a:lnTo>
                    <a:pt x="926" y="2388"/>
                  </a:lnTo>
                  <a:lnTo>
                    <a:pt x="930" y="2388"/>
                  </a:lnTo>
                  <a:lnTo>
                    <a:pt x="934" y="2384"/>
                  </a:lnTo>
                  <a:lnTo>
                    <a:pt x="940" y="2378"/>
                  </a:lnTo>
                  <a:lnTo>
                    <a:pt x="950" y="2372"/>
                  </a:lnTo>
                  <a:lnTo>
                    <a:pt x="956" y="2370"/>
                  </a:lnTo>
                  <a:lnTo>
                    <a:pt x="958" y="2372"/>
                  </a:lnTo>
                  <a:lnTo>
                    <a:pt x="960" y="2374"/>
                  </a:lnTo>
                  <a:lnTo>
                    <a:pt x="966" y="2374"/>
                  </a:lnTo>
                  <a:lnTo>
                    <a:pt x="972" y="2372"/>
                  </a:lnTo>
                  <a:lnTo>
                    <a:pt x="974" y="2374"/>
                  </a:lnTo>
                  <a:lnTo>
                    <a:pt x="974" y="2378"/>
                  </a:lnTo>
                  <a:lnTo>
                    <a:pt x="974" y="2380"/>
                  </a:lnTo>
                  <a:lnTo>
                    <a:pt x="972" y="2382"/>
                  </a:lnTo>
                  <a:lnTo>
                    <a:pt x="970" y="2382"/>
                  </a:lnTo>
                  <a:lnTo>
                    <a:pt x="968" y="2384"/>
                  </a:lnTo>
                  <a:lnTo>
                    <a:pt x="968" y="2386"/>
                  </a:lnTo>
                  <a:lnTo>
                    <a:pt x="970" y="2398"/>
                  </a:lnTo>
                  <a:lnTo>
                    <a:pt x="976" y="2414"/>
                  </a:lnTo>
                  <a:lnTo>
                    <a:pt x="982" y="2426"/>
                  </a:lnTo>
                  <a:lnTo>
                    <a:pt x="986" y="2428"/>
                  </a:lnTo>
                  <a:lnTo>
                    <a:pt x="988" y="2424"/>
                  </a:lnTo>
                  <a:lnTo>
                    <a:pt x="994" y="2402"/>
                  </a:lnTo>
                  <a:lnTo>
                    <a:pt x="996" y="2398"/>
                  </a:lnTo>
                  <a:lnTo>
                    <a:pt x="1000" y="2394"/>
                  </a:lnTo>
                  <a:lnTo>
                    <a:pt x="1004" y="2394"/>
                  </a:lnTo>
                  <a:lnTo>
                    <a:pt x="1008" y="2398"/>
                  </a:lnTo>
                  <a:lnTo>
                    <a:pt x="1016" y="2404"/>
                  </a:lnTo>
                  <a:lnTo>
                    <a:pt x="1020" y="2410"/>
                  </a:lnTo>
                  <a:lnTo>
                    <a:pt x="1022" y="2414"/>
                  </a:lnTo>
                  <a:lnTo>
                    <a:pt x="1022" y="2420"/>
                  </a:lnTo>
                  <a:lnTo>
                    <a:pt x="1024" y="2428"/>
                  </a:lnTo>
                  <a:lnTo>
                    <a:pt x="1026" y="2434"/>
                  </a:lnTo>
                  <a:lnTo>
                    <a:pt x="1030" y="2440"/>
                  </a:lnTo>
                  <a:lnTo>
                    <a:pt x="1034" y="2446"/>
                  </a:lnTo>
                  <a:lnTo>
                    <a:pt x="1036" y="2450"/>
                  </a:lnTo>
                  <a:lnTo>
                    <a:pt x="1036" y="2452"/>
                  </a:lnTo>
                  <a:lnTo>
                    <a:pt x="1034" y="2454"/>
                  </a:lnTo>
                  <a:lnTo>
                    <a:pt x="1034" y="2456"/>
                  </a:lnTo>
                  <a:lnTo>
                    <a:pt x="1034" y="2460"/>
                  </a:lnTo>
                  <a:lnTo>
                    <a:pt x="1038" y="2464"/>
                  </a:lnTo>
                  <a:lnTo>
                    <a:pt x="1046" y="2472"/>
                  </a:lnTo>
                  <a:lnTo>
                    <a:pt x="1056" y="2480"/>
                  </a:lnTo>
                  <a:lnTo>
                    <a:pt x="1062" y="2486"/>
                  </a:lnTo>
                  <a:lnTo>
                    <a:pt x="1066" y="2494"/>
                  </a:lnTo>
                  <a:lnTo>
                    <a:pt x="1066" y="2496"/>
                  </a:lnTo>
                  <a:lnTo>
                    <a:pt x="1068" y="2496"/>
                  </a:lnTo>
                  <a:lnTo>
                    <a:pt x="1076" y="2496"/>
                  </a:lnTo>
                  <a:lnTo>
                    <a:pt x="1084" y="2496"/>
                  </a:lnTo>
                  <a:lnTo>
                    <a:pt x="1090" y="2498"/>
                  </a:lnTo>
                  <a:lnTo>
                    <a:pt x="1102" y="2504"/>
                  </a:lnTo>
                  <a:lnTo>
                    <a:pt x="1114" y="2516"/>
                  </a:lnTo>
                  <a:lnTo>
                    <a:pt x="1128" y="2528"/>
                  </a:lnTo>
                  <a:lnTo>
                    <a:pt x="1114" y="2524"/>
                  </a:lnTo>
                  <a:lnTo>
                    <a:pt x="1110" y="2524"/>
                  </a:lnTo>
                  <a:lnTo>
                    <a:pt x="1110" y="2526"/>
                  </a:lnTo>
                  <a:lnTo>
                    <a:pt x="1116" y="2530"/>
                  </a:lnTo>
                  <a:lnTo>
                    <a:pt x="1134" y="2536"/>
                  </a:lnTo>
                  <a:lnTo>
                    <a:pt x="1144" y="2540"/>
                  </a:lnTo>
                  <a:lnTo>
                    <a:pt x="1152" y="2544"/>
                  </a:lnTo>
                  <a:lnTo>
                    <a:pt x="1160" y="2552"/>
                  </a:lnTo>
                  <a:lnTo>
                    <a:pt x="1162" y="2558"/>
                  </a:lnTo>
                  <a:lnTo>
                    <a:pt x="1164" y="2560"/>
                  </a:lnTo>
                  <a:lnTo>
                    <a:pt x="1166" y="2560"/>
                  </a:lnTo>
                  <a:lnTo>
                    <a:pt x="1174" y="2560"/>
                  </a:lnTo>
                  <a:lnTo>
                    <a:pt x="1176" y="2562"/>
                  </a:lnTo>
                  <a:lnTo>
                    <a:pt x="1184" y="2566"/>
                  </a:lnTo>
                  <a:lnTo>
                    <a:pt x="1188" y="2568"/>
                  </a:lnTo>
                  <a:lnTo>
                    <a:pt x="1190" y="2574"/>
                  </a:lnTo>
                  <a:lnTo>
                    <a:pt x="1190" y="2582"/>
                  </a:lnTo>
                  <a:lnTo>
                    <a:pt x="1192" y="2584"/>
                  </a:lnTo>
                  <a:lnTo>
                    <a:pt x="1196" y="2586"/>
                  </a:lnTo>
                  <a:lnTo>
                    <a:pt x="1204" y="2588"/>
                  </a:lnTo>
                  <a:lnTo>
                    <a:pt x="1208" y="2590"/>
                  </a:lnTo>
                  <a:lnTo>
                    <a:pt x="1208" y="2596"/>
                  </a:lnTo>
                  <a:lnTo>
                    <a:pt x="1208" y="2610"/>
                  </a:lnTo>
                  <a:lnTo>
                    <a:pt x="1206" y="2626"/>
                  </a:lnTo>
                  <a:lnTo>
                    <a:pt x="1206" y="2632"/>
                  </a:lnTo>
                  <a:lnTo>
                    <a:pt x="1206" y="2636"/>
                  </a:lnTo>
                  <a:lnTo>
                    <a:pt x="1206" y="2638"/>
                  </a:lnTo>
                  <a:lnTo>
                    <a:pt x="1206" y="2640"/>
                  </a:lnTo>
                  <a:lnTo>
                    <a:pt x="1204" y="2646"/>
                  </a:lnTo>
                  <a:lnTo>
                    <a:pt x="1200" y="2652"/>
                  </a:lnTo>
                  <a:lnTo>
                    <a:pt x="1200" y="2656"/>
                  </a:lnTo>
                  <a:lnTo>
                    <a:pt x="1202" y="2662"/>
                  </a:lnTo>
                  <a:lnTo>
                    <a:pt x="1202" y="2666"/>
                  </a:lnTo>
                  <a:lnTo>
                    <a:pt x="1202" y="2670"/>
                  </a:lnTo>
                  <a:lnTo>
                    <a:pt x="1202" y="2672"/>
                  </a:lnTo>
                  <a:lnTo>
                    <a:pt x="1200" y="2674"/>
                  </a:lnTo>
                  <a:lnTo>
                    <a:pt x="1202" y="2674"/>
                  </a:lnTo>
                  <a:lnTo>
                    <a:pt x="1208" y="2680"/>
                  </a:lnTo>
                  <a:lnTo>
                    <a:pt x="1216" y="2686"/>
                  </a:lnTo>
                  <a:lnTo>
                    <a:pt x="1222" y="2690"/>
                  </a:lnTo>
                  <a:lnTo>
                    <a:pt x="1224" y="2696"/>
                  </a:lnTo>
                  <a:lnTo>
                    <a:pt x="1224" y="2700"/>
                  </a:lnTo>
                  <a:lnTo>
                    <a:pt x="1226" y="2706"/>
                  </a:lnTo>
                  <a:lnTo>
                    <a:pt x="1228" y="2708"/>
                  </a:lnTo>
                  <a:lnTo>
                    <a:pt x="1230" y="2710"/>
                  </a:lnTo>
                  <a:lnTo>
                    <a:pt x="1240" y="2726"/>
                  </a:lnTo>
                  <a:lnTo>
                    <a:pt x="1246" y="2736"/>
                  </a:lnTo>
                  <a:lnTo>
                    <a:pt x="1250" y="2740"/>
                  </a:lnTo>
                  <a:lnTo>
                    <a:pt x="1254" y="2744"/>
                  </a:lnTo>
                  <a:lnTo>
                    <a:pt x="1258" y="2748"/>
                  </a:lnTo>
                  <a:lnTo>
                    <a:pt x="1260" y="2748"/>
                  </a:lnTo>
                  <a:lnTo>
                    <a:pt x="1260" y="2746"/>
                  </a:lnTo>
                  <a:lnTo>
                    <a:pt x="1262" y="2746"/>
                  </a:lnTo>
                  <a:lnTo>
                    <a:pt x="1266" y="2746"/>
                  </a:lnTo>
                  <a:lnTo>
                    <a:pt x="1272" y="2750"/>
                  </a:lnTo>
                  <a:lnTo>
                    <a:pt x="1274" y="2752"/>
                  </a:lnTo>
                  <a:lnTo>
                    <a:pt x="1266" y="2754"/>
                  </a:lnTo>
                  <a:lnTo>
                    <a:pt x="1258" y="2754"/>
                  </a:lnTo>
                  <a:lnTo>
                    <a:pt x="1258" y="2758"/>
                  </a:lnTo>
                  <a:lnTo>
                    <a:pt x="1260" y="2762"/>
                  </a:lnTo>
                  <a:lnTo>
                    <a:pt x="1268" y="2772"/>
                  </a:lnTo>
                  <a:lnTo>
                    <a:pt x="1272" y="2780"/>
                  </a:lnTo>
                  <a:lnTo>
                    <a:pt x="1274" y="2786"/>
                  </a:lnTo>
                  <a:lnTo>
                    <a:pt x="1276" y="2786"/>
                  </a:lnTo>
                  <a:lnTo>
                    <a:pt x="1280" y="2784"/>
                  </a:lnTo>
                  <a:lnTo>
                    <a:pt x="1284" y="2780"/>
                  </a:lnTo>
                  <a:lnTo>
                    <a:pt x="1286" y="2782"/>
                  </a:lnTo>
                  <a:lnTo>
                    <a:pt x="1290" y="2782"/>
                  </a:lnTo>
                  <a:lnTo>
                    <a:pt x="1300" y="2782"/>
                  </a:lnTo>
                  <a:lnTo>
                    <a:pt x="1312" y="2780"/>
                  </a:lnTo>
                  <a:lnTo>
                    <a:pt x="1316" y="2782"/>
                  </a:lnTo>
                  <a:lnTo>
                    <a:pt x="1318" y="2784"/>
                  </a:lnTo>
                  <a:lnTo>
                    <a:pt x="1324" y="2784"/>
                  </a:lnTo>
                  <a:lnTo>
                    <a:pt x="1330" y="2782"/>
                  </a:lnTo>
                  <a:lnTo>
                    <a:pt x="1336" y="2786"/>
                  </a:lnTo>
                  <a:lnTo>
                    <a:pt x="1342" y="2790"/>
                  </a:lnTo>
                  <a:lnTo>
                    <a:pt x="1348" y="2790"/>
                  </a:lnTo>
                  <a:lnTo>
                    <a:pt x="1354" y="2790"/>
                  </a:lnTo>
                  <a:lnTo>
                    <a:pt x="1358" y="2792"/>
                  </a:lnTo>
                  <a:lnTo>
                    <a:pt x="1358" y="2794"/>
                  </a:lnTo>
                  <a:lnTo>
                    <a:pt x="1358" y="2796"/>
                  </a:lnTo>
                  <a:lnTo>
                    <a:pt x="1350" y="2800"/>
                  </a:lnTo>
                  <a:lnTo>
                    <a:pt x="1342" y="2802"/>
                  </a:lnTo>
                  <a:lnTo>
                    <a:pt x="1336" y="2800"/>
                  </a:lnTo>
                  <a:lnTo>
                    <a:pt x="1322" y="2792"/>
                  </a:lnTo>
                  <a:lnTo>
                    <a:pt x="1312" y="2788"/>
                  </a:lnTo>
                  <a:lnTo>
                    <a:pt x="1306" y="2786"/>
                  </a:lnTo>
                  <a:lnTo>
                    <a:pt x="1302" y="2786"/>
                  </a:lnTo>
                  <a:lnTo>
                    <a:pt x="1298" y="2792"/>
                  </a:lnTo>
                  <a:lnTo>
                    <a:pt x="1296" y="2794"/>
                  </a:lnTo>
                  <a:lnTo>
                    <a:pt x="1292" y="2794"/>
                  </a:lnTo>
                  <a:lnTo>
                    <a:pt x="1288" y="2792"/>
                  </a:lnTo>
                  <a:lnTo>
                    <a:pt x="1282" y="2792"/>
                  </a:lnTo>
                  <a:lnTo>
                    <a:pt x="1282" y="2794"/>
                  </a:lnTo>
                  <a:lnTo>
                    <a:pt x="1280" y="2798"/>
                  </a:lnTo>
                  <a:lnTo>
                    <a:pt x="1280" y="2802"/>
                  </a:lnTo>
                  <a:lnTo>
                    <a:pt x="1278" y="2804"/>
                  </a:lnTo>
                  <a:lnTo>
                    <a:pt x="1274" y="2808"/>
                  </a:lnTo>
                  <a:lnTo>
                    <a:pt x="1272" y="2808"/>
                  </a:lnTo>
                  <a:lnTo>
                    <a:pt x="1276" y="2812"/>
                  </a:lnTo>
                  <a:lnTo>
                    <a:pt x="1280" y="2816"/>
                  </a:lnTo>
                  <a:lnTo>
                    <a:pt x="1280" y="2820"/>
                  </a:lnTo>
                  <a:lnTo>
                    <a:pt x="1280" y="2824"/>
                  </a:lnTo>
                  <a:lnTo>
                    <a:pt x="1286" y="2824"/>
                  </a:lnTo>
                  <a:lnTo>
                    <a:pt x="1288" y="2824"/>
                  </a:lnTo>
                  <a:lnTo>
                    <a:pt x="1292" y="2826"/>
                  </a:lnTo>
                  <a:lnTo>
                    <a:pt x="1294" y="2832"/>
                  </a:lnTo>
                  <a:lnTo>
                    <a:pt x="1294" y="2838"/>
                  </a:lnTo>
                  <a:lnTo>
                    <a:pt x="1292" y="2844"/>
                  </a:lnTo>
                  <a:lnTo>
                    <a:pt x="1292" y="2848"/>
                  </a:lnTo>
                  <a:lnTo>
                    <a:pt x="1292" y="2854"/>
                  </a:lnTo>
                  <a:lnTo>
                    <a:pt x="1298" y="2864"/>
                  </a:lnTo>
                  <a:lnTo>
                    <a:pt x="1300" y="2866"/>
                  </a:lnTo>
                  <a:lnTo>
                    <a:pt x="1304" y="2868"/>
                  </a:lnTo>
                  <a:lnTo>
                    <a:pt x="1306" y="2866"/>
                  </a:lnTo>
                  <a:lnTo>
                    <a:pt x="1308" y="2862"/>
                  </a:lnTo>
                  <a:lnTo>
                    <a:pt x="1308" y="2856"/>
                  </a:lnTo>
                  <a:lnTo>
                    <a:pt x="1310" y="2854"/>
                  </a:lnTo>
                  <a:lnTo>
                    <a:pt x="1314" y="2854"/>
                  </a:lnTo>
                  <a:lnTo>
                    <a:pt x="1316" y="2856"/>
                  </a:lnTo>
                  <a:lnTo>
                    <a:pt x="1320" y="2866"/>
                  </a:lnTo>
                  <a:lnTo>
                    <a:pt x="1322" y="2880"/>
                  </a:lnTo>
                  <a:lnTo>
                    <a:pt x="1324" y="2888"/>
                  </a:lnTo>
                  <a:lnTo>
                    <a:pt x="1326" y="2888"/>
                  </a:lnTo>
                  <a:lnTo>
                    <a:pt x="1328" y="2888"/>
                  </a:lnTo>
                  <a:lnTo>
                    <a:pt x="1330" y="2882"/>
                  </a:lnTo>
                  <a:lnTo>
                    <a:pt x="1332" y="2874"/>
                  </a:lnTo>
                  <a:lnTo>
                    <a:pt x="1334" y="2866"/>
                  </a:lnTo>
                  <a:lnTo>
                    <a:pt x="1336" y="2866"/>
                  </a:lnTo>
                  <a:lnTo>
                    <a:pt x="1338" y="2868"/>
                  </a:lnTo>
                  <a:lnTo>
                    <a:pt x="1342" y="2872"/>
                  </a:lnTo>
                  <a:lnTo>
                    <a:pt x="1348" y="2882"/>
                  </a:lnTo>
                  <a:lnTo>
                    <a:pt x="1350" y="2886"/>
                  </a:lnTo>
                  <a:lnTo>
                    <a:pt x="1354" y="2888"/>
                  </a:lnTo>
                  <a:lnTo>
                    <a:pt x="1356" y="2886"/>
                  </a:lnTo>
                  <a:lnTo>
                    <a:pt x="1356" y="2884"/>
                  </a:lnTo>
                  <a:lnTo>
                    <a:pt x="1356" y="2876"/>
                  </a:lnTo>
                  <a:lnTo>
                    <a:pt x="1348" y="2854"/>
                  </a:lnTo>
                  <a:lnTo>
                    <a:pt x="1340" y="2834"/>
                  </a:lnTo>
                  <a:lnTo>
                    <a:pt x="1338" y="2828"/>
                  </a:lnTo>
                  <a:lnTo>
                    <a:pt x="1338" y="2826"/>
                  </a:lnTo>
                  <a:lnTo>
                    <a:pt x="1340" y="2824"/>
                  </a:lnTo>
                  <a:lnTo>
                    <a:pt x="1346" y="2826"/>
                  </a:lnTo>
                  <a:lnTo>
                    <a:pt x="1350" y="2828"/>
                  </a:lnTo>
                  <a:lnTo>
                    <a:pt x="1352" y="2832"/>
                  </a:lnTo>
                  <a:lnTo>
                    <a:pt x="1354" y="2838"/>
                  </a:lnTo>
                  <a:lnTo>
                    <a:pt x="1356" y="2840"/>
                  </a:lnTo>
                  <a:lnTo>
                    <a:pt x="1358" y="2840"/>
                  </a:lnTo>
                  <a:lnTo>
                    <a:pt x="1368" y="2836"/>
                  </a:lnTo>
                  <a:lnTo>
                    <a:pt x="1370" y="2834"/>
                  </a:lnTo>
                  <a:lnTo>
                    <a:pt x="1372" y="2832"/>
                  </a:lnTo>
                  <a:lnTo>
                    <a:pt x="1370" y="2828"/>
                  </a:lnTo>
                  <a:lnTo>
                    <a:pt x="1366" y="2824"/>
                  </a:lnTo>
                  <a:lnTo>
                    <a:pt x="1360" y="2822"/>
                  </a:lnTo>
                  <a:lnTo>
                    <a:pt x="1356" y="2822"/>
                  </a:lnTo>
                  <a:lnTo>
                    <a:pt x="1356" y="2820"/>
                  </a:lnTo>
                  <a:lnTo>
                    <a:pt x="1356" y="2816"/>
                  </a:lnTo>
                  <a:lnTo>
                    <a:pt x="1354" y="2812"/>
                  </a:lnTo>
                  <a:lnTo>
                    <a:pt x="1352" y="2810"/>
                  </a:lnTo>
                  <a:lnTo>
                    <a:pt x="1354" y="2808"/>
                  </a:lnTo>
                  <a:lnTo>
                    <a:pt x="1360" y="2802"/>
                  </a:lnTo>
                  <a:lnTo>
                    <a:pt x="1368" y="2800"/>
                  </a:lnTo>
                  <a:lnTo>
                    <a:pt x="1370" y="2800"/>
                  </a:lnTo>
                  <a:lnTo>
                    <a:pt x="1374" y="2802"/>
                  </a:lnTo>
                  <a:lnTo>
                    <a:pt x="1382" y="2816"/>
                  </a:lnTo>
                  <a:lnTo>
                    <a:pt x="1388" y="2820"/>
                  </a:lnTo>
                  <a:lnTo>
                    <a:pt x="1390" y="2820"/>
                  </a:lnTo>
                  <a:lnTo>
                    <a:pt x="1392" y="2820"/>
                  </a:lnTo>
                  <a:lnTo>
                    <a:pt x="1394" y="2818"/>
                  </a:lnTo>
                  <a:lnTo>
                    <a:pt x="1394" y="2816"/>
                  </a:lnTo>
                  <a:lnTo>
                    <a:pt x="1394" y="2810"/>
                  </a:lnTo>
                  <a:lnTo>
                    <a:pt x="1392" y="2804"/>
                  </a:lnTo>
                  <a:lnTo>
                    <a:pt x="1392" y="2796"/>
                  </a:lnTo>
                  <a:lnTo>
                    <a:pt x="1392" y="2794"/>
                  </a:lnTo>
                  <a:lnTo>
                    <a:pt x="1390" y="2790"/>
                  </a:lnTo>
                  <a:lnTo>
                    <a:pt x="1386" y="2788"/>
                  </a:lnTo>
                  <a:lnTo>
                    <a:pt x="1378" y="2784"/>
                  </a:lnTo>
                  <a:lnTo>
                    <a:pt x="1376" y="2782"/>
                  </a:lnTo>
                  <a:lnTo>
                    <a:pt x="1374" y="2780"/>
                  </a:lnTo>
                  <a:lnTo>
                    <a:pt x="1370" y="2774"/>
                  </a:lnTo>
                  <a:lnTo>
                    <a:pt x="1366" y="2774"/>
                  </a:lnTo>
                  <a:lnTo>
                    <a:pt x="1364" y="2772"/>
                  </a:lnTo>
                  <a:lnTo>
                    <a:pt x="1360" y="2768"/>
                  </a:lnTo>
                  <a:lnTo>
                    <a:pt x="1358" y="2764"/>
                  </a:lnTo>
                  <a:lnTo>
                    <a:pt x="1352" y="2762"/>
                  </a:lnTo>
                  <a:lnTo>
                    <a:pt x="1340" y="2758"/>
                  </a:lnTo>
                  <a:lnTo>
                    <a:pt x="1332" y="2754"/>
                  </a:lnTo>
                  <a:lnTo>
                    <a:pt x="1332" y="2752"/>
                  </a:lnTo>
                  <a:lnTo>
                    <a:pt x="1338" y="2752"/>
                  </a:lnTo>
                  <a:lnTo>
                    <a:pt x="1346" y="2750"/>
                  </a:lnTo>
                  <a:lnTo>
                    <a:pt x="1348" y="2746"/>
                  </a:lnTo>
                  <a:lnTo>
                    <a:pt x="1348" y="2744"/>
                  </a:lnTo>
                  <a:lnTo>
                    <a:pt x="1346" y="2740"/>
                  </a:lnTo>
                  <a:lnTo>
                    <a:pt x="1344" y="2732"/>
                  </a:lnTo>
                  <a:lnTo>
                    <a:pt x="1344" y="2730"/>
                  </a:lnTo>
                  <a:lnTo>
                    <a:pt x="1348" y="2730"/>
                  </a:lnTo>
                  <a:lnTo>
                    <a:pt x="1352" y="2730"/>
                  </a:lnTo>
                  <a:lnTo>
                    <a:pt x="1354" y="2732"/>
                  </a:lnTo>
                  <a:lnTo>
                    <a:pt x="1354" y="2738"/>
                  </a:lnTo>
                  <a:lnTo>
                    <a:pt x="1354" y="2742"/>
                  </a:lnTo>
                  <a:lnTo>
                    <a:pt x="1356" y="2742"/>
                  </a:lnTo>
                  <a:lnTo>
                    <a:pt x="1358" y="2742"/>
                  </a:lnTo>
                  <a:lnTo>
                    <a:pt x="1360" y="2738"/>
                  </a:lnTo>
                  <a:lnTo>
                    <a:pt x="1360" y="2736"/>
                  </a:lnTo>
                  <a:lnTo>
                    <a:pt x="1360" y="2728"/>
                  </a:lnTo>
                  <a:lnTo>
                    <a:pt x="1354" y="2720"/>
                  </a:lnTo>
                  <a:lnTo>
                    <a:pt x="1348" y="2710"/>
                  </a:lnTo>
                  <a:lnTo>
                    <a:pt x="1340" y="2702"/>
                  </a:lnTo>
                  <a:lnTo>
                    <a:pt x="1334" y="2692"/>
                  </a:lnTo>
                  <a:lnTo>
                    <a:pt x="1330" y="2682"/>
                  </a:lnTo>
                  <a:lnTo>
                    <a:pt x="1330" y="2678"/>
                  </a:lnTo>
                  <a:lnTo>
                    <a:pt x="1332" y="2674"/>
                  </a:lnTo>
                  <a:lnTo>
                    <a:pt x="1336" y="2666"/>
                  </a:lnTo>
                  <a:lnTo>
                    <a:pt x="1340" y="2660"/>
                  </a:lnTo>
                  <a:lnTo>
                    <a:pt x="1344" y="2660"/>
                  </a:lnTo>
                  <a:lnTo>
                    <a:pt x="1346" y="2660"/>
                  </a:lnTo>
                  <a:lnTo>
                    <a:pt x="1346" y="2662"/>
                  </a:lnTo>
                  <a:lnTo>
                    <a:pt x="1346" y="2668"/>
                  </a:lnTo>
                  <a:lnTo>
                    <a:pt x="1346" y="2670"/>
                  </a:lnTo>
                  <a:lnTo>
                    <a:pt x="1346" y="2672"/>
                  </a:lnTo>
                  <a:lnTo>
                    <a:pt x="1352" y="2674"/>
                  </a:lnTo>
                  <a:lnTo>
                    <a:pt x="1358" y="2676"/>
                  </a:lnTo>
                  <a:lnTo>
                    <a:pt x="1360" y="2680"/>
                  </a:lnTo>
                  <a:lnTo>
                    <a:pt x="1362" y="2686"/>
                  </a:lnTo>
                  <a:lnTo>
                    <a:pt x="1362" y="2690"/>
                  </a:lnTo>
                  <a:lnTo>
                    <a:pt x="1366" y="2694"/>
                  </a:lnTo>
                  <a:lnTo>
                    <a:pt x="1372" y="2696"/>
                  </a:lnTo>
                  <a:lnTo>
                    <a:pt x="1374" y="2696"/>
                  </a:lnTo>
                  <a:lnTo>
                    <a:pt x="1376" y="2696"/>
                  </a:lnTo>
                  <a:lnTo>
                    <a:pt x="1376" y="2694"/>
                  </a:lnTo>
                  <a:lnTo>
                    <a:pt x="1374" y="2690"/>
                  </a:lnTo>
                  <a:lnTo>
                    <a:pt x="1368" y="2684"/>
                  </a:lnTo>
                  <a:lnTo>
                    <a:pt x="1368" y="2678"/>
                  </a:lnTo>
                  <a:lnTo>
                    <a:pt x="1370" y="2678"/>
                  </a:lnTo>
                  <a:lnTo>
                    <a:pt x="1378" y="2684"/>
                  </a:lnTo>
                  <a:lnTo>
                    <a:pt x="1386" y="2692"/>
                  </a:lnTo>
                  <a:lnTo>
                    <a:pt x="1390" y="2694"/>
                  </a:lnTo>
                  <a:lnTo>
                    <a:pt x="1392" y="2694"/>
                  </a:lnTo>
                  <a:lnTo>
                    <a:pt x="1390" y="2692"/>
                  </a:lnTo>
                  <a:lnTo>
                    <a:pt x="1386" y="2684"/>
                  </a:lnTo>
                  <a:lnTo>
                    <a:pt x="1380" y="2676"/>
                  </a:lnTo>
                  <a:lnTo>
                    <a:pt x="1380" y="2674"/>
                  </a:lnTo>
                  <a:lnTo>
                    <a:pt x="1382" y="2674"/>
                  </a:lnTo>
                  <a:lnTo>
                    <a:pt x="1394" y="2680"/>
                  </a:lnTo>
                  <a:lnTo>
                    <a:pt x="1402" y="2684"/>
                  </a:lnTo>
                  <a:lnTo>
                    <a:pt x="1406" y="2684"/>
                  </a:lnTo>
                  <a:lnTo>
                    <a:pt x="1404" y="2682"/>
                  </a:lnTo>
                  <a:lnTo>
                    <a:pt x="1400" y="2676"/>
                  </a:lnTo>
                  <a:lnTo>
                    <a:pt x="1392" y="2670"/>
                  </a:lnTo>
                  <a:lnTo>
                    <a:pt x="1386" y="2668"/>
                  </a:lnTo>
                  <a:lnTo>
                    <a:pt x="1384" y="2668"/>
                  </a:lnTo>
                  <a:lnTo>
                    <a:pt x="1384" y="2664"/>
                  </a:lnTo>
                  <a:lnTo>
                    <a:pt x="1384" y="2662"/>
                  </a:lnTo>
                  <a:lnTo>
                    <a:pt x="1384" y="2660"/>
                  </a:lnTo>
                  <a:lnTo>
                    <a:pt x="1380" y="2656"/>
                  </a:lnTo>
                  <a:lnTo>
                    <a:pt x="1380" y="2654"/>
                  </a:lnTo>
                  <a:lnTo>
                    <a:pt x="1388" y="2652"/>
                  </a:lnTo>
                  <a:lnTo>
                    <a:pt x="1392" y="2652"/>
                  </a:lnTo>
                  <a:lnTo>
                    <a:pt x="1398" y="2650"/>
                  </a:lnTo>
                  <a:lnTo>
                    <a:pt x="1404" y="2644"/>
                  </a:lnTo>
                  <a:lnTo>
                    <a:pt x="1408" y="2642"/>
                  </a:lnTo>
                  <a:lnTo>
                    <a:pt x="1412" y="2640"/>
                  </a:lnTo>
                  <a:lnTo>
                    <a:pt x="1418" y="2642"/>
                  </a:lnTo>
                  <a:lnTo>
                    <a:pt x="1422" y="2644"/>
                  </a:lnTo>
                  <a:lnTo>
                    <a:pt x="1426" y="2644"/>
                  </a:lnTo>
                  <a:lnTo>
                    <a:pt x="1430" y="2640"/>
                  </a:lnTo>
                  <a:lnTo>
                    <a:pt x="1436" y="2638"/>
                  </a:lnTo>
                  <a:lnTo>
                    <a:pt x="1438" y="2638"/>
                  </a:lnTo>
                  <a:lnTo>
                    <a:pt x="1444" y="2640"/>
                  </a:lnTo>
                  <a:lnTo>
                    <a:pt x="1450" y="2644"/>
                  </a:lnTo>
                  <a:lnTo>
                    <a:pt x="1454" y="2644"/>
                  </a:lnTo>
                  <a:lnTo>
                    <a:pt x="1464" y="2644"/>
                  </a:lnTo>
                  <a:lnTo>
                    <a:pt x="1470" y="2644"/>
                  </a:lnTo>
                  <a:lnTo>
                    <a:pt x="1472" y="2646"/>
                  </a:lnTo>
                  <a:lnTo>
                    <a:pt x="1472" y="2650"/>
                  </a:lnTo>
                  <a:lnTo>
                    <a:pt x="1474" y="2656"/>
                  </a:lnTo>
                  <a:lnTo>
                    <a:pt x="1480" y="2660"/>
                  </a:lnTo>
                  <a:lnTo>
                    <a:pt x="1486" y="2660"/>
                  </a:lnTo>
                  <a:lnTo>
                    <a:pt x="1492" y="2658"/>
                  </a:lnTo>
                  <a:lnTo>
                    <a:pt x="1504" y="2656"/>
                  </a:lnTo>
                  <a:lnTo>
                    <a:pt x="1504" y="2658"/>
                  </a:lnTo>
                  <a:lnTo>
                    <a:pt x="1502" y="2660"/>
                  </a:lnTo>
                  <a:lnTo>
                    <a:pt x="1484" y="2668"/>
                  </a:lnTo>
                  <a:lnTo>
                    <a:pt x="1480" y="2672"/>
                  </a:lnTo>
                  <a:lnTo>
                    <a:pt x="1478" y="2680"/>
                  </a:lnTo>
                  <a:lnTo>
                    <a:pt x="1480" y="2684"/>
                  </a:lnTo>
                  <a:lnTo>
                    <a:pt x="1482" y="2682"/>
                  </a:lnTo>
                  <a:lnTo>
                    <a:pt x="1494" y="2670"/>
                  </a:lnTo>
                  <a:lnTo>
                    <a:pt x="1506" y="2662"/>
                  </a:lnTo>
                  <a:lnTo>
                    <a:pt x="1514" y="2658"/>
                  </a:lnTo>
                  <a:lnTo>
                    <a:pt x="1522" y="2654"/>
                  </a:lnTo>
                  <a:lnTo>
                    <a:pt x="1528" y="2646"/>
                  </a:lnTo>
                  <a:lnTo>
                    <a:pt x="1532" y="2638"/>
                  </a:lnTo>
                  <a:lnTo>
                    <a:pt x="1536" y="2636"/>
                  </a:lnTo>
                  <a:lnTo>
                    <a:pt x="1538" y="2634"/>
                  </a:lnTo>
                  <a:lnTo>
                    <a:pt x="1540" y="2636"/>
                  </a:lnTo>
                  <a:lnTo>
                    <a:pt x="1544" y="2640"/>
                  </a:lnTo>
                  <a:lnTo>
                    <a:pt x="1548" y="2640"/>
                  </a:lnTo>
                  <a:lnTo>
                    <a:pt x="1552" y="2638"/>
                  </a:lnTo>
                  <a:lnTo>
                    <a:pt x="1556" y="2634"/>
                  </a:lnTo>
                  <a:lnTo>
                    <a:pt x="1562" y="2634"/>
                  </a:lnTo>
                  <a:lnTo>
                    <a:pt x="1572" y="2638"/>
                  </a:lnTo>
                  <a:lnTo>
                    <a:pt x="1580" y="2638"/>
                  </a:lnTo>
                  <a:lnTo>
                    <a:pt x="1586" y="2638"/>
                  </a:lnTo>
                  <a:lnTo>
                    <a:pt x="1590" y="2634"/>
                  </a:lnTo>
                  <a:lnTo>
                    <a:pt x="1594" y="2626"/>
                  </a:lnTo>
                  <a:lnTo>
                    <a:pt x="1594" y="2624"/>
                  </a:lnTo>
                  <a:lnTo>
                    <a:pt x="1592" y="2624"/>
                  </a:lnTo>
                  <a:lnTo>
                    <a:pt x="1584" y="2622"/>
                  </a:lnTo>
                  <a:lnTo>
                    <a:pt x="1572" y="2616"/>
                  </a:lnTo>
                  <a:lnTo>
                    <a:pt x="1560" y="2608"/>
                  </a:lnTo>
                  <a:lnTo>
                    <a:pt x="1554" y="2600"/>
                  </a:lnTo>
                  <a:lnTo>
                    <a:pt x="1552" y="2592"/>
                  </a:lnTo>
                  <a:lnTo>
                    <a:pt x="1552" y="2582"/>
                  </a:lnTo>
                  <a:lnTo>
                    <a:pt x="1552" y="2578"/>
                  </a:lnTo>
                  <a:lnTo>
                    <a:pt x="1550" y="2576"/>
                  </a:lnTo>
                  <a:lnTo>
                    <a:pt x="1546" y="2572"/>
                  </a:lnTo>
                  <a:lnTo>
                    <a:pt x="1542" y="2570"/>
                  </a:lnTo>
                  <a:lnTo>
                    <a:pt x="1540" y="2568"/>
                  </a:lnTo>
                  <a:lnTo>
                    <a:pt x="1540" y="2564"/>
                  </a:lnTo>
                  <a:lnTo>
                    <a:pt x="1540" y="2560"/>
                  </a:lnTo>
                  <a:lnTo>
                    <a:pt x="1538" y="2558"/>
                  </a:lnTo>
                  <a:lnTo>
                    <a:pt x="1530" y="2556"/>
                  </a:lnTo>
                  <a:lnTo>
                    <a:pt x="1528" y="2556"/>
                  </a:lnTo>
                  <a:lnTo>
                    <a:pt x="1528" y="2554"/>
                  </a:lnTo>
                  <a:lnTo>
                    <a:pt x="1536" y="2546"/>
                  </a:lnTo>
                  <a:lnTo>
                    <a:pt x="1542" y="2542"/>
                  </a:lnTo>
                  <a:lnTo>
                    <a:pt x="1546" y="2538"/>
                  </a:lnTo>
                  <a:lnTo>
                    <a:pt x="1546" y="2534"/>
                  </a:lnTo>
                  <a:lnTo>
                    <a:pt x="1546" y="2530"/>
                  </a:lnTo>
                  <a:lnTo>
                    <a:pt x="1546" y="2522"/>
                  </a:lnTo>
                  <a:lnTo>
                    <a:pt x="1546" y="2516"/>
                  </a:lnTo>
                  <a:lnTo>
                    <a:pt x="1550" y="2510"/>
                  </a:lnTo>
                  <a:lnTo>
                    <a:pt x="1554" y="2504"/>
                  </a:lnTo>
                  <a:lnTo>
                    <a:pt x="1560" y="2502"/>
                  </a:lnTo>
                  <a:lnTo>
                    <a:pt x="1566" y="2504"/>
                  </a:lnTo>
                  <a:lnTo>
                    <a:pt x="1570" y="2504"/>
                  </a:lnTo>
                  <a:lnTo>
                    <a:pt x="1572" y="2502"/>
                  </a:lnTo>
                  <a:lnTo>
                    <a:pt x="1574" y="2496"/>
                  </a:lnTo>
                  <a:lnTo>
                    <a:pt x="1574" y="2484"/>
                  </a:lnTo>
                  <a:lnTo>
                    <a:pt x="1578" y="2458"/>
                  </a:lnTo>
                  <a:lnTo>
                    <a:pt x="1580" y="2448"/>
                  </a:lnTo>
                  <a:lnTo>
                    <a:pt x="1584" y="2440"/>
                  </a:lnTo>
                  <a:lnTo>
                    <a:pt x="1588" y="2434"/>
                  </a:lnTo>
                  <a:lnTo>
                    <a:pt x="1594" y="2428"/>
                  </a:lnTo>
                  <a:lnTo>
                    <a:pt x="1600" y="2426"/>
                  </a:lnTo>
                  <a:lnTo>
                    <a:pt x="1608" y="2422"/>
                  </a:lnTo>
                  <a:lnTo>
                    <a:pt x="1614" y="2418"/>
                  </a:lnTo>
                  <a:lnTo>
                    <a:pt x="1618" y="2414"/>
                  </a:lnTo>
                  <a:lnTo>
                    <a:pt x="1620" y="2406"/>
                  </a:lnTo>
                  <a:lnTo>
                    <a:pt x="1620" y="2398"/>
                  </a:lnTo>
                  <a:lnTo>
                    <a:pt x="1620" y="2390"/>
                  </a:lnTo>
                  <a:lnTo>
                    <a:pt x="1620" y="2386"/>
                  </a:lnTo>
                  <a:lnTo>
                    <a:pt x="1618" y="2384"/>
                  </a:lnTo>
                  <a:lnTo>
                    <a:pt x="1616" y="2378"/>
                  </a:lnTo>
                  <a:lnTo>
                    <a:pt x="1616" y="2372"/>
                  </a:lnTo>
                  <a:lnTo>
                    <a:pt x="1620" y="2372"/>
                  </a:lnTo>
                  <a:lnTo>
                    <a:pt x="1626" y="2372"/>
                  </a:lnTo>
                  <a:lnTo>
                    <a:pt x="1630" y="2370"/>
                  </a:lnTo>
                  <a:lnTo>
                    <a:pt x="1636" y="2366"/>
                  </a:lnTo>
                  <a:lnTo>
                    <a:pt x="1646" y="2358"/>
                  </a:lnTo>
                  <a:lnTo>
                    <a:pt x="1654" y="2348"/>
                  </a:lnTo>
                  <a:lnTo>
                    <a:pt x="1660" y="2340"/>
                  </a:lnTo>
                  <a:lnTo>
                    <a:pt x="1662" y="2330"/>
                  </a:lnTo>
                  <a:lnTo>
                    <a:pt x="1662" y="2326"/>
                  </a:lnTo>
                  <a:lnTo>
                    <a:pt x="1664" y="2324"/>
                  </a:lnTo>
                  <a:lnTo>
                    <a:pt x="1668" y="2322"/>
                  </a:lnTo>
                  <a:lnTo>
                    <a:pt x="1672" y="2320"/>
                  </a:lnTo>
                  <a:lnTo>
                    <a:pt x="1682" y="2320"/>
                  </a:lnTo>
                  <a:lnTo>
                    <a:pt x="1690" y="2318"/>
                  </a:lnTo>
                  <a:lnTo>
                    <a:pt x="1698" y="2318"/>
                  </a:lnTo>
                  <a:lnTo>
                    <a:pt x="1702" y="2318"/>
                  </a:lnTo>
                  <a:lnTo>
                    <a:pt x="1704" y="2318"/>
                  </a:lnTo>
                  <a:lnTo>
                    <a:pt x="1706" y="2312"/>
                  </a:lnTo>
                  <a:lnTo>
                    <a:pt x="1708" y="2296"/>
                  </a:lnTo>
                  <a:lnTo>
                    <a:pt x="1708" y="2294"/>
                  </a:lnTo>
                  <a:lnTo>
                    <a:pt x="1710" y="2298"/>
                  </a:lnTo>
                  <a:lnTo>
                    <a:pt x="1712" y="2308"/>
                  </a:lnTo>
                  <a:lnTo>
                    <a:pt x="1712" y="2316"/>
                  </a:lnTo>
                  <a:lnTo>
                    <a:pt x="1714" y="2320"/>
                  </a:lnTo>
                  <a:lnTo>
                    <a:pt x="1718" y="2322"/>
                  </a:lnTo>
                  <a:lnTo>
                    <a:pt x="1724" y="2322"/>
                  </a:lnTo>
                  <a:lnTo>
                    <a:pt x="1732" y="2322"/>
                  </a:lnTo>
                  <a:lnTo>
                    <a:pt x="1726" y="2324"/>
                  </a:lnTo>
                  <a:lnTo>
                    <a:pt x="1720" y="2326"/>
                  </a:lnTo>
                  <a:lnTo>
                    <a:pt x="1708" y="2324"/>
                  </a:lnTo>
                  <a:lnTo>
                    <a:pt x="1700" y="2322"/>
                  </a:lnTo>
                  <a:lnTo>
                    <a:pt x="1696" y="2322"/>
                  </a:lnTo>
                  <a:lnTo>
                    <a:pt x="1696" y="2324"/>
                  </a:lnTo>
                  <a:lnTo>
                    <a:pt x="1696" y="2326"/>
                  </a:lnTo>
                  <a:lnTo>
                    <a:pt x="1700" y="2330"/>
                  </a:lnTo>
                  <a:lnTo>
                    <a:pt x="1708" y="2336"/>
                  </a:lnTo>
                  <a:lnTo>
                    <a:pt x="1718" y="2342"/>
                  </a:lnTo>
                  <a:lnTo>
                    <a:pt x="1722" y="2346"/>
                  </a:lnTo>
                  <a:lnTo>
                    <a:pt x="1722" y="2348"/>
                  </a:lnTo>
                  <a:lnTo>
                    <a:pt x="1724" y="2350"/>
                  </a:lnTo>
                  <a:lnTo>
                    <a:pt x="1728" y="2350"/>
                  </a:lnTo>
                  <a:lnTo>
                    <a:pt x="1740" y="2350"/>
                  </a:lnTo>
                  <a:lnTo>
                    <a:pt x="1754" y="2348"/>
                  </a:lnTo>
                  <a:lnTo>
                    <a:pt x="1760" y="2348"/>
                  </a:lnTo>
                  <a:lnTo>
                    <a:pt x="1764" y="2350"/>
                  </a:lnTo>
                  <a:lnTo>
                    <a:pt x="1766" y="2352"/>
                  </a:lnTo>
                  <a:lnTo>
                    <a:pt x="1768" y="2352"/>
                  </a:lnTo>
                  <a:lnTo>
                    <a:pt x="1772" y="2350"/>
                  </a:lnTo>
                  <a:lnTo>
                    <a:pt x="1776" y="2350"/>
                  </a:lnTo>
                  <a:lnTo>
                    <a:pt x="1780" y="2356"/>
                  </a:lnTo>
                  <a:lnTo>
                    <a:pt x="1780" y="2358"/>
                  </a:lnTo>
                  <a:lnTo>
                    <a:pt x="1778" y="2360"/>
                  </a:lnTo>
                  <a:lnTo>
                    <a:pt x="1774" y="2364"/>
                  </a:lnTo>
                  <a:lnTo>
                    <a:pt x="1756" y="2374"/>
                  </a:lnTo>
                  <a:lnTo>
                    <a:pt x="1738" y="2382"/>
                  </a:lnTo>
                  <a:lnTo>
                    <a:pt x="1732" y="2386"/>
                  </a:lnTo>
                  <a:lnTo>
                    <a:pt x="1732" y="2388"/>
                  </a:lnTo>
                  <a:lnTo>
                    <a:pt x="1732" y="2390"/>
                  </a:lnTo>
                  <a:lnTo>
                    <a:pt x="1736" y="2392"/>
                  </a:lnTo>
                  <a:lnTo>
                    <a:pt x="1742" y="2394"/>
                  </a:lnTo>
                  <a:lnTo>
                    <a:pt x="1756" y="2398"/>
                  </a:lnTo>
                  <a:lnTo>
                    <a:pt x="1762" y="2400"/>
                  </a:lnTo>
                  <a:lnTo>
                    <a:pt x="1768" y="2404"/>
                  </a:lnTo>
                  <a:lnTo>
                    <a:pt x="1772" y="2410"/>
                  </a:lnTo>
                  <a:lnTo>
                    <a:pt x="1774" y="2416"/>
                  </a:lnTo>
                  <a:lnTo>
                    <a:pt x="1774" y="2424"/>
                  </a:lnTo>
                  <a:lnTo>
                    <a:pt x="1772" y="2428"/>
                  </a:lnTo>
                  <a:lnTo>
                    <a:pt x="1768" y="2432"/>
                  </a:lnTo>
                  <a:lnTo>
                    <a:pt x="1766" y="2434"/>
                  </a:lnTo>
                  <a:lnTo>
                    <a:pt x="1768" y="2434"/>
                  </a:lnTo>
                  <a:lnTo>
                    <a:pt x="1774" y="2442"/>
                  </a:lnTo>
                  <a:lnTo>
                    <a:pt x="1780" y="2446"/>
                  </a:lnTo>
                  <a:lnTo>
                    <a:pt x="1788" y="2448"/>
                  </a:lnTo>
                  <a:lnTo>
                    <a:pt x="1794" y="2446"/>
                  </a:lnTo>
                  <a:lnTo>
                    <a:pt x="1800" y="2442"/>
                  </a:lnTo>
                  <a:lnTo>
                    <a:pt x="1810" y="2432"/>
                  </a:lnTo>
                  <a:lnTo>
                    <a:pt x="1822" y="2422"/>
                  </a:lnTo>
                  <a:lnTo>
                    <a:pt x="1826" y="2420"/>
                  </a:lnTo>
                  <a:lnTo>
                    <a:pt x="1830" y="2420"/>
                  </a:lnTo>
                  <a:lnTo>
                    <a:pt x="1832" y="2422"/>
                  </a:lnTo>
                  <a:lnTo>
                    <a:pt x="1836" y="2422"/>
                  </a:lnTo>
                  <a:lnTo>
                    <a:pt x="1844" y="2416"/>
                  </a:lnTo>
                  <a:lnTo>
                    <a:pt x="1850" y="2410"/>
                  </a:lnTo>
                  <a:lnTo>
                    <a:pt x="1856" y="2408"/>
                  </a:lnTo>
                  <a:lnTo>
                    <a:pt x="1860" y="2408"/>
                  </a:lnTo>
                  <a:lnTo>
                    <a:pt x="1862" y="2408"/>
                  </a:lnTo>
                  <a:lnTo>
                    <a:pt x="1870" y="2412"/>
                  </a:lnTo>
                  <a:lnTo>
                    <a:pt x="1876" y="2414"/>
                  </a:lnTo>
                  <a:lnTo>
                    <a:pt x="1882" y="2412"/>
                  </a:lnTo>
                  <a:lnTo>
                    <a:pt x="1892" y="2408"/>
                  </a:lnTo>
                  <a:lnTo>
                    <a:pt x="1894" y="2406"/>
                  </a:lnTo>
                  <a:lnTo>
                    <a:pt x="1892" y="2404"/>
                  </a:lnTo>
                  <a:lnTo>
                    <a:pt x="1892" y="2400"/>
                  </a:lnTo>
                  <a:lnTo>
                    <a:pt x="1892" y="2398"/>
                  </a:lnTo>
                  <a:lnTo>
                    <a:pt x="1894" y="2394"/>
                  </a:lnTo>
                  <a:lnTo>
                    <a:pt x="1896" y="2390"/>
                  </a:lnTo>
                  <a:lnTo>
                    <a:pt x="1894" y="2386"/>
                  </a:lnTo>
                  <a:lnTo>
                    <a:pt x="1886" y="2384"/>
                  </a:lnTo>
                  <a:lnTo>
                    <a:pt x="1874" y="2386"/>
                  </a:lnTo>
                  <a:lnTo>
                    <a:pt x="1868" y="2388"/>
                  </a:lnTo>
                  <a:lnTo>
                    <a:pt x="1862" y="2392"/>
                  </a:lnTo>
                  <a:lnTo>
                    <a:pt x="1854" y="2396"/>
                  </a:lnTo>
                  <a:lnTo>
                    <a:pt x="1852" y="2396"/>
                  </a:lnTo>
                  <a:lnTo>
                    <a:pt x="1848" y="2392"/>
                  </a:lnTo>
                  <a:lnTo>
                    <a:pt x="1842" y="2386"/>
                  </a:lnTo>
                  <a:lnTo>
                    <a:pt x="1836" y="2376"/>
                  </a:lnTo>
                  <a:lnTo>
                    <a:pt x="1826" y="2358"/>
                  </a:lnTo>
                  <a:lnTo>
                    <a:pt x="1824" y="2348"/>
                  </a:lnTo>
                  <a:lnTo>
                    <a:pt x="1824" y="2346"/>
                  </a:lnTo>
                  <a:lnTo>
                    <a:pt x="1824" y="2344"/>
                  </a:lnTo>
                  <a:lnTo>
                    <a:pt x="1830" y="2342"/>
                  </a:lnTo>
                  <a:lnTo>
                    <a:pt x="1836" y="2340"/>
                  </a:lnTo>
                  <a:lnTo>
                    <a:pt x="1838" y="2340"/>
                  </a:lnTo>
                  <a:lnTo>
                    <a:pt x="1838" y="2342"/>
                  </a:lnTo>
                  <a:lnTo>
                    <a:pt x="1838" y="2344"/>
                  </a:lnTo>
                  <a:lnTo>
                    <a:pt x="1838" y="2348"/>
                  </a:lnTo>
                  <a:lnTo>
                    <a:pt x="1842" y="2346"/>
                  </a:lnTo>
                  <a:lnTo>
                    <a:pt x="1852" y="2336"/>
                  </a:lnTo>
                  <a:lnTo>
                    <a:pt x="1862" y="2326"/>
                  </a:lnTo>
                  <a:lnTo>
                    <a:pt x="1872" y="2318"/>
                  </a:lnTo>
                  <a:lnTo>
                    <a:pt x="1876" y="2316"/>
                  </a:lnTo>
                  <a:lnTo>
                    <a:pt x="1880" y="2316"/>
                  </a:lnTo>
                  <a:lnTo>
                    <a:pt x="1886" y="2318"/>
                  </a:lnTo>
                  <a:lnTo>
                    <a:pt x="1896" y="2316"/>
                  </a:lnTo>
                  <a:lnTo>
                    <a:pt x="1906" y="2312"/>
                  </a:lnTo>
                  <a:lnTo>
                    <a:pt x="1916" y="2308"/>
                  </a:lnTo>
                  <a:lnTo>
                    <a:pt x="1934" y="2296"/>
                  </a:lnTo>
                  <a:lnTo>
                    <a:pt x="1944" y="2292"/>
                  </a:lnTo>
                  <a:lnTo>
                    <a:pt x="1952" y="2292"/>
                  </a:lnTo>
                  <a:lnTo>
                    <a:pt x="1956" y="2294"/>
                  </a:lnTo>
                  <a:lnTo>
                    <a:pt x="1960" y="2296"/>
                  </a:lnTo>
                  <a:lnTo>
                    <a:pt x="1964" y="2294"/>
                  </a:lnTo>
                  <a:lnTo>
                    <a:pt x="1972" y="2288"/>
                  </a:lnTo>
                  <a:lnTo>
                    <a:pt x="1976" y="2288"/>
                  </a:lnTo>
                  <a:lnTo>
                    <a:pt x="1980" y="2290"/>
                  </a:lnTo>
                  <a:lnTo>
                    <a:pt x="1986" y="2288"/>
                  </a:lnTo>
                  <a:lnTo>
                    <a:pt x="1992" y="2286"/>
                  </a:lnTo>
                  <a:lnTo>
                    <a:pt x="1998" y="2284"/>
                  </a:lnTo>
                  <a:lnTo>
                    <a:pt x="2002" y="2284"/>
                  </a:lnTo>
                  <a:lnTo>
                    <a:pt x="2004" y="2286"/>
                  </a:lnTo>
                  <a:lnTo>
                    <a:pt x="2004" y="2288"/>
                  </a:lnTo>
                  <a:lnTo>
                    <a:pt x="2004" y="2290"/>
                  </a:lnTo>
                  <a:lnTo>
                    <a:pt x="2000" y="2294"/>
                  </a:lnTo>
                  <a:lnTo>
                    <a:pt x="1996" y="2298"/>
                  </a:lnTo>
                  <a:lnTo>
                    <a:pt x="1988" y="2300"/>
                  </a:lnTo>
                  <a:lnTo>
                    <a:pt x="1980" y="2302"/>
                  </a:lnTo>
                  <a:lnTo>
                    <a:pt x="1974" y="2306"/>
                  </a:lnTo>
                  <a:lnTo>
                    <a:pt x="1968" y="2312"/>
                  </a:lnTo>
                  <a:lnTo>
                    <a:pt x="1962" y="2316"/>
                  </a:lnTo>
                  <a:lnTo>
                    <a:pt x="1948" y="2318"/>
                  </a:lnTo>
                  <a:lnTo>
                    <a:pt x="1944" y="2318"/>
                  </a:lnTo>
                  <a:lnTo>
                    <a:pt x="1944" y="2320"/>
                  </a:lnTo>
                  <a:lnTo>
                    <a:pt x="1944" y="2324"/>
                  </a:lnTo>
                  <a:lnTo>
                    <a:pt x="1946" y="2326"/>
                  </a:lnTo>
                  <a:lnTo>
                    <a:pt x="1952" y="2332"/>
                  </a:lnTo>
                  <a:lnTo>
                    <a:pt x="1956" y="2334"/>
                  </a:lnTo>
                  <a:lnTo>
                    <a:pt x="1958" y="2334"/>
                  </a:lnTo>
                  <a:lnTo>
                    <a:pt x="1962" y="2334"/>
                  </a:lnTo>
                  <a:lnTo>
                    <a:pt x="1968" y="2338"/>
                  </a:lnTo>
                  <a:lnTo>
                    <a:pt x="1974" y="2344"/>
                  </a:lnTo>
                  <a:lnTo>
                    <a:pt x="1978" y="2352"/>
                  </a:lnTo>
                  <a:lnTo>
                    <a:pt x="1976" y="2354"/>
                  </a:lnTo>
                  <a:lnTo>
                    <a:pt x="1972" y="2352"/>
                  </a:lnTo>
                  <a:lnTo>
                    <a:pt x="1964" y="2350"/>
                  </a:lnTo>
                  <a:lnTo>
                    <a:pt x="1958" y="2350"/>
                  </a:lnTo>
                  <a:lnTo>
                    <a:pt x="1952" y="2354"/>
                  </a:lnTo>
                  <a:lnTo>
                    <a:pt x="1948" y="2362"/>
                  </a:lnTo>
                  <a:lnTo>
                    <a:pt x="1942" y="2376"/>
                  </a:lnTo>
                  <a:lnTo>
                    <a:pt x="1940" y="2382"/>
                  </a:lnTo>
                  <a:lnTo>
                    <a:pt x="1942" y="2388"/>
                  </a:lnTo>
                  <a:lnTo>
                    <a:pt x="1944" y="2396"/>
                  </a:lnTo>
                  <a:lnTo>
                    <a:pt x="1942" y="2396"/>
                  </a:lnTo>
                  <a:lnTo>
                    <a:pt x="1940" y="2396"/>
                  </a:lnTo>
                  <a:lnTo>
                    <a:pt x="1934" y="2394"/>
                  </a:lnTo>
                  <a:lnTo>
                    <a:pt x="1930" y="2392"/>
                  </a:lnTo>
                  <a:lnTo>
                    <a:pt x="1926" y="2394"/>
                  </a:lnTo>
                  <a:lnTo>
                    <a:pt x="1922" y="2394"/>
                  </a:lnTo>
                  <a:lnTo>
                    <a:pt x="1918" y="2392"/>
                  </a:lnTo>
                  <a:lnTo>
                    <a:pt x="1910" y="2390"/>
                  </a:lnTo>
                  <a:lnTo>
                    <a:pt x="1904" y="2388"/>
                  </a:lnTo>
                  <a:lnTo>
                    <a:pt x="1904" y="2390"/>
                  </a:lnTo>
                  <a:lnTo>
                    <a:pt x="1904" y="2392"/>
                  </a:lnTo>
                  <a:lnTo>
                    <a:pt x="1904" y="2396"/>
                  </a:lnTo>
                  <a:lnTo>
                    <a:pt x="1904" y="2398"/>
                  </a:lnTo>
                  <a:lnTo>
                    <a:pt x="1900" y="2402"/>
                  </a:lnTo>
                  <a:lnTo>
                    <a:pt x="1900" y="2404"/>
                  </a:lnTo>
                  <a:lnTo>
                    <a:pt x="1912" y="2410"/>
                  </a:lnTo>
                  <a:lnTo>
                    <a:pt x="1918" y="2414"/>
                  </a:lnTo>
                  <a:lnTo>
                    <a:pt x="1924" y="2418"/>
                  </a:lnTo>
                  <a:lnTo>
                    <a:pt x="1928" y="2424"/>
                  </a:lnTo>
                  <a:lnTo>
                    <a:pt x="1934" y="2430"/>
                  </a:lnTo>
                  <a:lnTo>
                    <a:pt x="1938" y="2432"/>
                  </a:lnTo>
                  <a:lnTo>
                    <a:pt x="1944" y="2434"/>
                  </a:lnTo>
                  <a:lnTo>
                    <a:pt x="1950" y="2434"/>
                  </a:lnTo>
                  <a:lnTo>
                    <a:pt x="1954" y="2436"/>
                  </a:lnTo>
                  <a:lnTo>
                    <a:pt x="1956" y="2440"/>
                  </a:lnTo>
                  <a:lnTo>
                    <a:pt x="1958" y="2442"/>
                  </a:lnTo>
                  <a:lnTo>
                    <a:pt x="1960" y="2446"/>
                  </a:lnTo>
                  <a:lnTo>
                    <a:pt x="1966" y="2448"/>
                  </a:lnTo>
                  <a:lnTo>
                    <a:pt x="1976" y="2452"/>
                  </a:lnTo>
                  <a:lnTo>
                    <a:pt x="1990" y="2456"/>
                  </a:lnTo>
                  <a:lnTo>
                    <a:pt x="1994" y="2458"/>
                  </a:lnTo>
                  <a:lnTo>
                    <a:pt x="1996" y="2462"/>
                  </a:lnTo>
                  <a:lnTo>
                    <a:pt x="2006" y="2474"/>
                  </a:lnTo>
                  <a:lnTo>
                    <a:pt x="2034" y="2504"/>
                  </a:lnTo>
                  <a:lnTo>
                    <a:pt x="2042" y="2510"/>
                  </a:lnTo>
                  <a:lnTo>
                    <a:pt x="2050" y="2516"/>
                  </a:lnTo>
                  <a:lnTo>
                    <a:pt x="2062" y="2520"/>
                  </a:lnTo>
                  <a:lnTo>
                    <a:pt x="2070" y="2522"/>
                  </a:lnTo>
                  <a:lnTo>
                    <a:pt x="2074" y="2526"/>
                  </a:lnTo>
                  <a:lnTo>
                    <a:pt x="2076" y="2530"/>
                  </a:lnTo>
                  <a:lnTo>
                    <a:pt x="2080" y="2534"/>
                  </a:lnTo>
                  <a:lnTo>
                    <a:pt x="2082" y="2538"/>
                  </a:lnTo>
                  <a:lnTo>
                    <a:pt x="2088" y="2538"/>
                  </a:lnTo>
                  <a:lnTo>
                    <a:pt x="2092" y="2540"/>
                  </a:lnTo>
                  <a:lnTo>
                    <a:pt x="2094" y="2544"/>
                  </a:lnTo>
                  <a:lnTo>
                    <a:pt x="2098" y="2552"/>
                  </a:lnTo>
                  <a:lnTo>
                    <a:pt x="2100" y="2562"/>
                  </a:lnTo>
                  <a:lnTo>
                    <a:pt x="2104" y="2584"/>
                  </a:lnTo>
                  <a:lnTo>
                    <a:pt x="2104" y="2598"/>
                  </a:lnTo>
                  <a:lnTo>
                    <a:pt x="2100" y="2606"/>
                  </a:lnTo>
                  <a:lnTo>
                    <a:pt x="2096" y="2610"/>
                  </a:lnTo>
                  <a:lnTo>
                    <a:pt x="2086" y="2618"/>
                  </a:lnTo>
                  <a:lnTo>
                    <a:pt x="2066" y="2630"/>
                  </a:lnTo>
                  <a:lnTo>
                    <a:pt x="2054" y="2636"/>
                  </a:lnTo>
                  <a:lnTo>
                    <a:pt x="2044" y="2640"/>
                  </a:lnTo>
                  <a:lnTo>
                    <a:pt x="2032" y="2638"/>
                  </a:lnTo>
                  <a:lnTo>
                    <a:pt x="2028" y="2638"/>
                  </a:lnTo>
                  <a:lnTo>
                    <a:pt x="2024" y="2634"/>
                  </a:lnTo>
                  <a:lnTo>
                    <a:pt x="2014" y="2630"/>
                  </a:lnTo>
                  <a:lnTo>
                    <a:pt x="2006" y="2630"/>
                  </a:lnTo>
                  <a:lnTo>
                    <a:pt x="1996" y="2632"/>
                  </a:lnTo>
                  <a:lnTo>
                    <a:pt x="1986" y="2636"/>
                  </a:lnTo>
                  <a:lnTo>
                    <a:pt x="1976" y="2640"/>
                  </a:lnTo>
                  <a:lnTo>
                    <a:pt x="1968" y="2642"/>
                  </a:lnTo>
                  <a:lnTo>
                    <a:pt x="1960" y="2642"/>
                  </a:lnTo>
                  <a:lnTo>
                    <a:pt x="1956" y="2640"/>
                  </a:lnTo>
                  <a:lnTo>
                    <a:pt x="1952" y="2636"/>
                  </a:lnTo>
                  <a:lnTo>
                    <a:pt x="1942" y="2630"/>
                  </a:lnTo>
                  <a:lnTo>
                    <a:pt x="1940" y="2630"/>
                  </a:lnTo>
                  <a:lnTo>
                    <a:pt x="1938" y="2632"/>
                  </a:lnTo>
                  <a:lnTo>
                    <a:pt x="1936" y="2634"/>
                  </a:lnTo>
                  <a:lnTo>
                    <a:pt x="1932" y="2634"/>
                  </a:lnTo>
                  <a:lnTo>
                    <a:pt x="1924" y="2630"/>
                  </a:lnTo>
                  <a:lnTo>
                    <a:pt x="1918" y="2626"/>
                  </a:lnTo>
                  <a:lnTo>
                    <a:pt x="1914" y="2622"/>
                  </a:lnTo>
                  <a:lnTo>
                    <a:pt x="1910" y="2618"/>
                  </a:lnTo>
                  <a:lnTo>
                    <a:pt x="1908" y="2616"/>
                  </a:lnTo>
                  <a:lnTo>
                    <a:pt x="1906" y="2616"/>
                  </a:lnTo>
                  <a:lnTo>
                    <a:pt x="1896" y="2620"/>
                  </a:lnTo>
                  <a:lnTo>
                    <a:pt x="1890" y="2620"/>
                  </a:lnTo>
                  <a:lnTo>
                    <a:pt x="1886" y="2618"/>
                  </a:lnTo>
                  <a:lnTo>
                    <a:pt x="1884" y="2614"/>
                  </a:lnTo>
                  <a:lnTo>
                    <a:pt x="1882" y="2608"/>
                  </a:lnTo>
                  <a:lnTo>
                    <a:pt x="1880" y="2602"/>
                  </a:lnTo>
                  <a:lnTo>
                    <a:pt x="1876" y="2598"/>
                  </a:lnTo>
                  <a:lnTo>
                    <a:pt x="1870" y="2596"/>
                  </a:lnTo>
                  <a:lnTo>
                    <a:pt x="1860" y="2598"/>
                  </a:lnTo>
                  <a:lnTo>
                    <a:pt x="1850" y="2600"/>
                  </a:lnTo>
                  <a:lnTo>
                    <a:pt x="1844" y="2596"/>
                  </a:lnTo>
                  <a:lnTo>
                    <a:pt x="1842" y="2592"/>
                  </a:lnTo>
                  <a:lnTo>
                    <a:pt x="1840" y="2586"/>
                  </a:lnTo>
                  <a:lnTo>
                    <a:pt x="1840" y="2582"/>
                  </a:lnTo>
                  <a:lnTo>
                    <a:pt x="1838" y="2578"/>
                  </a:lnTo>
                  <a:lnTo>
                    <a:pt x="1836" y="2576"/>
                  </a:lnTo>
                  <a:lnTo>
                    <a:pt x="1830" y="2580"/>
                  </a:lnTo>
                  <a:lnTo>
                    <a:pt x="1822" y="2582"/>
                  </a:lnTo>
                  <a:lnTo>
                    <a:pt x="1814" y="2584"/>
                  </a:lnTo>
                  <a:lnTo>
                    <a:pt x="1798" y="2582"/>
                  </a:lnTo>
                  <a:lnTo>
                    <a:pt x="1788" y="2580"/>
                  </a:lnTo>
                  <a:lnTo>
                    <a:pt x="1778" y="2580"/>
                  </a:lnTo>
                  <a:lnTo>
                    <a:pt x="1766" y="2582"/>
                  </a:lnTo>
                  <a:lnTo>
                    <a:pt x="1752" y="2586"/>
                  </a:lnTo>
                  <a:lnTo>
                    <a:pt x="1724" y="2596"/>
                  </a:lnTo>
                  <a:lnTo>
                    <a:pt x="1706" y="2608"/>
                  </a:lnTo>
                  <a:lnTo>
                    <a:pt x="1694" y="2618"/>
                  </a:lnTo>
                  <a:lnTo>
                    <a:pt x="1688" y="2624"/>
                  </a:lnTo>
                  <a:lnTo>
                    <a:pt x="1684" y="2630"/>
                  </a:lnTo>
                  <a:lnTo>
                    <a:pt x="1678" y="2632"/>
                  </a:lnTo>
                  <a:lnTo>
                    <a:pt x="1668" y="2632"/>
                  </a:lnTo>
                  <a:lnTo>
                    <a:pt x="1656" y="2628"/>
                  </a:lnTo>
                  <a:lnTo>
                    <a:pt x="1646" y="2626"/>
                  </a:lnTo>
                  <a:lnTo>
                    <a:pt x="1638" y="2626"/>
                  </a:lnTo>
                  <a:lnTo>
                    <a:pt x="1630" y="2628"/>
                  </a:lnTo>
                  <a:lnTo>
                    <a:pt x="1618" y="2628"/>
                  </a:lnTo>
                  <a:lnTo>
                    <a:pt x="1608" y="2624"/>
                  </a:lnTo>
                  <a:lnTo>
                    <a:pt x="1602" y="2626"/>
                  </a:lnTo>
                  <a:lnTo>
                    <a:pt x="1598" y="2628"/>
                  </a:lnTo>
                  <a:lnTo>
                    <a:pt x="1596" y="2634"/>
                  </a:lnTo>
                  <a:lnTo>
                    <a:pt x="1594" y="2638"/>
                  </a:lnTo>
                  <a:lnTo>
                    <a:pt x="1596" y="2640"/>
                  </a:lnTo>
                  <a:lnTo>
                    <a:pt x="1600" y="2642"/>
                  </a:lnTo>
                  <a:lnTo>
                    <a:pt x="1604" y="2646"/>
                  </a:lnTo>
                  <a:lnTo>
                    <a:pt x="1608" y="2650"/>
                  </a:lnTo>
                  <a:lnTo>
                    <a:pt x="1612" y="2650"/>
                  </a:lnTo>
                  <a:lnTo>
                    <a:pt x="1620" y="2652"/>
                  </a:lnTo>
                  <a:lnTo>
                    <a:pt x="1622" y="2652"/>
                  </a:lnTo>
                  <a:lnTo>
                    <a:pt x="1620" y="2652"/>
                  </a:lnTo>
                  <a:lnTo>
                    <a:pt x="1606" y="2656"/>
                  </a:lnTo>
                  <a:lnTo>
                    <a:pt x="1584" y="2660"/>
                  </a:lnTo>
                  <a:lnTo>
                    <a:pt x="1584" y="2662"/>
                  </a:lnTo>
                  <a:lnTo>
                    <a:pt x="1584" y="2664"/>
                  </a:lnTo>
                  <a:lnTo>
                    <a:pt x="1592" y="2666"/>
                  </a:lnTo>
                  <a:lnTo>
                    <a:pt x="1594" y="2668"/>
                  </a:lnTo>
                  <a:lnTo>
                    <a:pt x="1594" y="2672"/>
                  </a:lnTo>
                  <a:lnTo>
                    <a:pt x="1586" y="2674"/>
                  </a:lnTo>
                  <a:lnTo>
                    <a:pt x="1570" y="2674"/>
                  </a:lnTo>
                  <a:lnTo>
                    <a:pt x="1558" y="2672"/>
                  </a:lnTo>
                  <a:lnTo>
                    <a:pt x="1554" y="2670"/>
                  </a:lnTo>
                  <a:lnTo>
                    <a:pt x="1552" y="2666"/>
                  </a:lnTo>
                  <a:lnTo>
                    <a:pt x="1552" y="2664"/>
                  </a:lnTo>
                  <a:lnTo>
                    <a:pt x="1550" y="2662"/>
                  </a:lnTo>
                  <a:lnTo>
                    <a:pt x="1544" y="2662"/>
                  </a:lnTo>
                  <a:lnTo>
                    <a:pt x="1538" y="2666"/>
                  </a:lnTo>
                  <a:lnTo>
                    <a:pt x="1536" y="2668"/>
                  </a:lnTo>
                  <a:lnTo>
                    <a:pt x="1538" y="2670"/>
                  </a:lnTo>
                  <a:lnTo>
                    <a:pt x="1540" y="2672"/>
                  </a:lnTo>
                  <a:lnTo>
                    <a:pt x="1540" y="2674"/>
                  </a:lnTo>
                  <a:lnTo>
                    <a:pt x="1536" y="2676"/>
                  </a:lnTo>
                  <a:lnTo>
                    <a:pt x="1530" y="2676"/>
                  </a:lnTo>
                  <a:lnTo>
                    <a:pt x="1528" y="2674"/>
                  </a:lnTo>
                  <a:lnTo>
                    <a:pt x="1526" y="2672"/>
                  </a:lnTo>
                  <a:lnTo>
                    <a:pt x="1524" y="2670"/>
                  </a:lnTo>
                  <a:lnTo>
                    <a:pt x="1520" y="2668"/>
                  </a:lnTo>
                  <a:lnTo>
                    <a:pt x="1516" y="2666"/>
                  </a:lnTo>
                  <a:lnTo>
                    <a:pt x="1510" y="2668"/>
                  </a:lnTo>
                  <a:lnTo>
                    <a:pt x="1506" y="2670"/>
                  </a:lnTo>
                  <a:lnTo>
                    <a:pt x="1500" y="2672"/>
                  </a:lnTo>
                  <a:lnTo>
                    <a:pt x="1494" y="2678"/>
                  </a:lnTo>
                  <a:lnTo>
                    <a:pt x="1488" y="2686"/>
                  </a:lnTo>
                  <a:lnTo>
                    <a:pt x="1482" y="2692"/>
                  </a:lnTo>
                  <a:lnTo>
                    <a:pt x="1480" y="2694"/>
                  </a:lnTo>
                  <a:lnTo>
                    <a:pt x="1478" y="2696"/>
                  </a:lnTo>
                  <a:lnTo>
                    <a:pt x="1476" y="2706"/>
                  </a:lnTo>
                  <a:lnTo>
                    <a:pt x="1474" y="2716"/>
                  </a:lnTo>
                  <a:lnTo>
                    <a:pt x="1474" y="2718"/>
                  </a:lnTo>
                  <a:lnTo>
                    <a:pt x="1476" y="2720"/>
                  </a:lnTo>
                  <a:lnTo>
                    <a:pt x="1482" y="2720"/>
                  </a:lnTo>
                  <a:lnTo>
                    <a:pt x="1496" y="2716"/>
                  </a:lnTo>
                  <a:lnTo>
                    <a:pt x="1504" y="2716"/>
                  </a:lnTo>
                  <a:lnTo>
                    <a:pt x="1506" y="2716"/>
                  </a:lnTo>
                  <a:lnTo>
                    <a:pt x="1506" y="2718"/>
                  </a:lnTo>
                  <a:lnTo>
                    <a:pt x="1504" y="2720"/>
                  </a:lnTo>
                  <a:lnTo>
                    <a:pt x="1500" y="2728"/>
                  </a:lnTo>
                  <a:lnTo>
                    <a:pt x="1498" y="2732"/>
                  </a:lnTo>
                  <a:lnTo>
                    <a:pt x="1502" y="2734"/>
                  </a:lnTo>
                  <a:lnTo>
                    <a:pt x="1504" y="2738"/>
                  </a:lnTo>
                  <a:lnTo>
                    <a:pt x="1504" y="2740"/>
                  </a:lnTo>
                  <a:lnTo>
                    <a:pt x="1502" y="2746"/>
                  </a:lnTo>
                  <a:lnTo>
                    <a:pt x="1502" y="2750"/>
                  </a:lnTo>
                  <a:lnTo>
                    <a:pt x="1504" y="2752"/>
                  </a:lnTo>
                  <a:lnTo>
                    <a:pt x="1506" y="2752"/>
                  </a:lnTo>
                  <a:lnTo>
                    <a:pt x="1510" y="2754"/>
                  </a:lnTo>
                  <a:lnTo>
                    <a:pt x="1510" y="2756"/>
                  </a:lnTo>
                  <a:lnTo>
                    <a:pt x="1504" y="2760"/>
                  </a:lnTo>
                  <a:lnTo>
                    <a:pt x="1498" y="2766"/>
                  </a:lnTo>
                  <a:lnTo>
                    <a:pt x="1498" y="2768"/>
                  </a:lnTo>
                  <a:lnTo>
                    <a:pt x="1502" y="2770"/>
                  </a:lnTo>
                  <a:lnTo>
                    <a:pt x="1508" y="2774"/>
                  </a:lnTo>
                  <a:lnTo>
                    <a:pt x="1510" y="2778"/>
                  </a:lnTo>
                  <a:lnTo>
                    <a:pt x="1510" y="2780"/>
                  </a:lnTo>
                  <a:lnTo>
                    <a:pt x="1508" y="2782"/>
                  </a:lnTo>
                  <a:lnTo>
                    <a:pt x="1504" y="2782"/>
                  </a:lnTo>
                  <a:lnTo>
                    <a:pt x="1500" y="2782"/>
                  </a:lnTo>
                  <a:lnTo>
                    <a:pt x="1496" y="2780"/>
                  </a:lnTo>
                  <a:lnTo>
                    <a:pt x="1494" y="2774"/>
                  </a:lnTo>
                  <a:lnTo>
                    <a:pt x="1492" y="2768"/>
                  </a:lnTo>
                  <a:lnTo>
                    <a:pt x="1488" y="2768"/>
                  </a:lnTo>
                  <a:lnTo>
                    <a:pt x="1486" y="2768"/>
                  </a:lnTo>
                  <a:lnTo>
                    <a:pt x="1486" y="2772"/>
                  </a:lnTo>
                  <a:lnTo>
                    <a:pt x="1484" y="2782"/>
                  </a:lnTo>
                  <a:lnTo>
                    <a:pt x="1486" y="2788"/>
                  </a:lnTo>
                  <a:lnTo>
                    <a:pt x="1490" y="2792"/>
                  </a:lnTo>
                  <a:lnTo>
                    <a:pt x="1494" y="2794"/>
                  </a:lnTo>
                  <a:lnTo>
                    <a:pt x="1498" y="2794"/>
                  </a:lnTo>
                  <a:lnTo>
                    <a:pt x="1500" y="2794"/>
                  </a:lnTo>
                  <a:lnTo>
                    <a:pt x="1504" y="2796"/>
                  </a:lnTo>
                  <a:lnTo>
                    <a:pt x="1508" y="2800"/>
                  </a:lnTo>
                  <a:lnTo>
                    <a:pt x="1510" y="2800"/>
                  </a:lnTo>
                  <a:lnTo>
                    <a:pt x="1518" y="2802"/>
                  </a:lnTo>
                  <a:lnTo>
                    <a:pt x="1520" y="2802"/>
                  </a:lnTo>
                  <a:lnTo>
                    <a:pt x="1522" y="2804"/>
                  </a:lnTo>
                  <a:lnTo>
                    <a:pt x="1522" y="2806"/>
                  </a:lnTo>
                  <a:lnTo>
                    <a:pt x="1520" y="2810"/>
                  </a:lnTo>
                  <a:lnTo>
                    <a:pt x="1516" y="2818"/>
                  </a:lnTo>
                  <a:lnTo>
                    <a:pt x="1516" y="2822"/>
                  </a:lnTo>
                  <a:lnTo>
                    <a:pt x="1520" y="2826"/>
                  </a:lnTo>
                  <a:lnTo>
                    <a:pt x="1520" y="2832"/>
                  </a:lnTo>
                  <a:lnTo>
                    <a:pt x="1520" y="2836"/>
                  </a:lnTo>
                  <a:lnTo>
                    <a:pt x="1522" y="2838"/>
                  </a:lnTo>
                  <a:lnTo>
                    <a:pt x="1526" y="2838"/>
                  </a:lnTo>
                  <a:lnTo>
                    <a:pt x="1528" y="2840"/>
                  </a:lnTo>
                  <a:lnTo>
                    <a:pt x="1530" y="2844"/>
                  </a:lnTo>
                  <a:lnTo>
                    <a:pt x="1530" y="2848"/>
                  </a:lnTo>
                  <a:lnTo>
                    <a:pt x="1530" y="2850"/>
                  </a:lnTo>
                  <a:lnTo>
                    <a:pt x="1524" y="2850"/>
                  </a:lnTo>
                  <a:lnTo>
                    <a:pt x="1518" y="2850"/>
                  </a:lnTo>
                  <a:lnTo>
                    <a:pt x="1520" y="2854"/>
                  </a:lnTo>
                  <a:lnTo>
                    <a:pt x="1522" y="2856"/>
                  </a:lnTo>
                  <a:lnTo>
                    <a:pt x="1528" y="2858"/>
                  </a:lnTo>
                  <a:lnTo>
                    <a:pt x="1542" y="2856"/>
                  </a:lnTo>
                  <a:lnTo>
                    <a:pt x="1552" y="2856"/>
                  </a:lnTo>
                  <a:lnTo>
                    <a:pt x="1556" y="2858"/>
                  </a:lnTo>
                  <a:lnTo>
                    <a:pt x="1554" y="2860"/>
                  </a:lnTo>
                  <a:lnTo>
                    <a:pt x="1550" y="2864"/>
                  </a:lnTo>
                  <a:lnTo>
                    <a:pt x="1546" y="2866"/>
                  </a:lnTo>
                  <a:lnTo>
                    <a:pt x="1534" y="2868"/>
                  </a:lnTo>
                  <a:lnTo>
                    <a:pt x="1526" y="2870"/>
                  </a:lnTo>
                  <a:lnTo>
                    <a:pt x="1524" y="2870"/>
                  </a:lnTo>
                  <a:lnTo>
                    <a:pt x="1526" y="2872"/>
                  </a:lnTo>
                  <a:lnTo>
                    <a:pt x="1528" y="2876"/>
                  </a:lnTo>
                  <a:lnTo>
                    <a:pt x="1532" y="2876"/>
                  </a:lnTo>
                  <a:lnTo>
                    <a:pt x="1540" y="2874"/>
                  </a:lnTo>
                  <a:lnTo>
                    <a:pt x="1548" y="2872"/>
                  </a:lnTo>
                  <a:lnTo>
                    <a:pt x="1550" y="2872"/>
                  </a:lnTo>
                  <a:lnTo>
                    <a:pt x="1552" y="2876"/>
                  </a:lnTo>
                  <a:lnTo>
                    <a:pt x="1552" y="2878"/>
                  </a:lnTo>
                  <a:lnTo>
                    <a:pt x="1554" y="2878"/>
                  </a:lnTo>
                  <a:lnTo>
                    <a:pt x="1560" y="2872"/>
                  </a:lnTo>
                  <a:lnTo>
                    <a:pt x="1564" y="2870"/>
                  </a:lnTo>
                  <a:lnTo>
                    <a:pt x="1568" y="2868"/>
                  </a:lnTo>
                  <a:lnTo>
                    <a:pt x="1572" y="2868"/>
                  </a:lnTo>
                  <a:lnTo>
                    <a:pt x="1576" y="2870"/>
                  </a:lnTo>
                  <a:lnTo>
                    <a:pt x="1580" y="2874"/>
                  </a:lnTo>
                  <a:lnTo>
                    <a:pt x="1582" y="2874"/>
                  </a:lnTo>
                  <a:lnTo>
                    <a:pt x="1588" y="2874"/>
                  </a:lnTo>
                  <a:lnTo>
                    <a:pt x="1590" y="2872"/>
                  </a:lnTo>
                  <a:lnTo>
                    <a:pt x="1592" y="2874"/>
                  </a:lnTo>
                  <a:lnTo>
                    <a:pt x="1594" y="2880"/>
                  </a:lnTo>
                  <a:lnTo>
                    <a:pt x="1598" y="2886"/>
                  </a:lnTo>
                  <a:lnTo>
                    <a:pt x="1602" y="2892"/>
                  </a:lnTo>
                  <a:lnTo>
                    <a:pt x="1610" y="2900"/>
                  </a:lnTo>
                  <a:lnTo>
                    <a:pt x="1616" y="2902"/>
                  </a:lnTo>
                  <a:lnTo>
                    <a:pt x="1620" y="2904"/>
                  </a:lnTo>
                  <a:lnTo>
                    <a:pt x="1624" y="2904"/>
                  </a:lnTo>
                  <a:lnTo>
                    <a:pt x="1628" y="2902"/>
                  </a:lnTo>
                  <a:lnTo>
                    <a:pt x="1634" y="2896"/>
                  </a:lnTo>
                  <a:lnTo>
                    <a:pt x="1638" y="2894"/>
                  </a:lnTo>
                  <a:lnTo>
                    <a:pt x="1640" y="2894"/>
                  </a:lnTo>
                  <a:lnTo>
                    <a:pt x="1642" y="2896"/>
                  </a:lnTo>
                  <a:lnTo>
                    <a:pt x="1646" y="2898"/>
                  </a:lnTo>
                  <a:lnTo>
                    <a:pt x="1648" y="2896"/>
                  </a:lnTo>
                  <a:lnTo>
                    <a:pt x="1652" y="2894"/>
                  </a:lnTo>
                  <a:lnTo>
                    <a:pt x="1654" y="2890"/>
                  </a:lnTo>
                  <a:lnTo>
                    <a:pt x="1654" y="2884"/>
                  </a:lnTo>
                  <a:lnTo>
                    <a:pt x="1654" y="2872"/>
                  </a:lnTo>
                  <a:lnTo>
                    <a:pt x="1656" y="2866"/>
                  </a:lnTo>
                  <a:lnTo>
                    <a:pt x="1662" y="2864"/>
                  </a:lnTo>
                  <a:lnTo>
                    <a:pt x="1670" y="2864"/>
                  </a:lnTo>
                  <a:lnTo>
                    <a:pt x="1686" y="2868"/>
                  </a:lnTo>
                  <a:lnTo>
                    <a:pt x="1700" y="2874"/>
                  </a:lnTo>
                  <a:lnTo>
                    <a:pt x="1712" y="2882"/>
                  </a:lnTo>
                  <a:lnTo>
                    <a:pt x="1720" y="2890"/>
                  </a:lnTo>
                  <a:lnTo>
                    <a:pt x="1728" y="2898"/>
                  </a:lnTo>
                  <a:lnTo>
                    <a:pt x="1732" y="2904"/>
                  </a:lnTo>
                  <a:lnTo>
                    <a:pt x="1738" y="2908"/>
                  </a:lnTo>
                  <a:lnTo>
                    <a:pt x="1744" y="2910"/>
                  </a:lnTo>
                  <a:lnTo>
                    <a:pt x="1752" y="2908"/>
                  </a:lnTo>
                  <a:lnTo>
                    <a:pt x="1766" y="2904"/>
                  </a:lnTo>
                  <a:lnTo>
                    <a:pt x="1778" y="2902"/>
                  </a:lnTo>
                  <a:lnTo>
                    <a:pt x="1782" y="2900"/>
                  </a:lnTo>
                  <a:lnTo>
                    <a:pt x="1788" y="2898"/>
                  </a:lnTo>
                  <a:lnTo>
                    <a:pt x="1794" y="2892"/>
                  </a:lnTo>
                  <a:lnTo>
                    <a:pt x="1802" y="2884"/>
                  </a:lnTo>
                  <a:lnTo>
                    <a:pt x="1814" y="2872"/>
                  </a:lnTo>
                  <a:lnTo>
                    <a:pt x="1822" y="2868"/>
                  </a:lnTo>
                  <a:lnTo>
                    <a:pt x="1828" y="2868"/>
                  </a:lnTo>
                  <a:lnTo>
                    <a:pt x="1834" y="2872"/>
                  </a:lnTo>
                  <a:lnTo>
                    <a:pt x="1838" y="2876"/>
                  </a:lnTo>
                  <a:lnTo>
                    <a:pt x="1844" y="2880"/>
                  </a:lnTo>
                  <a:lnTo>
                    <a:pt x="1848" y="2880"/>
                  </a:lnTo>
                  <a:lnTo>
                    <a:pt x="1856" y="2876"/>
                  </a:lnTo>
                  <a:lnTo>
                    <a:pt x="1868" y="2864"/>
                  </a:lnTo>
                  <a:lnTo>
                    <a:pt x="1876" y="2860"/>
                  </a:lnTo>
                  <a:lnTo>
                    <a:pt x="1878" y="2860"/>
                  </a:lnTo>
                  <a:lnTo>
                    <a:pt x="1880" y="2862"/>
                  </a:lnTo>
                  <a:lnTo>
                    <a:pt x="1882" y="2870"/>
                  </a:lnTo>
                  <a:lnTo>
                    <a:pt x="1882" y="2874"/>
                  </a:lnTo>
                  <a:lnTo>
                    <a:pt x="1880" y="2878"/>
                  </a:lnTo>
                  <a:lnTo>
                    <a:pt x="1872" y="2886"/>
                  </a:lnTo>
                  <a:lnTo>
                    <a:pt x="1866" y="2892"/>
                  </a:lnTo>
                  <a:lnTo>
                    <a:pt x="1864" y="2894"/>
                  </a:lnTo>
                  <a:lnTo>
                    <a:pt x="1866" y="2896"/>
                  </a:lnTo>
                  <a:lnTo>
                    <a:pt x="1872" y="2906"/>
                  </a:lnTo>
                  <a:lnTo>
                    <a:pt x="1872" y="2910"/>
                  </a:lnTo>
                  <a:lnTo>
                    <a:pt x="1872" y="2914"/>
                  </a:lnTo>
                  <a:lnTo>
                    <a:pt x="1868" y="2918"/>
                  </a:lnTo>
                  <a:lnTo>
                    <a:pt x="1864" y="2924"/>
                  </a:lnTo>
                  <a:lnTo>
                    <a:pt x="1862" y="2930"/>
                  </a:lnTo>
                  <a:lnTo>
                    <a:pt x="1866" y="2940"/>
                  </a:lnTo>
                  <a:lnTo>
                    <a:pt x="1870" y="2948"/>
                  </a:lnTo>
                  <a:lnTo>
                    <a:pt x="1870" y="2956"/>
                  </a:lnTo>
                  <a:lnTo>
                    <a:pt x="1870" y="2966"/>
                  </a:lnTo>
                  <a:lnTo>
                    <a:pt x="1872" y="2980"/>
                  </a:lnTo>
                  <a:lnTo>
                    <a:pt x="1872" y="2986"/>
                  </a:lnTo>
                  <a:lnTo>
                    <a:pt x="1870" y="2990"/>
                  </a:lnTo>
                  <a:lnTo>
                    <a:pt x="1866" y="2996"/>
                  </a:lnTo>
                  <a:lnTo>
                    <a:pt x="1860" y="3000"/>
                  </a:lnTo>
                  <a:lnTo>
                    <a:pt x="1858" y="3006"/>
                  </a:lnTo>
                  <a:lnTo>
                    <a:pt x="1858" y="3012"/>
                  </a:lnTo>
                  <a:lnTo>
                    <a:pt x="1858" y="3020"/>
                  </a:lnTo>
                  <a:lnTo>
                    <a:pt x="1856" y="3020"/>
                  </a:lnTo>
                  <a:lnTo>
                    <a:pt x="1854" y="3024"/>
                  </a:lnTo>
                  <a:lnTo>
                    <a:pt x="1850" y="3034"/>
                  </a:lnTo>
                  <a:lnTo>
                    <a:pt x="1848" y="3044"/>
                  </a:lnTo>
                  <a:lnTo>
                    <a:pt x="1846" y="3050"/>
                  </a:lnTo>
                  <a:lnTo>
                    <a:pt x="1842" y="3054"/>
                  </a:lnTo>
                  <a:lnTo>
                    <a:pt x="1838" y="3064"/>
                  </a:lnTo>
                  <a:lnTo>
                    <a:pt x="1824" y="3108"/>
                  </a:lnTo>
                  <a:lnTo>
                    <a:pt x="1818" y="3130"/>
                  </a:lnTo>
                  <a:lnTo>
                    <a:pt x="1814" y="3144"/>
                  </a:lnTo>
                  <a:lnTo>
                    <a:pt x="1806" y="3154"/>
                  </a:lnTo>
                  <a:lnTo>
                    <a:pt x="1800" y="3160"/>
                  </a:lnTo>
                  <a:lnTo>
                    <a:pt x="1768" y="3170"/>
                  </a:lnTo>
                  <a:lnTo>
                    <a:pt x="1764" y="3170"/>
                  </a:lnTo>
                  <a:lnTo>
                    <a:pt x="1760" y="3166"/>
                  </a:lnTo>
                  <a:lnTo>
                    <a:pt x="1756" y="3164"/>
                  </a:lnTo>
                  <a:lnTo>
                    <a:pt x="1754" y="3166"/>
                  </a:lnTo>
                  <a:lnTo>
                    <a:pt x="1748" y="3168"/>
                  </a:lnTo>
                  <a:lnTo>
                    <a:pt x="1744" y="3170"/>
                  </a:lnTo>
                  <a:lnTo>
                    <a:pt x="1740" y="3170"/>
                  </a:lnTo>
                  <a:lnTo>
                    <a:pt x="1734" y="3168"/>
                  </a:lnTo>
                  <a:lnTo>
                    <a:pt x="1728" y="3164"/>
                  </a:lnTo>
                  <a:lnTo>
                    <a:pt x="1726" y="3162"/>
                  </a:lnTo>
                  <a:lnTo>
                    <a:pt x="1724" y="3162"/>
                  </a:lnTo>
                  <a:lnTo>
                    <a:pt x="1724" y="3164"/>
                  </a:lnTo>
                  <a:lnTo>
                    <a:pt x="1724" y="3168"/>
                  </a:lnTo>
                  <a:lnTo>
                    <a:pt x="1720" y="3170"/>
                  </a:lnTo>
                  <a:lnTo>
                    <a:pt x="1734" y="3232"/>
                  </a:lnTo>
                  <a:lnTo>
                    <a:pt x="1734" y="3230"/>
                  </a:lnTo>
                  <a:lnTo>
                    <a:pt x="1738" y="3232"/>
                  </a:lnTo>
                  <a:lnTo>
                    <a:pt x="1738" y="3236"/>
                  </a:lnTo>
                  <a:lnTo>
                    <a:pt x="1738" y="3242"/>
                  </a:lnTo>
                  <a:lnTo>
                    <a:pt x="1740" y="3252"/>
                  </a:lnTo>
                  <a:lnTo>
                    <a:pt x="1744" y="3260"/>
                  </a:lnTo>
                  <a:lnTo>
                    <a:pt x="1750" y="3266"/>
                  </a:lnTo>
                  <a:lnTo>
                    <a:pt x="1754" y="3272"/>
                  </a:lnTo>
                  <a:lnTo>
                    <a:pt x="1758" y="3278"/>
                  </a:lnTo>
                  <a:lnTo>
                    <a:pt x="1760" y="3288"/>
                  </a:lnTo>
                  <a:lnTo>
                    <a:pt x="1762" y="3300"/>
                  </a:lnTo>
                  <a:lnTo>
                    <a:pt x="1766" y="3306"/>
                  </a:lnTo>
                  <a:lnTo>
                    <a:pt x="1770" y="3312"/>
                  </a:lnTo>
                  <a:lnTo>
                    <a:pt x="1784" y="3328"/>
                  </a:lnTo>
                  <a:lnTo>
                    <a:pt x="1792" y="3340"/>
                  </a:lnTo>
                  <a:lnTo>
                    <a:pt x="1796" y="3344"/>
                  </a:lnTo>
                  <a:lnTo>
                    <a:pt x="1800" y="3346"/>
                  </a:lnTo>
                  <a:lnTo>
                    <a:pt x="1802" y="3344"/>
                  </a:lnTo>
                  <a:lnTo>
                    <a:pt x="1804" y="3340"/>
                  </a:lnTo>
                  <a:lnTo>
                    <a:pt x="1810" y="3328"/>
                  </a:lnTo>
                  <a:lnTo>
                    <a:pt x="1812" y="3314"/>
                  </a:lnTo>
                  <a:lnTo>
                    <a:pt x="1816" y="3292"/>
                  </a:lnTo>
                  <a:lnTo>
                    <a:pt x="1830" y="3254"/>
                  </a:lnTo>
                  <a:lnTo>
                    <a:pt x="1832" y="3250"/>
                  </a:lnTo>
                  <a:lnTo>
                    <a:pt x="1832" y="3256"/>
                  </a:lnTo>
                  <a:lnTo>
                    <a:pt x="1832" y="3260"/>
                  </a:lnTo>
                  <a:lnTo>
                    <a:pt x="1826" y="3286"/>
                  </a:lnTo>
                  <a:lnTo>
                    <a:pt x="1826" y="3296"/>
                  </a:lnTo>
                  <a:lnTo>
                    <a:pt x="1826" y="3302"/>
                  </a:lnTo>
                  <a:lnTo>
                    <a:pt x="1822" y="3312"/>
                  </a:lnTo>
                  <a:lnTo>
                    <a:pt x="1818" y="3328"/>
                  </a:lnTo>
                  <a:lnTo>
                    <a:pt x="1818" y="3330"/>
                  </a:lnTo>
                  <a:lnTo>
                    <a:pt x="1824" y="3328"/>
                  </a:lnTo>
                  <a:lnTo>
                    <a:pt x="1828" y="3326"/>
                  </a:lnTo>
                  <a:lnTo>
                    <a:pt x="1834" y="3326"/>
                  </a:lnTo>
                  <a:lnTo>
                    <a:pt x="1838" y="3328"/>
                  </a:lnTo>
                  <a:lnTo>
                    <a:pt x="1840" y="3330"/>
                  </a:lnTo>
                  <a:lnTo>
                    <a:pt x="1848" y="3340"/>
                  </a:lnTo>
                  <a:lnTo>
                    <a:pt x="1864" y="3372"/>
                  </a:lnTo>
                  <a:lnTo>
                    <a:pt x="1880" y="3406"/>
                  </a:lnTo>
                  <a:lnTo>
                    <a:pt x="1888" y="3418"/>
                  </a:lnTo>
                  <a:lnTo>
                    <a:pt x="1896" y="3428"/>
                  </a:lnTo>
                  <a:lnTo>
                    <a:pt x="1900" y="3434"/>
                  </a:lnTo>
                  <a:lnTo>
                    <a:pt x="1900" y="3440"/>
                  </a:lnTo>
                  <a:lnTo>
                    <a:pt x="1902" y="3444"/>
                  </a:lnTo>
                  <a:lnTo>
                    <a:pt x="1908" y="3450"/>
                  </a:lnTo>
                  <a:lnTo>
                    <a:pt x="1916" y="3458"/>
                  </a:lnTo>
                  <a:lnTo>
                    <a:pt x="1922" y="3470"/>
                  </a:lnTo>
                  <a:lnTo>
                    <a:pt x="1926" y="3482"/>
                  </a:lnTo>
                  <a:lnTo>
                    <a:pt x="1926" y="3486"/>
                  </a:lnTo>
                  <a:lnTo>
                    <a:pt x="1924" y="3492"/>
                  </a:lnTo>
                  <a:lnTo>
                    <a:pt x="1922" y="3496"/>
                  </a:lnTo>
                  <a:lnTo>
                    <a:pt x="1924" y="3502"/>
                  </a:lnTo>
                  <a:lnTo>
                    <a:pt x="1926" y="3506"/>
                  </a:lnTo>
                  <a:lnTo>
                    <a:pt x="1928" y="3512"/>
                  </a:lnTo>
                  <a:lnTo>
                    <a:pt x="1938" y="3522"/>
                  </a:lnTo>
                  <a:lnTo>
                    <a:pt x="1944" y="3526"/>
                  </a:lnTo>
                  <a:lnTo>
                    <a:pt x="1952" y="3528"/>
                  </a:lnTo>
                  <a:lnTo>
                    <a:pt x="1958" y="3532"/>
                  </a:lnTo>
                  <a:lnTo>
                    <a:pt x="1964" y="3538"/>
                  </a:lnTo>
                  <a:lnTo>
                    <a:pt x="1970" y="3548"/>
                  </a:lnTo>
                  <a:lnTo>
                    <a:pt x="1976" y="3560"/>
                  </a:lnTo>
                  <a:lnTo>
                    <a:pt x="1988" y="3586"/>
                  </a:lnTo>
                  <a:lnTo>
                    <a:pt x="1996" y="3610"/>
                  </a:lnTo>
                  <a:lnTo>
                    <a:pt x="1998" y="3620"/>
                  </a:lnTo>
                  <a:lnTo>
                    <a:pt x="1998" y="3626"/>
                  </a:lnTo>
                  <a:lnTo>
                    <a:pt x="1998" y="3632"/>
                  </a:lnTo>
                  <a:lnTo>
                    <a:pt x="1996" y="3636"/>
                  </a:lnTo>
                  <a:lnTo>
                    <a:pt x="1994" y="3638"/>
                  </a:lnTo>
                  <a:lnTo>
                    <a:pt x="1992" y="3642"/>
                  </a:lnTo>
                  <a:lnTo>
                    <a:pt x="1994" y="3648"/>
                  </a:lnTo>
                  <a:lnTo>
                    <a:pt x="1996" y="3656"/>
                  </a:lnTo>
                  <a:lnTo>
                    <a:pt x="2000" y="3664"/>
                  </a:lnTo>
                  <a:lnTo>
                    <a:pt x="2000" y="3668"/>
                  </a:lnTo>
                  <a:lnTo>
                    <a:pt x="1998" y="3670"/>
                  </a:lnTo>
                  <a:lnTo>
                    <a:pt x="1998" y="3672"/>
                  </a:lnTo>
                  <a:lnTo>
                    <a:pt x="1996" y="3674"/>
                  </a:lnTo>
                  <a:lnTo>
                    <a:pt x="1996" y="3676"/>
                  </a:lnTo>
                  <a:lnTo>
                    <a:pt x="2004" y="3690"/>
                  </a:lnTo>
                  <a:lnTo>
                    <a:pt x="2014" y="3706"/>
                  </a:lnTo>
                  <a:lnTo>
                    <a:pt x="2020" y="3716"/>
                  </a:lnTo>
                  <a:lnTo>
                    <a:pt x="2026" y="3722"/>
                  </a:lnTo>
                  <a:lnTo>
                    <a:pt x="2036" y="3726"/>
                  </a:lnTo>
                  <a:lnTo>
                    <a:pt x="2042" y="3730"/>
                  </a:lnTo>
                  <a:lnTo>
                    <a:pt x="2048" y="3734"/>
                  </a:lnTo>
                  <a:lnTo>
                    <a:pt x="2058" y="3744"/>
                  </a:lnTo>
                  <a:lnTo>
                    <a:pt x="2064" y="3758"/>
                  </a:lnTo>
                  <a:lnTo>
                    <a:pt x="2072" y="3770"/>
                  </a:lnTo>
                  <a:lnTo>
                    <a:pt x="2078" y="3778"/>
                  </a:lnTo>
                  <a:lnTo>
                    <a:pt x="2082" y="3782"/>
                  </a:lnTo>
                  <a:lnTo>
                    <a:pt x="2084" y="3786"/>
                  </a:lnTo>
                  <a:lnTo>
                    <a:pt x="2084" y="3796"/>
                  </a:lnTo>
                  <a:lnTo>
                    <a:pt x="2086" y="3804"/>
                  </a:lnTo>
                  <a:lnTo>
                    <a:pt x="2088" y="3810"/>
                  </a:lnTo>
                  <a:lnTo>
                    <a:pt x="2092" y="3816"/>
                  </a:lnTo>
                  <a:lnTo>
                    <a:pt x="2094" y="3824"/>
                  </a:lnTo>
                  <a:lnTo>
                    <a:pt x="2096" y="3830"/>
                  </a:lnTo>
                  <a:lnTo>
                    <a:pt x="2098" y="3836"/>
                  </a:lnTo>
                  <a:lnTo>
                    <a:pt x="2108" y="3848"/>
                  </a:lnTo>
                  <a:lnTo>
                    <a:pt x="2120" y="3862"/>
                  </a:lnTo>
                  <a:lnTo>
                    <a:pt x="2124" y="3870"/>
                  </a:lnTo>
                  <a:lnTo>
                    <a:pt x="2126" y="3878"/>
                  </a:lnTo>
                  <a:lnTo>
                    <a:pt x="2128" y="3884"/>
                  </a:lnTo>
                  <a:lnTo>
                    <a:pt x="2130" y="3886"/>
                  </a:lnTo>
                  <a:lnTo>
                    <a:pt x="2134" y="3886"/>
                  </a:lnTo>
                  <a:lnTo>
                    <a:pt x="2138" y="3888"/>
                  </a:lnTo>
                  <a:lnTo>
                    <a:pt x="2140" y="3892"/>
                  </a:lnTo>
                  <a:lnTo>
                    <a:pt x="2144" y="3902"/>
                  </a:lnTo>
                  <a:lnTo>
                    <a:pt x="2146" y="3918"/>
                  </a:lnTo>
                  <a:lnTo>
                    <a:pt x="2148" y="3936"/>
                  </a:lnTo>
                  <a:lnTo>
                    <a:pt x="2146" y="3944"/>
                  </a:lnTo>
                  <a:lnTo>
                    <a:pt x="2142" y="3952"/>
                  </a:lnTo>
                  <a:lnTo>
                    <a:pt x="2142" y="3954"/>
                  </a:lnTo>
                  <a:lnTo>
                    <a:pt x="2142" y="3958"/>
                  </a:lnTo>
                  <a:lnTo>
                    <a:pt x="2144" y="3964"/>
                  </a:lnTo>
                  <a:lnTo>
                    <a:pt x="2146" y="3968"/>
                  </a:lnTo>
                  <a:lnTo>
                    <a:pt x="2146" y="3972"/>
                  </a:lnTo>
                  <a:lnTo>
                    <a:pt x="2144" y="3974"/>
                  </a:lnTo>
                  <a:lnTo>
                    <a:pt x="2140" y="3976"/>
                  </a:lnTo>
                  <a:lnTo>
                    <a:pt x="2142" y="3980"/>
                  </a:lnTo>
                  <a:lnTo>
                    <a:pt x="2146" y="3982"/>
                  </a:lnTo>
                  <a:lnTo>
                    <a:pt x="2148" y="3986"/>
                  </a:lnTo>
                  <a:lnTo>
                    <a:pt x="2150" y="3988"/>
                  </a:lnTo>
                  <a:lnTo>
                    <a:pt x="2150" y="3996"/>
                  </a:lnTo>
                  <a:lnTo>
                    <a:pt x="2152" y="4000"/>
                  </a:lnTo>
                  <a:lnTo>
                    <a:pt x="2154" y="4008"/>
                  </a:lnTo>
                  <a:lnTo>
                    <a:pt x="2156" y="4020"/>
                  </a:lnTo>
                  <a:lnTo>
                    <a:pt x="2158" y="4034"/>
                  </a:lnTo>
                  <a:lnTo>
                    <a:pt x="2162" y="4044"/>
                  </a:lnTo>
                  <a:lnTo>
                    <a:pt x="2166" y="4054"/>
                  </a:lnTo>
                  <a:lnTo>
                    <a:pt x="2166" y="4058"/>
                  </a:lnTo>
                  <a:lnTo>
                    <a:pt x="2166" y="4064"/>
                  </a:lnTo>
                  <a:lnTo>
                    <a:pt x="2164" y="4072"/>
                  </a:lnTo>
                  <a:lnTo>
                    <a:pt x="2166" y="4076"/>
                  </a:lnTo>
                  <a:lnTo>
                    <a:pt x="2168" y="4082"/>
                  </a:lnTo>
                  <a:lnTo>
                    <a:pt x="2172" y="4092"/>
                  </a:lnTo>
                  <a:lnTo>
                    <a:pt x="2176" y="4100"/>
                  </a:lnTo>
                  <a:lnTo>
                    <a:pt x="2178" y="4102"/>
                  </a:lnTo>
                  <a:lnTo>
                    <a:pt x="2180" y="4102"/>
                  </a:lnTo>
                  <a:lnTo>
                    <a:pt x="2184" y="4100"/>
                  </a:lnTo>
                  <a:lnTo>
                    <a:pt x="2186" y="4102"/>
                  </a:lnTo>
                  <a:lnTo>
                    <a:pt x="2190" y="4104"/>
                  </a:lnTo>
                  <a:lnTo>
                    <a:pt x="2196" y="4108"/>
                  </a:lnTo>
                  <a:lnTo>
                    <a:pt x="2200" y="4106"/>
                  </a:lnTo>
                  <a:lnTo>
                    <a:pt x="2204" y="4104"/>
                  </a:lnTo>
                  <a:lnTo>
                    <a:pt x="2208" y="4104"/>
                  </a:lnTo>
                  <a:lnTo>
                    <a:pt x="2212" y="4104"/>
                  </a:lnTo>
                  <a:lnTo>
                    <a:pt x="2214" y="4102"/>
                  </a:lnTo>
                  <a:lnTo>
                    <a:pt x="2218" y="4098"/>
                  </a:lnTo>
                  <a:lnTo>
                    <a:pt x="2226" y="4098"/>
                  </a:lnTo>
                  <a:lnTo>
                    <a:pt x="2232" y="4100"/>
                  </a:lnTo>
                  <a:lnTo>
                    <a:pt x="2236" y="4098"/>
                  </a:lnTo>
                  <a:lnTo>
                    <a:pt x="2238" y="4096"/>
                  </a:lnTo>
                  <a:lnTo>
                    <a:pt x="2240" y="4094"/>
                  </a:lnTo>
                  <a:lnTo>
                    <a:pt x="2242" y="4090"/>
                  </a:lnTo>
                  <a:lnTo>
                    <a:pt x="2244" y="4088"/>
                  </a:lnTo>
                  <a:lnTo>
                    <a:pt x="2248" y="4088"/>
                  </a:lnTo>
                  <a:lnTo>
                    <a:pt x="2252" y="4086"/>
                  </a:lnTo>
                  <a:lnTo>
                    <a:pt x="2254" y="4084"/>
                  </a:lnTo>
                  <a:lnTo>
                    <a:pt x="2258" y="4074"/>
                  </a:lnTo>
                  <a:lnTo>
                    <a:pt x="2262" y="4070"/>
                  </a:lnTo>
                  <a:lnTo>
                    <a:pt x="2266" y="4068"/>
                  </a:lnTo>
                  <a:lnTo>
                    <a:pt x="2274" y="4066"/>
                  </a:lnTo>
                  <a:lnTo>
                    <a:pt x="2284" y="4066"/>
                  </a:lnTo>
                  <a:lnTo>
                    <a:pt x="2300" y="4066"/>
                  </a:lnTo>
                  <a:lnTo>
                    <a:pt x="2312" y="4062"/>
                  </a:lnTo>
                  <a:lnTo>
                    <a:pt x="2324" y="4058"/>
                  </a:lnTo>
                  <a:lnTo>
                    <a:pt x="2334" y="4050"/>
                  </a:lnTo>
                  <a:lnTo>
                    <a:pt x="2348" y="4038"/>
                  </a:lnTo>
                  <a:lnTo>
                    <a:pt x="2356" y="4036"/>
                  </a:lnTo>
                  <a:lnTo>
                    <a:pt x="2364" y="4036"/>
                  </a:lnTo>
                  <a:lnTo>
                    <a:pt x="2370" y="4038"/>
                  </a:lnTo>
                  <a:lnTo>
                    <a:pt x="2374" y="4038"/>
                  </a:lnTo>
                  <a:lnTo>
                    <a:pt x="2382" y="4034"/>
                  </a:lnTo>
                  <a:lnTo>
                    <a:pt x="2390" y="4028"/>
                  </a:lnTo>
                  <a:lnTo>
                    <a:pt x="2398" y="4020"/>
                  </a:lnTo>
                  <a:lnTo>
                    <a:pt x="2406" y="4010"/>
                  </a:lnTo>
                  <a:lnTo>
                    <a:pt x="2416" y="4002"/>
                  </a:lnTo>
                  <a:lnTo>
                    <a:pt x="2426" y="3998"/>
                  </a:lnTo>
                  <a:lnTo>
                    <a:pt x="2432" y="3996"/>
                  </a:lnTo>
                  <a:lnTo>
                    <a:pt x="2438" y="3998"/>
                  </a:lnTo>
                  <a:lnTo>
                    <a:pt x="2442" y="3998"/>
                  </a:lnTo>
                  <a:lnTo>
                    <a:pt x="2446" y="3996"/>
                  </a:lnTo>
                  <a:lnTo>
                    <a:pt x="2452" y="3992"/>
                  </a:lnTo>
                  <a:lnTo>
                    <a:pt x="2462" y="3986"/>
                  </a:lnTo>
                  <a:lnTo>
                    <a:pt x="2468" y="3982"/>
                  </a:lnTo>
                  <a:lnTo>
                    <a:pt x="2480" y="3978"/>
                  </a:lnTo>
                  <a:lnTo>
                    <a:pt x="2500" y="3972"/>
                  </a:lnTo>
                  <a:lnTo>
                    <a:pt x="2506" y="3968"/>
                  </a:lnTo>
                  <a:lnTo>
                    <a:pt x="2510" y="3966"/>
                  </a:lnTo>
                  <a:lnTo>
                    <a:pt x="2520" y="3962"/>
                  </a:lnTo>
                  <a:lnTo>
                    <a:pt x="2526" y="3960"/>
                  </a:lnTo>
                  <a:lnTo>
                    <a:pt x="2528" y="3954"/>
                  </a:lnTo>
                  <a:lnTo>
                    <a:pt x="2528" y="3942"/>
                  </a:lnTo>
                  <a:lnTo>
                    <a:pt x="2528" y="3934"/>
                  </a:lnTo>
                  <a:lnTo>
                    <a:pt x="2532" y="3926"/>
                  </a:lnTo>
                  <a:lnTo>
                    <a:pt x="2542" y="3916"/>
                  </a:lnTo>
                  <a:lnTo>
                    <a:pt x="2562" y="3906"/>
                  </a:lnTo>
                  <a:lnTo>
                    <a:pt x="2566" y="3902"/>
                  </a:lnTo>
                  <a:lnTo>
                    <a:pt x="2572" y="3902"/>
                  </a:lnTo>
                  <a:lnTo>
                    <a:pt x="2578" y="3902"/>
                  </a:lnTo>
                  <a:lnTo>
                    <a:pt x="2584" y="3902"/>
                  </a:lnTo>
                  <a:lnTo>
                    <a:pt x="2586" y="3900"/>
                  </a:lnTo>
                  <a:lnTo>
                    <a:pt x="2594" y="3894"/>
                  </a:lnTo>
                  <a:lnTo>
                    <a:pt x="2600" y="3892"/>
                  </a:lnTo>
                  <a:lnTo>
                    <a:pt x="2606" y="3890"/>
                  </a:lnTo>
                  <a:lnTo>
                    <a:pt x="2614" y="3888"/>
                  </a:lnTo>
                  <a:lnTo>
                    <a:pt x="2624" y="3890"/>
                  </a:lnTo>
                  <a:lnTo>
                    <a:pt x="2630" y="3890"/>
                  </a:lnTo>
                  <a:lnTo>
                    <a:pt x="2634" y="3890"/>
                  </a:lnTo>
                  <a:lnTo>
                    <a:pt x="2638" y="3888"/>
                  </a:lnTo>
                  <a:lnTo>
                    <a:pt x="2642" y="3886"/>
                  </a:lnTo>
                  <a:lnTo>
                    <a:pt x="2646" y="3878"/>
                  </a:lnTo>
                  <a:lnTo>
                    <a:pt x="2650" y="3868"/>
                  </a:lnTo>
                  <a:lnTo>
                    <a:pt x="2654" y="3858"/>
                  </a:lnTo>
                  <a:lnTo>
                    <a:pt x="2658" y="3850"/>
                  </a:lnTo>
                  <a:lnTo>
                    <a:pt x="2664" y="3844"/>
                  </a:lnTo>
                  <a:lnTo>
                    <a:pt x="2670" y="3842"/>
                  </a:lnTo>
                  <a:lnTo>
                    <a:pt x="2676" y="3842"/>
                  </a:lnTo>
                  <a:lnTo>
                    <a:pt x="2690" y="3840"/>
                  </a:lnTo>
                  <a:lnTo>
                    <a:pt x="2698" y="3836"/>
                  </a:lnTo>
                  <a:lnTo>
                    <a:pt x="2702" y="3830"/>
                  </a:lnTo>
                  <a:lnTo>
                    <a:pt x="2704" y="3822"/>
                  </a:lnTo>
                  <a:lnTo>
                    <a:pt x="2708" y="3814"/>
                  </a:lnTo>
                  <a:lnTo>
                    <a:pt x="2712" y="3806"/>
                  </a:lnTo>
                  <a:lnTo>
                    <a:pt x="2720" y="3798"/>
                  </a:lnTo>
                  <a:lnTo>
                    <a:pt x="2734" y="3794"/>
                  </a:lnTo>
                  <a:lnTo>
                    <a:pt x="2746" y="3790"/>
                  </a:lnTo>
                  <a:lnTo>
                    <a:pt x="2752" y="3786"/>
                  </a:lnTo>
                  <a:lnTo>
                    <a:pt x="2754" y="3782"/>
                  </a:lnTo>
                  <a:lnTo>
                    <a:pt x="2752" y="3776"/>
                  </a:lnTo>
                  <a:lnTo>
                    <a:pt x="2750" y="3768"/>
                  </a:lnTo>
                  <a:lnTo>
                    <a:pt x="2750" y="3758"/>
                  </a:lnTo>
                  <a:lnTo>
                    <a:pt x="2750" y="3746"/>
                  </a:lnTo>
                  <a:lnTo>
                    <a:pt x="2754" y="3730"/>
                  </a:lnTo>
                  <a:lnTo>
                    <a:pt x="2760" y="3716"/>
                  </a:lnTo>
                  <a:lnTo>
                    <a:pt x="2764" y="3710"/>
                  </a:lnTo>
                  <a:lnTo>
                    <a:pt x="2768" y="3712"/>
                  </a:lnTo>
                  <a:lnTo>
                    <a:pt x="2770" y="3714"/>
                  </a:lnTo>
                  <a:lnTo>
                    <a:pt x="2772" y="3718"/>
                  </a:lnTo>
                  <a:lnTo>
                    <a:pt x="2776" y="3720"/>
                  </a:lnTo>
                  <a:lnTo>
                    <a:pt x="2780" y="3716"/>
                  </a:lnTo>
                  <a:lnTo>
                    <a:pt x="2786" y="3704"/>
                  </a:lnTo>
                  <a:lnTo>
                    <a:pt x="2792" y="3692"/>
                  </a:lnTo>
                  <a:lnTo>
                    <a:pt x="2796" y="3684"/>
                  </a:lnTo>
                  <a:lnTo>
                    <a:pt x="2806" y="3674"/>
                  </a:lnTo>
                  <a:lnTo>
                    <a:pt x="2816" y="3664"/>
                  </a:lnTo>
                  <a:lnTo>
                    <a:pt x="2820" y="3656"/>
                  </a:lnTo>
                  <a:lnTo>
                    <a:pt x="2824" y="3644"/>
                  </a:lnTo>
                  <a:lnTo>
                    <a:pt x="2830" y="3628"/>
                  </a:lnTo>
                  <a:lnTo>
                    <a:pt x="2834" y="3618"/>
                  </a:lnTo>
                  <a:lnTo>
                    <a:pt x="2834" y="3616"/>
                  </a:lnTo>
                  <a:lnTo>
                    <a:pt x="2832" y="3614"/>
                  </a:lnTo>
                  <a:lnTo>
                    <a:pt x="2822" y="3608"/>
                  </a:lnTo>
                  <a:close/>
                  <a:moveTo>
                    <a:pt x="2468" y="3400"/>
                  </a:moveTo>
                  <a:lnTo>
                    <a:pt x="2468" y="3400"/>
                  </a:lnTo>
                  <a:lnTo>
                    <a:pt x="2470" y="3400"/>
                  </a:lnTo>
                  <a:lnTo>
                    <a:pt x="2468" y="3400"/>
                  </a:lnTo>
                  <a:close/>
                  <a:moveTo>
                    <a:pt x="1836" y="3098"/>
                  </a:moveTo>
                  <a:lnTo>
                    <a:pt x="1836" y="3098"/>
                  </a:lnTo>
                  <a:lnTo>
                    <a:pt x="1838" y="3094"/>
                  </a:lnTo>
                  <a:lnTo>
                    <a:pt x="1842" y="3094"/>
                  </a:lnTo>
                  <a:lnTo>
                    <a:pt x="1838" y="3094"/>
                  </a:lnTo>
                  <a:lnTo>
                    <a:pt x="1836" y="3098"/>
                  </a:lnTo>
                  <a:close/>
                  <a:moveTo>
                    <a:pt x="1856" y="3100"/>
                  </a:moveTo>
                  <a:lnTo>
                    <a:pt x="1856" y="3100"/>
                  </a:lnTo>
                  <a:lnTo>
                    <a:pt x="1856" y="3102"/>
                  </a:lnTo>
                  <a:lnTo>
                    <a:pt x="1856" y="3100"/>
                  </a:lnTo>
                  <a:lnTo>
                    <a:pt x="1856" y="3090"/>
                  </a:lnTo>
                  <a:lnTo>
                    <a:pt x="1858" y="3084"/>
                  </a:lnTo>
                  <a:lnTo>
                    <a:pt x="1860" y="3082"/>
                  </a:lnTo>
                  <a:lnTo>
                    <a:pt x="1858" y="3084"/>
                  </a:lnTo>
                  <a:lnTo>
                    <a:pt x="1856" y="3090"/>
                  </a:lnTo>
                  <a:lnTo>
                    <a:pt x="1856" y="310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  <p:sp>
          <p:nvSpPr>
            <p:cNvPr id="125" name="Полилиния 6156">
              <a:extLst>
                <a:ext uri="{FF2B5EF4-FFF2-40B4-BE49-F238E27FC236}">
                  <a16:creationId xmlns:a16="http://schemas.microsoft.com/office/drawing/2014/main" xmlns="" id="{C72AD500-93A3-4AF1-98A7-E15237B01C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67524" y="879407"/>
              <a:ext cx="3719699" cy="3473100"/>
            </a:xfrm>
            <a:custGeom>
              <a:avLst/>
              <a:gdLst>
                <a:gd name="T0" fmla="*/ 334096 w 5856"/>
                <a:gd name="T1" fmla="*/ 341505 h 5472"/>
                <a:gd name="T2" fmla="*/ 374746 w 5856"/>
                <a:gd name="T3" fmla="*/ 60938 h 5472"/>
                <a:gd name="T4" fmla="*/ 2452998 w 5856"/>
                <a:gd name="T5" fmla="*/ 316114 h 5472"/>
                <a:gd name="T6" fmla="*/ 3177084 w 5856"/>
                <a:gd name="T7" fmla="*/ 608108 h 5472"/>
                <a:gd name="T8" fmla="*/ 2139228 w 5856"/>
                <a:gd name="T9" fmla="*/ 481154 h 5472"/>
                <a:gd name="T10" fmla="*/ 256606 w 5856"/>
                <a:gd name="T11" fmla="*/ 559865 h 5472"/>
                <a:gd name="T12" fmla="*/ 48272 w 5856"/>
                <a:gd name="T13" fmla="*/ 76172 h 5472"/>
                <a:gd name="T14" fmla="*/ 461128 w 5856"/>
                <a:gd name="T15" fmla="*/ 11426 h 5472"/>
                <a:gd name="T16" fmla="*/ 438262 w 5856"/>
                <a:gd name="T17" fmla="*/ 78711 h 5472"/>
                <a:gd name="T18" fmla="*/ 1814025 w 5856"/>
                <a:gd name="T19" fmla="*/ 3336340 h 5472"/>
                <a:gd name="T20" fmla="*/ 2066820 w 5856"/>
                <a:gd name="T21" fmla="*/ 2794248 h 5472"/>
                <a:gd name="T22" fmla="*/ 2090956 w 5856"/>
                <a:gd name="T23" fmla="*/ 2845030 h 5472"/>
                <a:gd name="T24" fmla="*/ 2021088 w 5856"/>
                <a:gd name="T25" fmla="*/ 2668564 h 5472"/>
                <a:gd name="T26" fmla="*/ 2068090 w 5856"/>
                <a:gd name="T27" fmla="*/ 2759971 h 5472"/>
                <a:gd name="T28" fmla="*/ 2012196 w 5856"/>
                <a:gd name="T29" fmla="*/ 2762510 h 5472"/>
                <a:gd name="T30" fmla="*/ 2125255 w 5856"/>
                <a:gd name="T31" fmla="*/ 3088781 h 5472"/>
                <a:gd name="T32" fmla="*/ 2097307 w 5856"/>
                <a:gd name="T33" fmla="*/ 1976667 h 5472"/>
                <a:gd name="T34" fmla="*/ 2010925 w 5856"/>
                <a:gd name="T35" fmla="*/ 3324914 h 5472"/>
                <a:gd name="T36" fmla="*/ 2102389 w 5856"/>
                <a:gd name="T37" fmla="*/ 1863679 h 5472"/>
                <a:gd name="T38" fmla="*/ 1256352 w 5856"/>
                <a:gd name="T39" fmla="*/ 2824717 h 5472"/>
                <a:gd name="T40" fmla="*/ 1637450 w 5856"/>
                <a:gd name="T41" fmla="*/ 2959288 h 5472"/>
                <a:gd name="T42" fmla="*/ 1636179 w 5856"/>
                <a:gd name="T43" fmla="*/ 3313488 h 5472"/>
                <a:gd name="T44" fmla="*/ 1580285 w 5856"/>
                <a:gd name="T45" fmla="*/ 3222082 h 5472"/>
                <a:gd name="T46" fmla="*/ 1342734 w 5856"/>
                <a:gd name="T47" fmla="*/ 2956749 h 5472"/>
                <a:gd name="T48" fmla="*/ 5081 w 5856"/>
                <a:gd name="T49" fmla="*/ 3446790 h 5472"/>
                <a:gd name="T50" fmla="*/ 2179879 w 5856"/>
                <a:gd name="T51" fmla="*/ 2182332 h 5472"/>
                <a:gd name="T52" fmla="*/ 2291667 w 5856"/>
                <a:gd name="T53" fmla="*/ 2007136 h 5472"/>
                <a:gd name="T54" fmla="*/ 1948679 w 5856"/>
                <a:gd name="T55" fmla="*/ 3044347 h 5472"/>
                <a:gd name="T56" fmla="*/ 1984248 w 5856"/>
                <a:gd name="T57" fmla="*/ 3100206 h 5472"/>
                <a:gd name="T58" fmla="*/ 1942328 w 5856"/>
                <a:gd name="T59" fmla="*/ 2744736 h 5472"/>
                <a:gd name="T60" fmla="*/ 2132876 w 5856"/>
                <a:gd name="T61" fmla="*/ 3114171 h 5472"/>
                <a:gd name="T62" fmla="*/ 2483486 w 5856"/>
                <a:gd name="T63" fmla="*/ 1744342 h 5472"/>
                <a:gd name="T64" fmla="*/ 2336129 w 5856"/>
                <a:gd name="T65" fmla="*/ 1971589 h 5472"/>
                <a:gd name="T66" fmla="*/ 2107470 w 5856"/>
                <a:gd name="T67" fmla="*/ 1984284 h 5472"/>
                <a:gd name="T68" fmla="*/ 2536840 w 5856"/>
                <a:gd name="T69" fmla="*/ 1350786 h 5472"/>
                <a:gd name="T70" fmla="*/ 2451728 w 5856"/>
                <a:gd name="T71" fmla="*/ 1727838 h 5472"/>
                <a:gd name="T72" fmla="*/ 2022358 w 5856"/>
                <a:gd name="T73" fmla="*/ 2660947 h 5472"/>
                <a:gd name="T74" fmla="*/ 1906759 w 5856"/>
                <a:gd name="T75" fmla="*/ 2780283 h 5472"/>
                <a:gd name="T76" fmla="*/ 2087145 w 5856"/>
                <a:gd name="T77" fmla="*/ 2730772 h 5472"/>
                <a:gd name="T78" fmla="*/ 1878811 w 5856"/>
                <a:gd name="T79" fmla="*/ 2870420 h 5472"/>
                <a:gd name="T80" fmla="*/ 1669208 w 5856"/>
                <a:gd name="T81" fmla="*/ 3111632 h 5472"/>
                <a:gd name="T82" fmla="*/ 2046494 w 5856"/>
                <a:gd name="T83" fmla="*/ 2306747 h 5472"/>
                <a:gd name="T84" fmla="*/ 3226627 w 5856"/>
                <a:gd name="T85" fmla="*/ 603030 h 5472"/>
                <a:gd name="T86" fmla="*/ 2160824 w 5856"/>
                <a:gd name="T87" fmla="*/ 505275 h 5472"/>
                <a:gd name="T88" fmla="*/ 1448171 w 5856"/>
                <a:gd name="T89" fmla="*/ 275489 h 5472"/>
                <a:gd name="T90" fmla="*/ 899390 w 5856"/>
                <a:gd name="T91" fmla="*/ 483693 h 5472"/>
                <a:gd name="T92" fmla="*/ 736789 w 5856"/>
                <a:gd name="T93" fmla="*/ 700784 h 5472"/>
                <a:gd name="T94" fmla="*/ 137195 w 5856"/>
                <a:gd name="T95" fmla="*/ 684280 h 5472"/>
                <a:gd name="T96" fmla="*/ 415396 w 5856"/>
                <a:gd name="T97" fmla="*/ 2273739 h 5472"/>
                <a:gd name="T98" fmla="*/ 814279 w 5856"/>
                <a:gd name="T99" fmla="*/ 2748545 h 5472"/>
                <a:gd name="T100" fmla="*/ 1185214 w 5856"/>
                <a:gd name="T101" fmla="*/ 2338485 h 5472"/>
                <a:gd name="T102" fmla="*/ 1393547 w 5856"/>
                <a:gd name="T103" fmla="*/ 2695225 h 5472"/>
                <a:gd name="T104" fmla="*/ 1451982 w 5856"/>
                <a:gd name="T105" fmla="*/ 2856456 h 5472"/>
                <a:gd name="T106" fmla="*/ 1629828 w 5856"/>
                <a:gd name="T107" fmla="*/ 2740928 h 5472"/>
                <a:gd name="T108" fmla="*/ 1744157 w 5856"/>
                <a:gd name="T109" fmla="*/ 2391805 h 5472"/>
                <a:gd name="T110" fmla="*/ 1933435 w 5856"/>
                <a:gd name="T111" fmla="*/ 2254696 h 5472"/>
                <a:gd name="T112" fmla="*/ 1986789 w 5856"/>
                <a:gd name="T113" fmla="*/ 2059187 h 5472"/>
                <a:gd name="T114" fmla="*/ 1905488 w 5856"/>
                <a:gd name="T115" fmla="*/ 1812897 h 5472"/>
                <a:gd name="T116" fmla="*/ 2103659 w 5856"/>
                <a:gd name="T117" fmla="*/ 1858600 h 5472"/>
                <a:gd name="T118" fmla="*/ 2129066 w 5856"/>
                <a:gd name="T119" fmla="*/ 1809089 h 5472"/>
                <a:gd name="T120" fmla="*/ 2413618 w 5856"/>
                <a:gd name="T121" fmla="*/ 1277153 h 5472"/>
                <a:gd name="T122" fmla="*/ 3003049 w 5856"/>
                <a:gd name="T123" fmla="*/ 983890 h 5472"/>
                <a:gd name="T124" fmla="*/ 3079269 w 5856"/>
                <a:gd name="T125" fmla="*/ 1027054 h 547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56"/>
                <a:gd name="T190" fmla="*/ 0 h 5472"/>
                <a:gd name="T191" fmla="*/ 5856 w 5856"/>
                <a:gd name="T192" fmla="*/ 5472 h 547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56" h="5472">
                  <a:moveTo>
                    <a:pt x="1912" y="64"/>
                  </a:moveTo>
                  <a:lnTo>
                    <a:pt x="1912" y="64"/>
                  </a:lnTo>
                  <a:lnTo>
                    <a:pt x="1910" y="60"/>
                  </a:lnTo>
                  <a:lnTo>
                    <a:pt x="1902" y="58"/>
                  </a:lnTo>
                  <a:lnTo>
                    <a:pt x="1882" y="54"/>
                  </a:lnTo>
                  <a:lnTo>
                    <a:pt x="1862" y="54"/>
                  </a:lnTo>
                  <a:lnTo>
                    <a:pt x="1854" y="56"/>
                  </a:lnTo>
                  <a:lnTo>
                    <a:pt x="1850" y="60"/>
                  </a:lnTo>
                  <a:lnTo>
                    <a:pt x="1850" y="62"/>
                  </a:lnTo>
                  <a:lnTo>
                    <a:pt x="1852" y="64"/>
                  </a:lnTo>
                  <a:lnTo>
                    <a:pt x="1858" y="68"/>
                  </a:lnTo>
                  <a:lnTo>
                    <a:pt x="1868" y="70"/>
                  </a:lnTo>
                  <a:lnTo>
                    <a:pt x="1880" y="70"/>
                  </a:lnTo>
                  <a:lnTo>
                    <a:pt x="1902" y="68"/>
                  </a:lnTo>
                  <a:lnTo>
                    <a:pt x="1908" y="66"/>
                  </a:lnTo>
                  <a:lnTo>
                    <a:pt x="1912" y="64"/>
                  </a:lnTo>
                  <a:close/>
                  <a:moveTo>
                    <a:pt x="1078" y="706"/>
                  </a:moveTo>
                  <a:lnTo>
                    <a:pt x="1078" y="706"/>
                  </a:lnTo>
                  <a:lnTo>
                    <a:pt x="1094" y="702"/>
                  </a:lnTo>
                  <a:lnTo>
                    <a:pt x="1100" y="700"/>
                  </a:lnTo>
                  <a:lnTo>
                    <a:pt x="1104" y="698"/>
                  </a:lnTo>
                  <a:lnTo>
                    <a:pt x="1104" y="694"/>
                  </a:lnTo>
                  <a:lnTo>
                    <a:pt x="1104" y="690"/>
                  </a:lnTo>
                  <a:lnTo>
                    <a:pt x="1102" y="684"/>
                  </a:lnTo>
                  <a:lnTo>
                    <a:pt x="1094" y="678"/>
                  </a:lnTo>
                  <a:lnTo>
                    <a:pt x="1082" y="674"/>
                  </a:lnTo>
                  <a:lnTo>
                    <a:pt x="1070" y="674"/>
                  </a:lnTo>
                  <a:lnTo>
                    <a:pt x="1058" y="676"/>
                  </a:lnTo>
                  <a:lnTo>
                    <a:pt x="1048" y="682"/>
                  </a:lnTo>
                  <a:lnTo>
                    <a:pt x="1040" y="688"/>
                  </a:lnTo>
                  <a:lnTo>
                    <a:pt x="1036" y="694"/>
                  </a:lnTo>
                  <a:lnTo>
                    <a:pt x="1036" y="700"/>
                  </a:lnTo>
                  <a:lnTo>
                    <a:pt x="1040" y="704"/>
                  </a:lnTo>
                  <a:lnTo>
                    <a:pt x="1048" y="708"/>
                  </a:lnTo>
                  <a:lnTo>
                    <a:pt x="1060" y="708"/>
                  </a:lnTo>
                  <a:lnTo>
                    <a:pt x="1078" y="706"/>
                  </a:lnTo>
                  <a:close/>
                  <a:moveTo>
                    <a:pt x="1928" y="154"/>
                  </a:moveTo>
                  <a:lnTo>
                    <a:pt x="1928" y="154"/>
                  </a:lnTo>
                  <a:lnTo>
                    <a:pt x="1914" y="152"/>
                  </a:lnTo>
                  <a:lnTo>
                    <a:pt x="1902" y="154"/>
                  </a:lnTo>
                  <a:lnTo>
                    <a:pt x="1894" y="156"/>
                  </a:lnTo>
                  <a:lnTo>
                    <a:pt x="1890" y="160"/>
                  </a:lnTo>
                  <a:lnTo>
                    <a:pt x="1890" y="164"/>
                  </a:lnTo>
                  <a:lnTo>
                    <a:pt x="1894" y="168"/>
                  </a:lnTo>
                  <a:lnTo>
                    <a:pt x="1900" y="172"/>
                  </a:lnTo>
                  <a:lnTo>
                    <a:pt x="1910" y="176"/>
                  </a:lnTo>
                  <a:lnTo>
                    <a:pt x="1920" y="178"/>
                  </a:lnTo>
                  <a:lnTo>
                    <a:pt x="1926" y="180"/>
                  </a:lnTo>
                  <a:lnTo>
                    <a:pt x="1932" y="186"/>
                  </a:lnTo>
                  <a:lnTo>
                    <a:pt x="1934" y="188"/>
                  </a:lnTo>
                  <a:lnTo>
                    <a:pt x="1938" y="190"/>
                  </a:lnTo>
                  <a:lnTo>
                    <a:pt x="1956" y="188"/>
                  </a:lnTo>
                  <a:lnTo>
                    <a:pt x="1982" y="180"/>
                  </a:lnTo>
                  <a:lnTo>
                    <a:pt x="1996" y="174"/>
                  </a:lnTo>
                  <a:lnTo>
                    <a:pt x="2000" y="172"/>
                  </a:lnTo>
                  <a:lnTo>
                    <a:pt x="2000" y="170"/>
                  </a:lnTo>
                  <a:lnTo>
                    <a:pt x="1998" y="168"/>
                  </a:lnTo>
                  <a:lnTo>
                    <a:pt x="1994" y="166"/>
                  </a:lnTo>
                  <a:lnTo>
                    <a:pt x="1982" y="162"/>
                  </a:lnTo>
                  <a:lnTo>
                    <a:pt x="1964" y="158"/>
                  </a:lnTo>
                  <a:lnTo>
                    <a:pt x="1928" y="154"/>
                  </a:lnTo>
                  <a:close/>
                  <a:moveTo>
                    <a:pt x="526" y="138"/>
                  </a:moveTo>
                  <a:lnTo>
                    <a:pt x="526" y="138"/>
                  </a:lnTo>
                  <a:lnTo>
                    <a:pt x="532" y="144"/>
                  </a:lnTo>
                  <a:lnTo>
                    <a:pt x="538" y="148"/>
                  </a:lnTo>
                  <a:lnTo>
                    <a:pt x="552" y="152"/>
                  </a:lnTo>
                  <a:lnTo>
                    <a:pt x="558" y="154"/>
                  </a:lnTo>
                  <a:lnTo>
                    <a:pt x="562" y="152"/>
                  </a:lnTo>
                  <a:lnTo>
                    <a:pt x="564" y="150"/>
                  </a:lnTo>
                  <a:lnTo>
                    <a:pt x="564" y="146"/>
                  </a:lnTo>
                  <a:lnTo>
                    <a:pt x="564" y="142"/>
                  </a:lnTo>
                  <a:lnTo>
                    <a:pt x="568" y="140"/>
                  </a:lnTo>
                  <a:lnTo>
                    <a:pt x="572" y="136"/>
                  </a:lnTo>
                  <a:lnTo>
                    <a:pt x="582" y="136"/>
                  </a:lnTo>
                  <a:lnTo>
                    <a:pt x="600" y="134"/>
                  </a:lnTo>
                  <a:lnTo>
                    <a:pt x="604" y="132"/>
                  </a:lnTo>
                  <a:lnTo>
                    <a:pt x="606" y="130"/>
                  </a:lnTo>
                  <a:lnTo>
                    <a:pt x="604" y="128"/>
                  </a:lnTo>
                  <a:lnTo>
                    <a:pt x="598" y="126"/>
                  </a:lnTo>
                  <a:lnTo>
                    <a:pt x="580" y="122"/>
                  </a:lnTo>
                  <a:lnTo>
                    <a:pt x="556" y="120"/>
                  </a:lnTo>
                  <a:lnTo>
                    <a:pt x="534" y="122"/>
                  </a:lnTo>
                  <a:lnTo>
                    <a:pt x="526" y="124"/>
                  </a:lnTo>
                  <a:lnTo>
                    <a:pt x="522" y="126"/>
                  </a:lnTo>
                  <a:lnTo>
                    <a:pt x="522" y="132"/>
                  </a:lnTo>
                  <a:lnTo>
                    <a:pt x="526" y="138"/>
                  </a:lnTo>
                  <a:close/>
                  <a:moveTo>
                    <a:pt x="658" y="948"/>
                  </a:moveTo>
                  <a:lnTo>
                    <a:pt x="658" y="948"/>
                  </a:lnTo>
                  <a:lnTo>
                    <a:pt x="658" y="944"/>
                  </a:lnTo>
                  <a:lnTo>
                    <a:pt x="656" y="942"/>
                  </a:lnTo>
                  <a:lnTo>
                    <a:pt x="644" y="936"/>
                  </a:lnTo>
                  <a:lnTo>
                    <a:pt x="628" y="926"/>
                  </a:lnTo>
                  <a:lnTo>
                    <a:pt x="620" y="920"/>
                  </a:lnTo>
                  <a:lnTo>
                    <a:pt x="612" y="912"/>
                  </a:lnTo>
                  <a:lnTo>
                    <a:pt x="602" y="904"/>
                  </a:lnTo>
                  <a:lnTo>
                    <a:pt x="594" y="904"/>
                  </a:lnTo>
                  <a:lnTo>
                    <a:pt x="588" y="906"/>
                  </a:lnTo>
                  <a:lnTo>
                    <a:pt x="582" y="908"/>
                  </a:lnTo>
                  <a:lnTo>
                    <a:pt x="580" y="910"/>
                  </a:lnTo>
                  <a:lnTo>
                    <a:pt x="580" y="912"/>
                  </a:lnTo>
                  <a:lnTo>
                    <a:pt x="582" y="916"/>
                  </a:lnTo>
                  <a:lnTo>
                    <a:pt x="584" y="920"/>
                  </a:lnTo>
                  <a:lnTo>
                    <a:pt x="582" y="920"/>
                  </a:lnTo>
                  <a:lnTo>
                    <a:pt x="578" y="918"/>
                  </a:lnTo>
                  <a:lnTo>
                    <a:pt x="576" y="918"/>
                  </a:lnTo>
                  <a:lnTo>
                    <a:pt x="574" y="920"/>
                  </a:lnTo>
                  <a:lnTo>
                    <a:pt x="576" y="924"/>
                  </a:lnTo>
                  <a:lnTo>
                    <a:pt x="580" y="930"/>
                  </a:lnTo>
                  <a:lnTo>
                    <a:pt x="588" y="940"/>
                  </a:lnTo>
                  <a:lnTo>
                    <a:pt x="594" y="944"/>
                  </a:lnTo>
                  <a:lnTo>
                    <a:pt x="596" y="946"/>
                  </a:lnTo>
                  <a:lnTo>
                    <a:pt x="600" y="944"/>
                  </a:lnTo>
                  <a:lnTo>
                    <a:pt x="600" y="942"/>
                  </a:lnTo>
                  <a:lnTo>
                    <a:pt x="604" y="942"/>
                  </a:lnTo>
                  <a:lnTo>
                    <a:pt x="610" y="942"/>
                  </a:lnTo>
                  <a:lnTo>
                    <a:pt x="618" y="946"/>
                  </a:lnTo>
                  <a:lnTo>
                    <a:pt x="620" y="948"/>
                  </a:lnTo>
                  <a:lnTo>
                    <a:pt x="620" y="952"/>
                  </a:lnTo>
                  <a:lnTo>
                    <a:pt x="620" y="956"/>
                  </a:lnTo>
                  <a:lnTo>
                    <a:pt x="624" y="958"/>
                  </a:lnTo>
                  <a:lnTo>
                    <a:pt x="638" y="956"/>
                  </a:lnTo>
                  <a:lnTo>
                    <a:pt x="652" y="954"/>
                  </a:lnTo>
                  <a:lnTo>
                    <a:pt x="656" y="950"/>
                  </a:lnTo>
                  <a:lnTo>
                    <a:pt x="658" y="948"/>
                  </a:lnTo>
                  <a:close/>
                  <a:moveTo>
                    <a:pt x="768" y="460"/>
                  </a:moveTo>
                  <a:lnTo>
                    <a:pt x="768" y="460"/>
                  </a:lnTo>
                  <a:lnTo>
                    <a:pt x="752" y="466"/>
                  </a:lnTo>
                  <a:lnTo>
                    <a:pt x="742" y="468"/>
                  </a:lnTo>
                  <a:lnTo>
                    <a:pt x="736" y="468"/>
                  </a:lnTo>
                  <a:lnTo>
                    <a:pt x="732" y="466"/>
                  </a:lnTo>
                  <a:lnTo>
                    <a:pt x="728" y="462"/>
                  </a:lnTo>
                  <a:lnTo>
                    <a:pt x="722" y="460"/>
                  </a:lnTo>
                  <a:lnTo>
                    <a:pt x="712" y="458"/>
                  </a:lnTo>
                  <a:lnTo>
                    <a:pt x="698" y="460"/>
                  </a:lnTo>
                  <a:lnTo>
                    <a:pt x="682" y="462"/>
                  </a:lnTo>
                  <a:lnTo>
                    <a:pt x="674" y="464"/>
                  </a:lnTo>
                  <a:lnTo>
                    <a:pt x="672" y="468"/>
                  </a:lnTo>
                  <a:lnTo>
                    <a:pt x="672" y="470"/>
                  </a:lnTo>
                  <a:lnTo>
                    <a:pt x="674" y="474"/>
                  </a:lnTo>
                  <a:lnTo>
                    <a:pt x="674" y="476"/>
                  </a:lnTo>
                  <a:lnTo>
                    <a:pt x="672" y="478"/>
                  </a:lnTo>
                  <a:lnTo>
                    <a:pt x="664" y="476"/>
                  </a:lnTo>
                  <a:lnTo>
                    <a:pt x="652" y="478"/>
                  </a:lnTo>
                  <a:lnTo>
                    <a:pt x="636" y="480"/>
                  </a:lnTo>
                  <a:lnTo>
                    <a:pt x="620" y="484"/>
                  </a:lnTo>
                  <a:lnTo>
                    <a:pt x="602" y="492"/>
                  </a:lnTo>
                  <a:lnTo>
                    <a:pt x="584" y="500"/>
                  </a:lnTo>
                  <a:lnTo>
                    <a:pt x="568" y="508"/>
                  </a:lnTo>
                  <a:lnTo>
                    <a:pt x="554" y="518"/>
                  </a:lnTo>
                  <a:lnTo>
                    <a:pt x="544" y="528"/>
                  </a:lnTo>
                  <a:lnTo>
                    <a:pt x="538" y="536"/>
                  </a:lnTo>
                  <a:lnTo>
                    <a:pt x="532" y="538"/>
                  </a:lnTo>
                  <a:lnTo>
                    <a:pt x="528" y="538"/>
                  </a:lnTo>
                  <a:lnTo>
                    <a:pt x="526" y="538"/>
                  </a:lnTo>
                  <a:lnTo>
                    <a:pt x="524" y="536"/>
                  </a:lnTo>
                  <a:lnTo>
                    <a:pt x="520" y="534"/>
                  </a:lnTo>
                  <a:lnTo>
                    <a:pt x="514" y="536"/>
                  </a:lnTo>
                  <a:lnTo>
                    <a:pt x="506" y="542"/>
                  </a:lnTo>
                  <a:lnTo>
                    <a:pt x="498" y="548"/>
                  </a:lnTo>
                  <a:lnTo>
                    <a:pt x="494" y="550"/>
                  </a:lnTo>
                  <a:lnTo>
                    <a:pt x="490" y="548"/>
                  </a:lnTo>
                  <a:lnTo>
                    <a:pt x="488" y="546"/>
                  </a:lnTo>
                  <a:lnTo>
                    <a:pt x="488" y="544"/>
                  </a:lnTo>
                  <a:lnTo>
                    <a:pt x="484" y="542"/>
                  </a:lnTo>
                  <a:lnTo>
                    <a:pt x="480" y="542"/>
                  </a:lnTo>
                  <a:lnTo>
                    <a:pt x="474" y="546"/>
                  </a:lnTo>
                  <a:lnTo>
                    <a:pt x="470" y="550"/>
                  </a:lnTo>
                  <a:lnTo>
                    <a:pt x="468" y="554"/>
                  </a:lnTo>
                  <a:lnTo>
                    <a:pt x="470" y="558"/>
                  </a:lnTo>
                  <a:lnTo>
                    <a:pt x="474" y="560"/>
                  </a:lnTo>
                  <a:lnTo>
                    <a:pt x="480" y="564"/>
                  </a:lnTo>
                  <a:lnTo>
                    <a:pt x="480" y="568"/>
                  </a:lnTo>
                  <a:lnTo>
                    <a:pt x="476" y="570"/>
                  </a:lnTo>
                  <a:lnTo>
                    <a:pt x="472" y="572"/>
                  </a:lnTo>
                  <a:lnTo>
                    <a:pt x="470" y="576"/>
                  </a:lnTo>
                  <a:lnTo>
                    <a:pt x="472" y="578"/>
                  </a:lnTo>
                  <a:lnTo>
                    <a:pt x="476" y="580"/>
                  </a:lnTo>
                  <a:lnTo>
                    <a:pt x="478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68" y="586"/>
                  </a:lnTo>
                  <a:lnTo>
                    <a:pt x="460" y="588"/>
                  </a:lnTo>
                  <a:lnTo>
                    <a:pt x="454" y="594"/>
                  </a:lnTo>
                  <a:lnTo>
                    <a:pt x="450" y="600"/>
                  </a:lnTo>
                  <a:lnTo>
                    <a:pt x="446" y="606"/>
                  </a:lnTo>
                  <a:lnTo>
                    <a:pt x="442" y="614"/>
                  </a:lnTo>
                  <a:lnTo>
                    <a:pt x="436" y="622"/>
                  </a:lnTo>
                  <a:lnTo>
                    <a:pt x="426" y="630"/>
                  </a:lnTo>
                  <a:lnTo>
                    <a:pt x="414" y="636"/>
                  </a:lnTo>
                  <a:lnTo>
                    <a:pt x="390" y="648"/>
                  </a:lnTo>
                  <a:lnTo>
                    <a:pt x="384" y="654"/>
                  </a:lnTo>
                  <a:lnTo>
                    <a:pt x="380" y="658"/>
                  </a:lnTo>
                  <a:lnTo>
                    <a:pt x="380" y="662"/>
                  </a:lnTo>
                  <a:lnTo>
                    <a:pt x="382" y="666"/>
                  </a:lnTo>
                  <a:lnTo>
                    <a:pt x="390" y="666"/>
                  </a:lnTo>
                  <a:lnTo>
                    <a:pt x="400" y="666"/>
                  </a:lnTo>
                  <a:lnTo>
                    <a:pt x="408" y="668"/>
                  </a:lnTo>
                  <a:lnTo>
                    <a:pt x="410" y="670"/>
                  </a:lnTo>
                  <a:lnTo>
                    <a:pt x="408" y="674"/>
                  </a:lnTo>
                  <a:lnTo>
                    <a:pt x="406" y="678"/>
                  </a:lnTo>
                  <a:lnTo>
                    <a:pt x="402" y="680"/>
                  </a:lnTo>
                  <a:lnTo>
                    <a:pt x="402" y="684"/>
                  </a:lnTo>
                  <a:lnTo>
                    <a:pt x="406" y="684"/>
                  </a:lnTo>
                  <a:lnTo>
                    <a:pt x="416" y="682"/>
                  </a:lnTo>
                  <a:lnTo>
                    <a:pt x="438" y="676"/>
                  </a:lnTo>
                  <a:lnTo>
                    <a:pt x="446" y="676"/>
                  </a:lnTo>
                  <a:lnTo>
                    <a:pt x="454" y="676"/>
                  </a:lnTo>
                  <a:lnTo>
                    <a:pt x="460" y="678"/>
                  </a:lnTo>
                  <a:lnTo>
                    <a:pt x="466" y="682"/>
                  </a:lnTo>
                  <a:lnTo>
                    <a:pt x="486" y="692"/>
                  </a:lnTo>
                  <a:lnTo>
                    <a:pt x="496" y="696"/>
                  </a:lnTo>
                  <a:lnTo>
                    <a:pt x="508" y="694"/>
                  </a:lnTo>
                  <a:lnTo>
                    <a:pt x="514" y="692"/>
                  </a:lnTo>
                  <a:lnTo>
                    <a:pt x="518" y="690"/>
                  </a:lnTo>
                  <a:lnTo>
                    <a:pt x="522" y="686"/>
                  </a:lnTo>
                  <a:lnTo>
                    <a:pt x="524" y="680"/>
                  </a:lnTo>
                  <a:lnTo>
                    <a:pt x="526" y="674"/>
                  </a:lnTo>
                  <a:lnTo>
                    <a:pt x="528" y="672"/>
                  </a:lnTo>
                  <a:lnTo>
                    <a:pt x="538" y="670"/>
                  </a:lnTo>
                  <a:lnTo>
                    <a:pt x="542" y="668"/>
                  </a:lnTo>
                  <a:lnTo>
                    <a:pt x="546" y="664"/>
                  </a:lnTo>
                  <a:lnTo>
                    <a:pt x="550" y="660"/>
                  </a:lnTo>
                  <a:lnTo>
                    <a:pt x="554" y="650"/>
                  </a:lnTo>
                  <a:lnTo>
                    <a:pt x="558" y="640"/>
                  </a:lnTo>
                  <a:lnTo>
                    <a:pt x="562" y="634"/>
                  </a:lnTo>
                  <a:lnTo>
                    <a:pt x="566" y="630"/>
                  </a:lnTo>
                  <a:lnTo>
                    <a:pt x="572" y="628"/>
                  </a:lnTo>
                  <a:lnTo>
                    <a:pt x="580" y="624"/>
                  </a:lnTo>
                  <a:lnTo>
                    <a:pt x="584" y="622"/>
                  </a:lnTo>
                  <a:lnTo>
                    <a:pt x="586" y="616"/>
                  </a:lnTo>
                  <a:lnTo>
                    <a:pt x="588" y="606"/>
                  </a:lnTo>
                  <a:lnTo>
                    <a:pt x="590" y="602"/>
                  </a:lnTo>
                  <a:lnTo>
                    <a:pt x="594" y="600"/>
                  </a:lnTo>
                  <a:lnTo>
                    <a:pt x="610" y="594"/>
                  </a:lnTo>
                  <a:lnTo>
                    <a:pt x="638" y="584"/>
                  </a:lnTo>
                  <a:lnTo>
                    <a:pt x="652" y="578"/>
                  </a:lnTo>
                  <a:lnTo>
                    <a:pt x="658" y="572"/>
                  </a:lnTo>
                  <a:lnTo>
                    <a:pt x="662" y="568"/>
                  </a:lnTo>
                  <a:lnTo>
                    <a:pt x="664" y="564"/>
                  </a:lnTo>
                  <a:lnTo>
                    <a:pt x="668" y="558"/>
                  </a:lnTo>
                  <a:lnTo>
                    <a:pt x="674" y="552"/>
                  </a:lnTo>
                  <a:lnTo>
                    <a:pt x="688" y="544"/>
                  </a:lnTo>
                  <a:lnTo>
                    <a:pt x="712" y="534"/>
                  </a:lnTo>
                  <a:lnTo>
                    <a:pt x="744" y="522"/>
                  </a:lnTo>
                  <a:lnTo>
                    <a:pt x="778" y="512"/>
                  </a:lnTo>
                  <a:lnTo>
                    <a:pt x="854" y="492"/>
                  </a:lnTo>
                  <a:lnTo>
                    <a:pt x="924" y="474"/>
                  </a:lnTo>
                  <a:lnTo>
                    <a:pt x="956" y="464"/>
                  </a:lnTo>
                  <a:lnTo>
                    <a:pt x="980" y="454"/>
                  </a:lnTo>
                  <a:lnTo>
                    <a:pt x="990" y="448"/>
                  </a:lnTo>
                  <a:lnTo>
                    <a:pt x="998" y="444"/>
                  </a:lnTo>
                  <a:lnTo>
                    <a:pt x="1002" y="438"/>
                  </a:lnTo>
                  <a:lnTo>
                    <a:pt x="1002" y="432"/>
                  </a:lnTo>
                  <a:lnTo>
                    <a:pt x="1002" y="428"/>
                  </a:lnTo>
                  <a:lnTo>
                    <a:pt x="1000" y="424"/>
                  </a:lnTo>
                  <a:lnTo>
                    <a:pt x="996" y="420"/>
                  </a:lnTo>
                  <a:lnTo>
                    <a:pt x="990" y="416"/>
                  </a:lnTo>
                  <a:lnTo>
                    <a:pt x="974" y="410"/>
                  </a:lnTo>
                  <a:lnTo>
                    <a:pt x="954" y="406"/>
                  </a:lnTo>
                  <a:lnTo>
                    <a:pt x="932" y="408"/>
                  </a:lnTo>
                  <a:lnTo>
                    <a:pt x="908" y="412"/>
                  </a:lnTo>
                  <a:lnTo>
                    <a:pt x="878" y="422"/>
                  </a:lnTo>
                  <a:lnTo>
                    <a:pt x="874" y="426"/>
                  </a:lnTo>
                  <a:lnTo>
                    <a:pt x="870" y="428"/>
                  </a:lnTo>
                  <a:lnTo>
                    <a:pt x="868" y="430"/>
                  </a:lnTo>
                  <a:lnTo>
                    <a:pt x="864" y="434"/>
                  </a:lnTo>
                  <a:lnTo>
                    <a:pt x="856" y="438"/>
                  </a:lnTo>
                  <a:lnTo>
                    <a:pt x="842" y="444"/>
                  </a:lnTo>
                  <a:lnTo>
                    <a:pt x="818" y="450"/>
                  </a:lnTo>
                  <a:lnTo>
                    <a:pt x="808" y="450"/>
                  </a:lnTo>
                  <a:lnTo>
                    <a:pt x="798" y="452"/>
                  </a:lnTo>
                  <a:lnTo>
                    <a:pt x="768" y="460"/>
                  </a:lnTo>
                  <a:close/>
                  <a:moveTo>
                    <a:pt x="484" y="70"/>
                  </a:moveTo>
                  <a:lnTo>
                    <a:pt x="484" y="70"/>
                  </a:lnTo>
                  <a:lnTo>
                    <a:pt x="482" y="70"/>
                  </a:lnTo>
                  <a:lnTo>
                    <a:pt x="484" y="70"/>
                  </a:lnTo>
                  <a:lnTo>
                    <a:pt x="490" y="72"/>
                  </a:lnTo>
                  <a:lnTo>
                    <a:pt x="500" y="74"/>
                  </a:lnTo>
                  <a:lnTo>
                    <a:pt x="510" y="78"/>
                  </a:lnTo>
                  <a:lnTo>
                    <a:pt x="528" y="86"/>
                  </a:lnTo>
                  <a:lnTo>
                    <a:pt x="538" y="86"/>
                  </a:lnTo>
                  <a:lnTo>
                    <a:pt x="554" y="86"/>
                  </a:lnTo>
                  <a:lnTo>
                    <a:pt x="568" y="86"/>
                  </a:lnTo>
                  <a:lnTo>
                    <a:pt x="568" y="84"/>
                  </a:lnTo>
                  <a:lnTo>
                    <a:pt x="566" y="82"/>
                  </a:lnTo>
                  <a:lnTo>
                    <a:pt x="544" y="76"/>
                  </a:lnTo>
                  <a:lnTo>
                    <a:pt x="530" y="72"/>
                  </a:lnTo>
                  <a:lnTo>
                    <a:pt x="512" y="70"/>
                  </a:lnTo>
                  <a:lnTo>
                    <a:pt x="496" y="68"/>
                  </a:lnTo>
                  <a:lnTo>
                    <a:pt x="484" y="70"/>
                  </a:lnTo>
                  <a:close/>
                  <a:moveTo>
                    <a:pt x="542" y="114"/>
                  </a:moveTo>
                  <a:lnTo>
                    <a:pt x="542" y="114"/>
                  </a:lnTo>
                  <a:lnTo>
                    <a:pt x="554" y="116"/>
                  </a:lnTo>
                  <a:lnTo>
                    <a:pt x="558" y="114"/>
                  </a:lnTo>
                  <a:lnTo>
                    <a:pt x="560" y="112"/>
                  </a:lnTo>
                  <a:lnTo>
                    <a:pt x="560" y="110"/>
                  </a:lnTo>
                  <a:lnTo>
                    <a:pt x="560" y="108"/>
                  </a:lnTo>
                  <a:lnTo>
                    <a:pt x="554" y="106"/>
                  </a:lnTo>
                  <a:lnTo>
                    <a:pt x="542" y="106"/>
                  </a:lnTo>
                  <a:lnTo>
                    <a:pt x="532" y="108"/>
                  </a:lnTo>
                  <a:lnTo>
                    <a:pt x="530" y="110"/>
                  </a:lnTo>
                  <a:lnTo>
                    <a:pt x="532" y="112"/>
                  </a:lnTo>
                  <a:lnTo>
                    <a:pt x="534" y="114"/>
                  </a:lnTo>
                  <a:lnTo>
                    <a:pt x="542" y="114"/>
                  </a:lnTo>
                  <a:close/>
                  <a:moveTo>
                    <a:pt x="590" y="96"/>
                  </a:moveTo>
                  <a:lnTo>
                    <a:pt x="590" y="96"/>
                  </a:lnTo>
                  <a:lnTo>
                    <a:pt x="596" y="94"/>
                  </a:lnTo>
                  <a:lnTo>
                    <a:pt x="598" y="92"/>
                  </a:lnTo>
                  <a:lnTo>
                    <a:pt x="598" y="90"/>
                  </a:lnTo>
                  <a:lnTo>
                    <a:pt x="596" y="88"/>
                  </a:lnTo>
                  <a:lnTo>
                    <a:pt x="592" y="86"/>
                  </a:lnTo>
                  <a:lnTo>
                    <a:pt x="584" y="86"/>
                  </a:lnTo>
                  <a:lnTo>
                    <a:pt x="574" y="88"/>
                  </a:lnTo>
                  <a:lnTo>
                    <a:pt x="562" y="90"/>
                  </a:lnTo>
                  <a:lnTo>
                    <a:pt x="556" y="92"/>
                  </a:lnTo>
                  <a:lnTo>
                    <a:pt x="556" y="94"/>
                  </a:lnTo>
                  <a:lnTo>
                    <a:pt x="560" y="96"/>
                  </a:lnTo>
                  <a:lnTo>
                    <a:pt x="576" y="96"/>
                  </a:lnTo>
                  <a:lnTo>
                    <a:pt x="590" y="96"/>
                  </a:lnTo>
                  <a:close/>
                  <a:moveTo>
                    <a:pt x="554" y="70"/>
                  </a:moveTo>
                  <a:lnTo>
                    <a:pt x="554" y="70"/>
                  </a:lnTo>
                  <a:lnTo>
                    <a:pt x="554" y="72"/>
                  </a:lnTo>
                  <a:lnTo>
                    <a:pt x="554" y="74"/>
                  </a:lnTo>
                  <a:lnTo>
                    <a:pt x="562" y="78"/>
                  </a:lnTo>
                  <a:lnTo>
                    <a:pt x="572" y="80"/>
                  </a:lnTo>
                  <a:lnTo>
                    <a:pt x="582" y="80"/>
                  </a:lnTo>
                  <a:lnTo>
                    <a:pt x="584" y="78"/>
                  </a:lnTo>
                  <a:lnTo>
                    <a:pt x="584" y="76"/>
                  </a:lnTo>
                  <a:lnTo>
                    <a:pt x="576" y="72"/>
                  </a:lnTo>
                  <a:lnTo>
                    <a:pt x="564" y="68"/>
                  </a:lnTo>
                  <a:lnTo>
                    <a:pt x="558" y="68"/>
                  </a:lnTo>
                  <a:lnTo>
                    <a:pt x="554" y="70"/>
                  </a:lnTo>
                  <a:close/>
                  <a:moveTo>
                    <a:pt x="1962" y="108"/>
                  </a:moveTo>
                  <a:lnTo>
                    <a:pt x="1962" y="108"/>
                  </a:lnTo>
                  <a:lnTo>
                    <a:pt x="1950" y="114"/>
                  </a:lnTo>
                  <a:lnTo>
                    <a:pt x="1938" y="120"/>
                  </a:lnTo>
                  <a:lnTo>
                    <a:pt x="1916" y="128"/>
                  </a:lnTo>
                  <a:lnTo>
                    <a:pt x="1908" y="132"/>
                  </a:lnTo>
                  <a:lnTo>
                    <a:pt x="1906" y="134"/>
                  </a:lnTo>
                  <a:lnTo>
                    <a:pt x="1908" y="136"/>
                  </a:lnTo>
                  <a:lnTo>
                    <a:pt x="1918" y="138"/>
                  </a:lnTo>
                  <a:lnTo>
                    <a:pt x="1930" y="138"/>
                  </a:lnTo>
                  <a:lnTo>
                    <a:pt x="1938" y="142"/>
                  </a:lnTo>
                  <a:lnTo>
                    <a:pt x="1952" y="146"/>
                  </a:lnTo>
                  <a:lnTo>
                    <a:pt x="1968" y="154"/>
                  </a:lnTo>
                  <a:lnTo>
                    <a:pt x="1980" y="156"/>
                  </a:lnTo>
                  <a:lnTo>
                    <a:pt x="1994" y="158"/>
                  </a:lnTo>
                  <a:lnTo>
                    <a:pt x="2010" y="158"/>
                  </a:lnTo>
                  <a:lnTo>
                    <a:pt x="2016" y="158"/>
                  </a:lnTo>
                  <a:lnTo>
                    <a:pt x="2020" y="156"/>
                  </a:lnTo>
                  <a:lnTo>
                    <a:pt x="2022" y="152"/>
                  </a:lnTo>
                  <a:lnTo>
                    <a:pt x="2024" y="150"/>
                  </a:lnTo>
                  <a:lnTo>
                    <a:pt x="2028" y="146"/>
                  </a:lnTo>
                  <a:lnTo>
                    <a:pt x="2040" y="142"/>
                  </a:lnTo>
                  <a:lnTo>
                    <a:pt x="2058" y="140"/>
                  </a:lnTo>
                  <a:lnTo>
                    <a:pt x="2100" y="140"/>
                  </a:lnTo>
                  <a:lnTo>
                    <a:pt x="2130" y="140"/>
                  </a:lnTo>
                  <a:lnTo>
                    <a:pt x="2138" y="138"/>
                  </a:lnTo>
                  <a:lnTo>
                    <a:pt x="2142" y="136"/>
                  </a:lnTo>
                  <a:lnTo>
                    <a:pt x="2142" y="130"/>
                  </a:lnTo>
                  <a:lnTo>
                    <a:pt x="2136" y="122"/>
                  </a:lnTo>
                  <a:lnTo>
                    <a:pt x="2132" y="114"/>
                  </a:lnTo>
                  <a:lnTo>
                    <a:pt x="2132" y="112"/>
                  </a:lnTo>
                  <a:lnTo>
                    <a:pt x="2134" y="110"/>
                  </a:lnTo>
                  <a:lnTo>
                    <a:pt x="2140" y="108"/>
                  </a:lnTo>
                  <a:lnTo>
                    <a:pt x="2146" y="106"/>
                  </a:lnTo>
                  <a:lnTo>
                    <a:pt x="2162" y="104"/>
                  </a:lnTo>
                  <a:lnTo>
                    <a:pt x="2164" y="102"/>
                  </a:lnTo>
                  <a:lnTo>
                    <a:pt x="2166" y="100"/>
                  </a:lnTo>
                  <a:lnTo>
                    <a:pt x="2164" y="96"/>
                  </a:lnTo>
                  <a:lnTo>
                    <a:pt x="2160" y="92"/>
                  </a:lnTo>
                  <a:lnTo>
                    <a:pt x="2154" y="90"/>
                  </a:lnTo>
                  <a:lnTo>
                    <a:pt x="2142" y="88"/>
                  </a:lnTo>
                  <a:lnTo>
                    <a:pt x="2136" y="88"/>
                  </a:lnTo>
                  <a:lnTo>
                    <a:pt x="2128" y="86"/>
                  </a:lnTo>
                  <a:lnTo>
                    <a:pt x="2118" y="82"/>
                  </a:lnTo>
                  <a:lnTo>
                    <a:pt x="2110" y="74"/>
                  </a:lnTo>
                  <a:lnTo>
                    <a:pt x="2090" y="60"/>
                  </a:lnTo>
                  <a:lnTo>
                    <a:pt x="2082" y="56"/>
                  </a:lnTo>
                  <a:lnTo>
                    <a:pt x="2076" y="52"/>
                  </a:lnTo>
                  <a:lnTo>
                    <a:pt x="2068" y="50"/>
                  </a:lnTo>
                  <a:lnTo>
                    <a:pt x="2060" y="50"/>
                  </a:lnTo>
                  <a:lnTo>
                    <a:pt x="2052" y="54"/>
                  </a:lnTo>
                  <a:lnTo>
                    <a:pt x="2044" y="58"/>
                  </a:lnTo>
                  <a:lnTo>
                    <a:pt x="2034" y="62"/>
                  </a:lnTo>
                  <a:lnTo>
                    <a:pt x="2026" y="66"/>
                  </a:lnTo>
                  <a:lnTo>
                    <a:pt x="2008" y="68"/>
                  </a:lnTo>
                  <a:lnTo>
                    <a:pt x="1988" y="74"/>
                  </a:lnTo>
                  <a:lnTo>
                    <a:pt x="1978" y="78"/>
                  </a:lnTo>
                  <a:lnTo>
                    <a:pt x="1964" y="84"/>
                  </a:lnTo>
                  <a:lnTo>
                    <a:pt x="1954" y="92"/>
                  </a:lnTo>
                  <a:lnTo>
                    <a:pt x="1952" y="94"/>
                  </a:lnTo>
                  <a:lnTo>
                    <a:pt x="1954" y="96"/>
                  </a:lnTo>
                  <a:lnTo>
                    <a:pt x="1960" y="98"/>
                  </a:lnTo>
                  <a:lnTo>
                    <a:pt x="1964" y="98"/>
                  </a:lnTo>
                  <a:lnTo>
                    <a:pt x="1968" y="98"/>
                  </a:lnTo>
                  <a:lnTo>
                    <a:pt x="1968" y="100"/>
                  </a:lnTo>
                  <a:lnTo>
                    <a:pt x="1968" y="102"/>
                  </a:lnTo>
                  <a:lnTo>
                    <a:pt x="1962" y="108"/>
                  </a:lnTo>
                  <a:close/>
                  <a:moveTo>
                    <a:pt x="3810" y="584"/>
                  </a:moveTo>
                  <a:lnTo>
                    <a:pt x="3810" y="584"/>
                  </a:lnTo>
                  <a:lnTo>
                    <a:pt x="3826" y="588"/>
                  </a:lnTo>
                  <a:lnTo>
                    <a:pt x="3834" y="588"/>
                  </a:lnTo>
                  <a:lnTo>
                    <a:pt x="3840" y="584"/>
                  </a:lnTo>
                  <a:lnTo>
                    <a:pt x="3842" y="580"/>
                  </a:lnTo>
                  <a:lnTo>
                    <a:pt x="3842" y="574"/>
                  </a:lnTo>
                  <a:lnTo>
                    <a:pt x="3846" y="570"/>
                  </a:lnTo>
                  <a:lnTo>
                    <a:pt x="3852" y="568"/>
                  </a:lnTo>
                  <a:lnTo>
                    <a:pt x="3864" y="570"/>
                  </a:lnTo>
                  <a:lnTo>
                    <a:pt x="3878" y="574"/>
                  </a:lnTo>
                  <a:lnTo>
                    <a:pt x="3890" y="572"/>
                  </a:lnTo>
                  <a:lnTo>
                    <a:pt x="3900" y="570"/>
                  </a:lnTo>
                  <a:lnTo>
                    <a:pt x="3910" y="566"/>
                  </a:lnTo>
                  <a:lnTo>
                    <a:pt x="3918" y="562"/>
                  </a:lnTo>
                  <a:lnTo>
                    <a:pt x="3926" y="560"/>
                  </a:lnTo>
                  <a:lnTo>
                    <a:pt x="3934" y="562"/>
                  </a:lnTo>
                  <a:lnTo>
                    <a:pt x="3942" y="566"/>
                  </a:lnTo>
                  <a:lnTo>
                    <a:pt x="3952" y="570"/>
                  </a:lnTo>
                  <a:lnTo>
                    <a:pt x="3962" y="572"/>
                  </a:lnTo>
                  <a:lnTo>
                    <a:pt x="3974" y="572"/>
                  </a:lnTo>
                  <a:lnTo>
                    <a:pt x="3986" y="570"/>
                  </a:lnTo>
                  <a:lnTo>
                    <a:pt x="4014" y="562"/>
                  </a:lnTo>
                  <a:lnTo>
                    <a:pt x="4048" y="552"/>
                  </a:lnTo>
                  <a:lnTo>
                    <a:pt x="4056" y="546"/>
                  </a:lnTo>
                  <a:lnTo>
                    <a:pt x="4060" y="542"/>
                  </a:lnTo>
                  <a:lnTo>
                    <a:pt x="4060" y="538"/>
                  </a:lnTo>
                  <a:lnTo>
                    <a:pt x="4056" y="534"/>
                  </a:lnTo>
                  <a:lnTo>
                    <a:pt x="4054" y="530"/>
                  </a:lnTo>
                  <a:lnTo>
                    <a:pt x="4054" y="528"/>
                  </a:lnTo>
                  <a:lnTo>
                    <a:pt x="4056" y="524"/>
                  </a:lnTo>
                  <a:lnTo>
                    <a:pt x="4066" y="524"/>
                  </a:lnTo>
                  <a:lnTo>
                    <a:pt x="4070" y="522"/>
                  </a:lnTo>
                  <a:lnTo>
                    <a:pt x="4074" y="520"/>
                  </a:lnTo>
                  <a:lnTo>
                    <a:pt x="4076" y="518"/>
                  </a:lnTo>
                  <a:lnTo>
                    <a:pt x="4074" y="516"/>
                  </a:lnTo>
                  <a:lnTo>
                    <a:pt x="4068" y="512"/>
                  </a:lnTo>
                  <a:lnTo>
                    <a:pt x="4056" y="506"/>
                  </a:lnTo>
                  <a:lnTo>
                    <a:pt x="4042" y="500"/>
                  </a:lnTo>
                  <a:lnTo>
                    <a:pt x="4026" y="498"/>
                  </a:lnTo>
                  <a:lnTo>
                    <a:pt x="4010" y="496"/>
                  </a:lnTo>
                  <a:lnTo>
                    <a:pt x="3994" y="498"/>
                  </a:lnTo>
                  <a:lnTo>
                    <a:pt x="3980" y="498"/>
                  </a:lnTo>
                  <a:lnTo>
                    <a:pt x="3968" y="496"/>
                  </a:lnTo>
                  <a:lnTo>
                    <a:pt x="3958" y="490"/>
                  </a:lnTo>
                  <a:lnTo>
                    <a:pt x="3948" y="484"/>
                  </a:lnTo>
                  <a:lnTo>
                    <a:pt x="3938" y="478"/>
                  </a:lnTo>
                  <a:lnTo>
                    <a:pt x="3928" y="472"/>
                  </a:lnTo>
                  <a:lnTo>
                    <a:pt x="3918" y="470"/>
                  </a:lnTo>
                  <a:lnTo>
                    <a:pt x="3912" y="472"/>
                  </a:lnTo>
                  <a:lnTo>
                    <a:pt x="3906" y="474"/>
                  </a:lnTo>
                  <a:lnTo>
                    <a:pt x="3898" y="480"/>
                  </a:lnTo>
                  <a:lnTo>
                    <a:pt x="3894" y="486"/>
                  </a:lnTo>
                  <a:lnTo>
                    <a:pt x="3892" y="492"/>
                  </a:lnTo>
                  <a:lnTo>
                    <a:pt x="3894" y="498"/>
                  </a:lnTo>
                  <a:lnTo>
                    <a:pt x="3900" y="506"/>
                  </a:lnTo>
                  <a:lnTo>
                    <a:pt x="3900" y="510"/>
                  </a:lnTo>
                  <a:lnTo>
                    <a:pt x="3896" y="512"/>
                  </a:lnTo>
                  <a:lnTo>
                    <a:pt x="3890" y="512"/>
                  </a:lnTo>
                  <a:lnTo>
                    <a:pt x="3882" y="508"/>
                  </a:lnTo>
                  <a:lnTo>
                    <a:pt x="3862" y="498"/>
                  </a:lnTo>
                  <a:lnTo>
                    <a:pt x="3842" y="484"/>
                  </a:lnTo>
                  <a:lnTo>
                    <a:pt x="3822" y="472"/>
                  </a:lnTo>
                  <a:lnTo>
                    <a:pt x="3814" y="468"/>
                  </a:lnTo>
                  <a:lnTo>
                    <a:pt x="3808" y="468"/>
                  </a:lnTo>
                  <a:lnTo>
                    <a:pt x="3800" y="466"/>
                  </a:lnTo>
                  <a:lnTo>
                    <a:pt x="3794" y="468"/>
                  </a:lnTo>
                  <a:lnTo>
                    <a:pt x="3778" y="476"/>
                  </a:lnTo>
                  <a:lnTo>
                    <a:pt x="3758" y="488"/>
                  </a:lnTo>
                  <a:lnTo>
                    <a:pt x="3748" y="496"/>
                  </a:lnTo>
                  <a:lnTo>
                    <a:pt x="3746" y="502"/>
                  </a:lnTo>
                  <a:lnTo>
                    <a:pt x="3746" y="508"/>
                  </a:lnTo>
                  <a:lnTo>
                    <a:pt x="3748" y="514"/>
                  </a:lnTo>
                  <a:lnTo>
                    <a:pt x="3752" y="524"/>
                  </a:lnTo>
                  <a:lnTo>
                    <a:pt x="3752" y="530"/>
                  </a:lnTo>
                  <a:lnTo>
                    <a:pt x="3746" y="532"/>
                  </a:lnTo>
                  <a:lnTo>
                    <a:pt x="3742" y="536"/>
                  </a:lnTo>
                  <a:lnTo>
                    <a:pt x="3742" y="542"/>
                  </a:lnTo>
                  <a:lnTo>
                    <a:pt x="3744" y="548"/>
                  </a:lnTo>
                  <a:lnTo>
                    <a:pt x="3752" y="554"/>
                  </a:lnTo>
                  <a:lnTo>
                    <a:pt x="3762" y="560"/>
                  </a:lnTo>
                  <a:lnTo>
                    <a:pt x="3776" y="568"/>
                  </a:lnTo>
                  <a:lnTo>
                    <a:pt x="3810" y="584"/>
                  </a:lnTo>
                  <a:close/>
                  <a:moveTo>
                    <a:pt x="4172" y="572"/>
                  </a:moveTo>
                  <a:lnTo>
                    <a:pt x="4172" y="572"/>
                  </a:lnTo>
                  <a:lnTo>
                    <a:pt x="4198" y="578"/>
                  </a:lnTo>
                  <a:lnTo>
                    <a:pt x="4218" y="578"/>
                  </a:lnTo>
                  <a:lnTo>
                    <a:pt x="4262" y="576"/>
                  </a:lnTo>
                  <a:lnTo>
                    <a:pt x="4276" y="574"/>
                  </a:lnTo>
                  <a:lnTo>
                    <a:pt x="4288" y="570"/>
                  </a:lnTo>
                  <a:lnTo>
                    <a:pt x="4294" y="566"/>
                  </a:lnTo>
                  <a:lnTo>
                    <a:pt x="4300" y="560"/>
                  </a:lnTo>
                  <a:lnTo>
                    <a:pt x="4300" y="556"/>
                  </a:lnTo>
                  <a:lnTo>
                    <a:pt x="4300" y="552"/>
                  </a:lnTo>
                  <a:lnTo>
                    <a:pt x="4296" y="550"/>
                  </a:lnTo>
                  <a:lnTo>
                    <a:pt x="4288" y="550"/>
                  </a:lnTo>
                  <a:lnTo>
                    <a:pt x="4280" y="550"/>
                  </a:lnTo>
                  <a:lnTo>
                    <a:pt x="4274" y="548"/>
                  </a:lnTo>
                  <a:lnTo>
                    <a:pt x="4266" y="540"/>
                  </a:lnTo>
                  <a:lnTo>
                    <a:pt x="4260" y="536"/>
                  </a:lnTo>
                  <a:lnTo>
                    <a:pt x="4252" y="534"/>
                  </a:lnTo>
                  <a:lnTo>
                    <a:pt x="4244" y="536"/>
                  </a:lnTo>
                  <a:lnTo>
                    <a:pt x="4230" y="540"/>
                  </a:lnTo>
                  <a:lnTo>
                    <a:pt x="4220" y="542"/>
                  </a:lnTo>
                  <a:lnTo>
                    <a:pt x="4214" y="542"/>
                  </a:lnTo>
                  <a:lnTo>
                    <a:pt x="4212" y="540"/>
                  </a:lnTo>
                  <a:lnTo>
                    <a:pt x="4212" y="536"/>
                  </a:lnTo>
                  <a:lnTo>
                    <a:pt x="4210" y="532"/>
                  </a:lnTo>
                  <a:lnTo>
                    <a:pt x="4204" y="528"/>
                  </a:lnTo>
                  <a:lnTo>
                    <a:pt x="4194" y="526"/>
                  </a:lnTo>
                  <a:lnTo>
                    <a:pt x="4174" y="528"/>
                  </a:lnTo>
                  <a:lnTo>
                    <a:pt x="4154" y="528"/>
                  </a:lnTo>
                  <a:lnTo>
                    <a:pt x="4142" y="526"/>
                  </a:lnTo>
                  <a:lnTo>
                    <a:pt x="4132" y="524"/>
                  </a:lnTo>
                  <a:lnTo>
                    <a:pt x="4126" y="520"/>
                  </a:lnTo>
                  <a:lnTo>
                    <a:pt x="4122" y="514"/>
                  </a:lnTo>
                  <a:lnTo>
                    <a:pt x="4122" y="516"/>
                  </a:lnTo>
                  <a:lnTo>
                    <a:pt x="4118" y="518"/>
                  </a:lnTo>
                  <a:lnTo>
                    <a:pt x="4112" y="530"/>
                  </a:lnTo>
                  <a:lnTo>
                    <a:pt x="4108" y="536"/>
                  </a:lnTo>
                  <a:lnTo>
                    <a:pt x="4110" y="542"/>
                  </a:lnTo>
                  <a:lnTo>
                    <a:pt x="4114" y="550"/>
                  </a:lnTo>
                  <a:lnTo>
                    <a:pt x="4126" y="556"/>
                  </a:lnTo>
                  <a:lnTo>
                    <a:pt x="4144" y="564"/>
                  </a:lnTo>
                  <a:lnTo>
                    <a:pt x="4172" y="572"/>
                  </a:lnTo>
                  <a:close/>
                  <a:moveTo>
                    <a:pt x="5478" y="870"/>
                  </a:moveTo>
                  <a:lnTo>
                    <a:pt x="5478" y="866"/>
                  </a:lnTo>
                  <a:lnTo>
                    <a:pt x="5548" y="856"/>
                  </a:lnTo>
                  <a:lnTo>
                    <a:pt x="5558" y="854"/>
                  </a:lnTo>
                  <a:lnTo>
                    <a:pt x="5564" y="852"/>
                  </a:lnTo>
                  <a:lnTo>
                    <a:pt x="5570" y="848"/>
                  </a:lnTo>
                  <a:lnTo>
                    <a:pt x="5572" y="846"/>
                  </a:lnTo>
                  <a:lnTo>
                    <a:pt x="5570" y="842"/>
                  </a:lnTo>
                  <a:lnTo>
                    <a:pt x="5568" y="838"/>
                  </a:lnTo>
                  <a:lnTo>
                    <a:pt x="5560" y="832"/>
                  </a:lnTo>
                  <a:lnTo>
                    <a:pt x="5546" y="826"/>
                  </a:lnTo>
                  <a:lnTo>
                    <a:pt x="5530" y="820"/>
                  </a:lnTo>
                  <a:lnTo>
                    <a:pt x="5512" y="818"/>
                  </a:lnTo>
                  <a:lnTo>
                    <a:pt x="5494" y="818"/>
                  </a:lnTo>
                  <a:lnTo>
                    <a:pt x="5478" y="820"/>
                  </a:lnTo>
                  <a:lnTo>
                    <a:pt x="5478" y="818"/>
                  </a:lnTo>
                  <a:lnTo>
                    <a:pt x="5454" y="826"/>
                  </a:lnTo>
                  <a:lnTo>
                    <a:pt x="5444" y="832"/>
                  </a:lnTo>
                  <a:lnTo>
                    <a:pt x="5434" y="838"/>
                  </a:lnTo>
                  <a:lnTo>
                    <a:pt x="5428" y="844"/>
                  </a:lnTo>
                  <a:lnTo>
                    <a:pt x="5422" y="850"/>
                  </a:lnTo>
                  <a:lnTo>
                    <a:pt x="5418" y="856"/>
                  </a:lnTo>
                  <a:lnTo>
                    <a:pt x="5418" y="864"/>
                  </a:lnTo>
                  <a:lnTo>
                    <a:pt x="5418" y="868"/>
                  </a:lnTo>
                  <a:lnTo>
                    <a:pt x="5422" y="872"/>
                  </a:lnTo>
                  <a:lnTo>
                    <a:pt x="5426" y="874"/>
                  </a:lnTo>
                  <a:lnTo>
                    <a:pt x="5434" y="874"/>
                  </a:lnTo>
                  <a:lnTo>
                    <a:pt x="5452" y="874"/>
                  </a:lnTo>
                  <a:lnTo>
                    <a:pt x="5478" y="870"/>
                  </a:lnTo>
                  <a:close/>
                  <a:moveTo>
                    <a:pt x="2060" y="404"/>
                  </a:moveTo>
                  <a:lnTo>
                    <a:pt x="2060" y="404"/>
                  </a:lnTo>
                  <a:lnTo>
                    <a:pt x="2068" y="408"/>
                  </a:lnTo>
                  <a:lnTo>
                    <a:pt x="2078" y="408"/>
                  </a:lnTo>
                  <a:lnTo>
                    <a:pt x="2088" y="406"/>
                  </a:lnTo>
                  <a:lnTo>
                    <a:pt x="2096" y="404"/>
                  </a:lnTo>
                  <a:lnTo>
                    <a:pt x="2104" y="400"/>
                  </a:lnTo>
                  <a:lnTo>
                    <a:pt x="2108" y="396"/>
                  </a:lnTo>
                  <a:lnTo>
                    <a:pt x="2112" y="392"/>
                  </a:lnTo>
                  <a:lnTo>
                    <a:pt x="2112" y="388"/>
                  </a:lnTo>
                  <a:lnTo>
                    <a:pt x="2106" y="386"/>
                  </a:lnTo>
                  <a:lnTo>
                    <a:pt x="2100" y="386"/>
                  </a:lnTo>
                  <a:lnTo>
                    <a:pt x="2080" y="392"/>
                  </a:lnTo>
                  <a:lnTo>
                    <a:pt x="2064" y="398"/>
                  </a:lnTo>
                  <a:lnTo>
                    <a:pt x="2060" y="402"/>
                  </a:lnTo>
                  <a:lnTo>
                    <a:pt x="2058" y="404"/>
                  </a:lnTo>
                  <a:lnTo>
                    <a:pt x="2060" y="404"/>
                  </a:lnTo>
                  <a:close/>
                  <a:moveTo>
                    <a:pt x="3868" y="678"/>
                  </a:moveTo>
                  <a:lnTo>
                    <a:pt x="3868" y="678"/>
                  </a:lnTo>
                  <a:lnTo>
                    <a:pt x="3858" y="686"/>
                  </a:lnTo>
                  <a:lnTo>
                    <a:pt x="3856" y="688"/>
                  </a:lnTo>
                  <a:lnTo>
                    <a:pt x="3858" y="690"/>
                  </a:lnTo>
                  <a:lnTo>
                    <a:pt x="3866" y="690"/>
                  </a:lnTo>
                  <a:lnTo>
                    <a:pt x="3896" y="688"/>
                  </a:lnTo>
                  <a:lnTo>
                    <a:pt x="3916" y="688"/>
                  </a:lnTo>
                  <a:lnTo>
                    <a:pt x="3940" y="692"/>
                  </a:lnTo>
                  <a:lnTo>
                    <a:pt x="3970" y="696"/>
                  </a:lnTo>
                  <a:lnTo>
                    <a:pt x="3990" y="696"/>
                  </a:lnTo>
                  <a:lnTo>
                    <a:pt x="4004" y="694"/>
                  </a:lnTo>
                  <a:lnTo>
                    <a:pt x="4006" y="692"/>
                  </a:lnTo>
                  <a:lnTo>
                    <a:pt x="4008" y="690"/>
                  </a:lnTo>
                  <a:lnTo>
                    <a:pt x="4008" y="686"/>
                  </a:lnTo>
                  <a:lnTo>
                    <a:pt x="4006" y="682"/>
                  </a:lnTo>
                  <a:lnTo>
                    <a:pt x="4000" y="674"/>
                  </a:lnTo>
                  <a:lnTo>
                    <a:pt x="3988" y="664"/>
                  </a:lnTo>
                  <a:lnTo>
                    <a:pt x="3972" y="654"/>
                  </a:lnTo>
                  <a:lnTo>
                    <a:pt x="3956" y="648"/>
                  </a:lnTo>
                  <a:lnTo>
                    <a:pt x="3940" y="644"/>
                  </a:lnTo>
                  <a:lnTo>
                    <a:pt x="3928" y="646"/>
                  </a:lnTo>
                  <a:lnTo>
                    <a:pt x="3916" y="648"/>
                  </a:lnTo>
                  <a:lnTo>
                    <a:pt x="3904" y="654"/>
                  </a:lnTo>
                  <a:lnTo>
                    <a:pt x="3894" y="662"/>
                  </a:lnTo>
                  <a:lnTo>
                    <a:pt x="3868" y="678"/>
                  </a:lnTo>
                  <a:close/>
                  <a:moveTo>
                    <a:pt x="5044" y="956"/>
                  </a:moveTo>
                  <a:lnTo>
                    <a:pt x="5044" y="956"/>
                  </a:lnTo>
                  <a:lnTo>
                    <a:pt x="5046" y="954"/>
                  </a:lnTo>
                  <a:lnTo>
                    <a:pt x="5046" y="950"/>
                  </a:lnTo>
                  <a:lnTo>
                    <a:pt x="5044" y="948"/>
                  </a:lnTo>
                  <a:lnTo>
                    <a:pt x="5042" y="946"/>
                  </a:lnTo>
                  <a:lnTo>
                    <a:pt x="5034" y="942"/>
                  </a:lnTo>
                  <a:lnTo>
                    <a:pt x="5024" y="940"/>
                  </a:lnTo>
                  <a:lnTo>
                    <a:pt x="5012" y="938"/>
                  </a:lnTo>
                  <a:lnTo>
                    <a:pt x="5000" y="938"/>
                  </a:lnTo>
                  <a:lnTo>
                    <a:pt x="4990" y="938"/>
                  </a:lnTo>
                  <a:lnTo>
                    <a:pt x="4984" y="942"/>
                  </a:lnTo>
                  <a:lnTo>
                    <a:pt x="4982" y="944"/>
                  </a:lnTo>
                  <a:lnTo>
                    <a:pt x="4982" y="946"/>
                  </a:lnTo>
                  <a:lnTo>
                    <a:pt x="4986" y="950"/>
                  </a:lnTo>
                  <a:lnTo>
                    <a:pt x="4992" y="954"/>
                  </a:lnTo>
                  <a:lnTo>
                    <a:pt x="5002" y="958"/>
                  </a:lnTo>
                  <a:lnTo>
                    <a:pt x="5014" y="960"/>
                  </a:lnTo>
                  <a:lnTo>
                    <a:pt x="5024" y="962"/>
                  </a:lnTo>
                  <a:lnTo>
                    <a:pt x="5034" y="960"/>
                  </a:lnTo>
                  <a:lnTo>
                    <a:pt x="5044" y="956"/>
                  </a:lnTo>
                  <a:close/>
                  <a:moveTo>
                    <a:pt x="3698" y="530"/>
                  </a:moveTo>
                  <a:lnTo>
                    <a:pt x="3698" y="530"/>
                  </a:lnTo>
                  <a:lnTo>
                    <a:pt x="3704" y="524"/>
                  </a:lnTo>
                  <a:lnTo>
                    <a:pt x="3706" y="518"/>
                  </a:lnTo>
                  <a:lnTo>
                    <a:pt x="3704" y="508"/>
                  </a:lnTo>
                  <a:lnTo>
                    <a:pt x="3696" y="498"/>
                  </a:lnTo>
                  <a:lnTo>
                    <a:pt x="3694" y="496"/>
                  </a:lnTo>
                  <a:lnTo>
                    <a:pt x="3692" y="496"/>
                  </a:lnTo>
                  <a:lnTo>
                    <a:pt x="3688" y="500"/>
                  </a:lnTo>
                  <a:lnTo>
                    <a:pt x="3684" y="506"/>
                  </a:lnTo>
                  <a:lnTo>
                    <a:pt x="3682" y="514"/>
                  </a:lnTo>
                  <a:lnTo>
                    <a:pt x="3680" y="524"/>
                  </a:lnTo>
                  <a:lnTo>
                    <a:pt x="3684" y="530"/>
                  </a:lnTo>
                  <a:lnTo>
                    <a:pt x="3686" y="532"/>
                  </a:lnTo>
                  <a:lnTo>
                    <a:pt x="3688" y="532"/>
                  </a:lnTo>
                  <a:lnTo>
                    <a:pt x="3692" y="532"/>
                  </a:lnTo>
                  <a:lnTo>
                    <a:pt x="3698" y="530"/>
                  </a:lnTo>
                  <a:close/>
                  <a:moveTo>
                    <a:pt x="2260" y="322"/>
                  </a:moveTo>
                  <a:lnTo>
                    <a:pt x="2260" y="322"/>
                  </a:lnTo>
                  <a:lnTo>
                    <a:pt x="2286" y="316"/>
                  </a:lnTo>
                  <a:lnTo>
                    <a:pt x="2314" y="310"/>
                  </a:lnTo>
                  <a:lnTo>
                    <a:pt x="2350" y="306"/>
                  </a:lnTo>
                  <a:lnTo>
                    <a:pt x="2398" y="304"/>
                  </a:lnTo>
                  <a:lnTo>
                    <a:pt x="2424" y="302"/>
                  </a:lnTo>
                  <a:lnTo>
                    <a:pt x="2442" y="298"/>
                  </a:lnTo>
                  <a:lnTo>
                    <a:pt x="2456" y="294"/>
                  </a:lnTo>
                  <a:lnTo>
                    <a:pt x="2464" y="288"/>
                  </a:lnTo>
                  <a:lnTo>
                    <a:pt x="2466" y="284"/>
                  </a:lnTo>
                  <a:lnTo>
                    <a:pt x="2466" y="282"/>
                  </a:lnTo>
                  <a:lnTo>
                    <a:pt x="2462" y="274"/>
                  </a:lnTo>
                  <a:lnTo>
                    <a:pt x="2456" y="266"/>
                  </a:lnTo>
                  <a:lnTo>
                    <a:pt x="2442" y="256"/>
                  </a:lnTo>
                  <a:lnTo>
                    <a:pt x="2420" y="240"/>
                  </a:lnTo>
                  <a:lnTo>
                    <a:pt x="2412" y="234"/>
                  </a:lnTo>
                  <a:lnTo>
                    <a:pt x="2406" y="232"/>
                  </a:lnTo>
                  <a:lnTo>
                    <a:pt x="2398" y="232"/>
                  </a:lnTo>
                  <a:lnTo>
                    <a:pt x="2388" y="236"/>
                  </a:lnTo>
                  <a:lnTo>
                    <a:pt x="2376" y="242"/>
                  </a:lnTo>
                  <a:lnTo>
                    <a:pt x="2360" y="254"/>
                  </a:lnTo>
                  <a:lnTo>
                    <a:pt x="2346" y="262"/>
                  </a:lnTo>
                  <a:lnTo>
                    <a:pt x="2344" y="264"/>
                  </a:lnTo>
                  <a:lnTo>
                    <a:pt x="2344" y="262"/>
                  </a:lnTo>
                  <a:lnTo>
                    <a:pt x="2356" y="248"/>
                  </a:lnTo>
                  <a:lnTo>
                    <a:pt x="2364" y="238"/>
                  </a:lnTo>
                  <a:lnTo>
                    <a:pt x="2372" y="226"/>
                  </a:lnTo>
                  <a:lnTo>
                    <a:pt x="2376" y="218"/>
                  </a:lnTo>
                  <a:lnTo>
                    <a:pt x="2374" y="214"/>
                  </a:lnTo>
                  <a:lnTo>
                    <a:pt x="2372" y="212"/>
                  </a:lnTo>
                  <a:lnTo>
                    <a:pt x="2354" y="208"/>
                  </a:lnTo>
                  <a:lnTo>
                    <a:pt x="2344" y="206"/>
                  </a:lnTo>
                  <a:lnTo>
                    <a:pt x="2336" y="206"/>
                  </a:lnTo>
                  <a:lnTo>
                    <a:pt x="2326" y="208"/>
                  </a:lnTo>
                  <a:lnTo>
                    <a:pt x="2316" y="212"/>
                  </a:lnTo>
                  <a:lnTo>
                    <a:pt x="2306" y="222"/>
                  </a:lnTo>
                  <a:lnTo>
                    <a:pt x="2294" y="236"/>
                  </a:lnTo>
                  <a:lnTo>
                    <a:pt x="2286" y="248"/>
                  </a:lnTo>
                  <a:lnTo>
                    <a:pt x="2278" y="256"/>
                  </a:lnTo>
                  <a:lnTo>
                    <a:pt x="2266" y="264"/>
                  </a:lnTo>
                  <a:lnTo>
                    <a:pt x="2260" y="270"/>
                  </a:lnTo>
                  <a:lnTo>
                    <a:pt x="2252" y="278"/>
                  </a:lnTo>
                  <a:lnTo>
                    <a:pt x="2242" y="292"/>
                  </a:lnTo>
                  <a:lnTo>
                    <a:pt x="2230" y="314"/>
                  </a:lnTo>
                  <a:lnTo>
                    <a:pt x="2226" y="324"/>
                  </a:lnTo>
                  <a:lnTo>
                    <a:pt x="2226" y="328"/>
                  </a:lnTo>
                  <a:lnTo>
                    <a:pt x="2228" y="330"/>
                  </a:lnTo>
                  <a:lnTo>
                    <a:pt x="2238" y="328"/>
                  </a:lnTo>
                  <a:lnTo>
                    <a:pt x="2260" y="322"/>
                  </a:lnTo>
                  <a:close/>
                  <a:moveTo>
                    <a:pt x="2156" y="150"/>
                  </a:moveTo>
                  <a:lnTo>
                    <a:pt x="2156" y="150"/>
                  </a:lnTo>
                  <a:lnTo>
                    <a:pt x="2132" y="150"/>
                  </a:lnTo>
                  <a:lnTo>
                    <a:pt x="2100" y="148"/>
                  </a:lnTo>
                  <a:lnTo>
                    <a:pt x="2084" y="150"/>
                  </a:lnTo>
                  <a:lnTo>
                    <a:pt x="2068" y="152"/>
                  </a:lnTo>
                  <a:lnTo>
                    <a:pt x="2054" y="156"/>
                  </a:lnTo>
                  <a:lnTo>
                    <a:pt x="2042" y="162"/>
                  </a:lnTo>
                  <a:lnTo>
                    <a:pt x="2016" y="178"/>
                  </a:lnTo>
                  <a:lnTo>
                    <a:pt x="1988" y="192"/>
                  </a:lnTo>
                  <a:lnTo>
                    <a:pt x="1980" y="198"/>
                  </a:lnTo>
                  <a:lnTo>
                    <a:pt x="1978" y="200"/>
                  </a:lnTo>
                  <a:lnTo>
                    <a:pt x="1978" y="202"/>
                  </a:lnTo>
                  <a:lnTo>
                    <a:pt x="1980" y="204"/>
                  </a:lnTo>
                  <a:lnTo>
                    <a:pt x="1982" y="204"/>
                  </a:lnTo>
                  <a:lnTo>
                    <a:pt x="1996" y="206"/>
                  </a:lnTo>
                  <a:lnTo>
                    <a:pt x="2012" y="206"/>
                  </a:lnTo>
                  <a:lnTo>
                    <a:pt x="2020" y="208"/>
                  </a:lnTo>
                  <a:lnTo>
                    <a:pt x="2024" y="210"/>
                  </a:lnTo>
                  <a:lnTo>
                    <a:pt x="2024" y="214"/>
                  </a:lnTo>
                  <a:lnTo>
                    <a:pt x="2024" y="218"/>
                  </a:lnTo>
                  <a:lnTo>
                    <a:pt x="2026" y="224"/>
                  </a:lnTo>
                  <a:lnTo>
                    <a:pt x="2030" y="230"/>
                  </a:lnTo>
                  <a:lnTo>
                    <a:pt x="2038" y="234"/>
                  </a:lnTo>
                  <a:lnTo>
                    <a:pt x="2046" y="238"/>
                  </a:lnTo>
                  <a:lnTo>
                    <a:pt x="2054" y="238"/>
                  </a:lnTo>
                  <a:lnTo>
                    <a:pt x="2074" y="240"/>
                  </a:lnTo>
                  <a:lnTo>
                    <a:pt x="2100" y="244"/>
                  </a:lnTo>
                  <a:lnTo>
                    <a:pt x="2118" y="246"/>
                  </a:lnTo>
                  <a:lnTo>
                    <a:pt x="2138" y="252"/>
                  </a:lnTo>
                  <a:lnTo>
                    <a:pt x="2158" y="258"/>
                  </a:lnTo>
                  <a:lnTo>
                    <a:pt x="2180" y="260"/>
                  </a:lnTo>
                  <a:lnTo>
                    <a:pt x="2200" y="260"/>
                  </a:lnTo>
                  <a:lnTo>
                    <a:pt x="2218" y="258"/>
                  </a:lnTo>
                  <a:lnTo>
                    <a:pt x="2232" y="252"/>
                  </a:lnTo>
                  <a:lnTo>
                    <a:pt x="2240" y="248"/>
                  </a:lnTo>
                  <a:lnTo>
                    <a:pt x="2244" y="244"/>
                  </a:lnTo>
                  <a:lnTo>
                    <a:pt x="2244" y="240"/>
                  </a:lnTo>
                  <a:lnTo>
                    <a:pt x="2242" y="238"/>
                  </a:lnTo>
                  <a:lnTo>
                    <a:pt x="2240" y="234"/>
                  </a:lnTo>
                  <a:lnTo>
                    <a:pt x="2236" y="232"/>
                  </a:lnTo>
                  <a:lnTo>
                    <a:pt x="2236" y="228"/>
                  </a:lnTo>
                  <a:lnTo>
                    <a:pt x="2236" y="220"/>
                  </a:lnTo>
                  <a:lnTo>
                    <a:pt x="2238" y="210"/>
                  </a:lnTo>
                  <a:lnTo>
                    <a:pt x="2244" y="202"/>
                  </a:lnTo>
                  <a:lnTo>
                    <a:pt x="2248" y="192"/>
                  </a:lnTo>
                  <a:lnTo>
                    <a:pt x="2252" y="184"/>
                  </a:lnTo>
                  <a:lnTo>
                    <a:pt x="2252" y="180"/>
                  </a:lnTo>
                  <a:lnTo>
                    <a:pt x="2252" y="176"/>
                  </a:lnTo>
                  <a:lnTo>
                    <a:pt x="2250" y="174"/>
                  </a:lnTo>
                  <a:lnTo>
                    <a:pt x="2246" y="172"/>
                  </a:lnTo>
                  <a:lnTo>
                    <a:pt x="2238" y="166"/>
                  </a:lnTo>
                  <a:lnTo>
                    <a:pt x="2234" y="162"/>
                  </a:lnTo>
                  <a:lnTo>
                    <a:pt x="2230" y="160"/>
                  </a:lnTo>
                  <a:lnTo>
                    <a:pt x="2226" y="156"/>
                  </a:lnTo>
                  <a:lnTo>
                    <a:pt x="2220" y="156"/>
                  </a:lnTo>
                  <a:lnTo>
                    <a:pt x="2212" y="156"/>
                  </a:lnTo>
                  <a:lnTo>
                    <a:pt x="2184" y="164"/>
                  </a:lnTo>
                  <a:lnTo>
                    <a:pt x="2170" y="170"/>
                  </a:lnTo>
                  <a:lnTo>
                    <a:pt x="2162" y="170"/>
                  </a:lnTo>
                  <a:lnTo>
                    <a:pt x="2160" y="168"/>
                  </a:lnTo>
                  <a:lnTo>
                    <a:pt x="2162" y="164"/>
                  </a:lnTo>
                  <a:lnTo>
                    <a:pt x="2164" y="158"/>
                  </a:lnTo>
                  <a:lnTo>
                    <a:pt x="2164" y="154"/>
                  </a:lnTo>
                  <a:lnTo>
                    <a:pt x="2164" y="150"/>
                  </a:lnTo>
                  <a:lnTo>
                    <a:pt x="2156" y="150"/>
                  </a:lnTo>
                  <a:close/>
                  <a:moveTo>
                    <a:pt x="3192" y="724"/>
                  </a:moveTo>
                  <a:lnTo>
                    <a:pt x="3192" y="724"/>
                  </a:lnTo>
                  <a:lnTo>
                    <a:pt x="3218" y="728"/>
                  </a:lnTo>
                  <a:lnTo>
                    <a:pt x="3242" y="734"/>
                  </a:lnTo>
                  <a:lnTo>
                    <a:pt x="3268" y="744"/>
                  </a:lnTo>
                  <a:lnTo>
                    <a:pt x="3300" y="758"/>
                  </a:lnTo>
                  <a:lnTo>
                    <a:pt x="3308" y="762"/>
                  </a:lnTo>
                  <a:lnTo>
                    <a:pt x="3314" y="764"/>
                  </a:lnTo>
                  <a:lnTo>
                    <a:pt x="3316" y="762"/>
                  </a:lnTo>
                  <a:lnTo>
                    <a:pt x="3316" y="760"/>
                  </a:lnTo>
                  <a:lnTo>
                    <a:pt x="3314" y="752"/>
                  </a:lnTo>
                  <a:lnTo>
                    <a:pt x="3316" y="748"/>
                  </a:lnTo>
                  <a:lnTo>
                    <a:pt x="3320" y="746"/>
                  </a:lnTo>
                  <a:lnTo>
                    <a:pt x="3332" y="746"/>
                  </a:lnTo>
                  <a:lnTo>
                    <a:pt x="3338" y="746"/>
                  </a:lnTo>
                  <a:lnTo>
                    <a:pt x="3368" y="758"/>
                  </a:lnTo>
                  <a:lnTo>
                    <a:pt x="3390" y="768"/>
                  </a:lnTo>
                  <a:lnTo>
                    <a:pt x="3412" y="778"/>
                  </a:lnTo>
                  <a:lnTo>
                    <a:pt x="3420" y="782"/>
                  </a:lnTo>
                  <a:lnTo>
                    <a:pt x="3428" y="782"/>
                  </a:lnTo>
                  <a:lnTo>
                    <a:pt x="3434" y="778"/>
                  </a:lnTo>
                  <a:lnTo>
                    <a:pt x="3440" y="772"/>
                  </a:lnTo>
                  <a:lnTo>
                    <a:pt x="3440" y="766"/>
                  </a:lnTo>
                  <a:lnTo>
                    <a:pt x="3440" y="762"/>
                  </a:lnTo>
                  <a:lnTo>
                    <a:pt x="3436" y="756"/>
                  </a:lnTo>
                  <a:lnTo>
                    <a:pt x="3430" y="752"/>
                  </a:lnTo>
                  <a:lnTo>
                    <a:pt x="3422" y="748"/>
                  </a:lnTo>
                  <a:lnTo>
                    <a:pt x="3414" y="746"/>
                  </a:lnTo>
                  <a:lnTo>
                    <a:pt x="3412" y="744"/>
                  </a:lnTo>
                  <a:lnTo>
                    <a:pt x="3412" y="742"/>
                  </a:lnTo>
                  <a:lnTo>
                    <a:pt x="3414" y="742"/>
                  </a:lnTo>
                  <a:lnTo>
                    <a:pt x="3422" y="738"/>
                  </a:lnTo>
                  <a:lnTo>
                    <a:pt x="3432" y="736"/>
                  </a:lnTo>
                  <a:lnTo>
                    <a:pt x="3432" y="734"/>
                  </a:lnTo>
                  <a:lnTo>
                    <a:pt x="3432" y="732"/>
                  </a:lnTo>
                  <a:lnTo>
                    <a:pt x="3426" y="730"/>
                  </a:lnTo>
                  <a:lnTo>
                    <a:pt x="3418" y="726"/>
                  </a:lnTo>
                  <a:lnTo>
                    <a:pt x="3410" y="724"/>
                  </a:lnTo>
                  <a:lnTo>
                    <a:pt x="3406" y="720"/>
                  </a:lnTo>
                  <a:lnTo>
                    <a:pt x="3406" y="718"/>
                  </a:lnTo>
                  <a:lnTo>
                    <a:pt x="3416" y="714"/>
                  </a:lnTo>
                  <a:lnTo>
                    <a:pt x="3428" y="710"/>
                  </a:lnTo>
                  <a:lnTo>
                    <a:pt x="3430" y="708"/>
                  </a:lnTo>
                  <a:lnTo>
                    <a:pt x="3430" y="706"/>
                  </a:lnTo>
                  <a:lnTo>
                    <a:pt x="3426" y="702"/>
                  </a:lnTo>
                  <a:lnTo>
                    <a:pt x="3418" y="696"/>
                  </a:lnTo>
                  <a:lnTo>
                    <a:pt x="3392" y="686"/>
                  </a:lnTo>
                  <a:lnTo>
                    <a:pt x="3364" y="676"/>
                  </a:lnTo>
                  <a:lnTo>
                    <a:pt x="3352" y="674"/>
                  </a:lnTo>
                  <a:lnTo>
                    <a:pt x="3342" y="676"/>
                  </a:lnTo>
                  <a:lnTo>
                    <a:pt x="3336" y="678"/>
                  </a:lnTo>
                  <a:lnTo>
                    <a:pt x="3330" y="684"/>
                  </a:lnTo>
                  <a:lnTo>
                    <a:pt x="3326" y="688"/>
                  </a:lnTo>
                  <a:lnTo>
                    <a:pt x="3322" y="690"/>
                  </a:lnTo>
                  <a:lnTo>
                    <a:pt x="3320" y="688"/>
                  </a:lnTo>
                  <a:lnTo>
                    <a:pt x="3316" y="682"/>
                  </a:lnTo>
                  <a:lnTo>
                    <a:pt x="3312" y="676"/>
                  </a:lnTo>
                  <a:lnTo>
                    <a:pt x="3306" y="672"/>
                  </a:lnTo>
                  <a:lnTo>
                    <a:pt x="3302" y="668"/>
                  </a:lnTo>
                  <a:lnTo>
                    <a:pt x="3294" y="668"/>
                  </a:lnTo>
                  <a:lnTo>
                    <a:pt x="3278" y="666"/>
                  </a:lnTo>
                  <a:lnTo>
                    <a:pt x="3270" y="664"/>
                  </a:lnTo>
                  <a:lnTo>
                    <a:pt x="3258" y="660"/>
                  </a:lnTo>
                  <a:lnTo>
                    <a:pt x="3244" y="656"/>
                  </a:lnTo>
                  <a:lnTo>
                    <a:pt x="3230" y="654"/>
                  </a:lnTo>
                  <a:lnTo>
                    <a:pt x="3216" y="656"/>
                  </a:lnTo>
                  <a:lnTo>
                    <a:pt x="3204" y="660"/>
                  </a:lnTo>
                  <a:lnTo>
                    <a:pt x="3194" y="666"/>
                  </a:lnTo>
                  <a:lnTo>
                    <a:pt x="3186" y="674"/>
                  </a:lnTo>
                  <a:lnTo>
                    <a:pt x="3186" y="676"/>
                  </a:lnTo>
                  <a:lnTo>
                    <a:pt x="3186" y="680"/>
                  </a:lnTo>
                  <a:lnTo>
                    <a:pt x="3188" y="684"/>
                  </a:lnTo>
                  <a:lnTo>
                    <a:pt x="3190" y="688"/>
                  </a:lnTo>
                  <a:lnTo>
                    <a:pt x="3194" y="692"/>
                  </a:lnTo>
                  <a:lnTo>
                    <a:pt x="3196" y="696"/>
                  </a:lnTo>
                  <a:lnTo>
                    <a:pt x="3196" y="700"/>
                  </a:lnTo>
                  <a:lnTo>
                    <a:pt x="3196" y="702"/>
                  </a:lnTo>
                  <a:lnTo>
                    <a:pt x="3190" y="706"/>
                  </a:lnTo>
                  <a:lnTo>
                    <a:pt x="3184" y="712"/>
                  </a:lnTo>
                  <a:lnTo>
                    <a:pt x="3178" y="714"/>
                  </a:lnTo>
                  <a:lnTo>
                    <a:pt x="3176" y="718"/>
                  </a:lnTo>
                  <a:lnTo>
                    <a:pt x="3180" y="720"/>
                  </a:lnTo>
                  <a:lnTo>
                    <a:pt x="3192" y="724"/>
                  </a:lnTo>
                  <a:close/>
                  <a:moveTo>
                    <a:pt x="614" y="10"/>
                  </a:moveTo>
                  <a:lnTo>
                    <a:pt x="614" y="10"/>
                  </a:lnTo>
                  <a:lnTo>
                    <a:pt x="614" y="8"/>
                  </a:lnTo>
                  <a:lnTo>
                    <a:pt x="612" y="6"/>
                  </a:lnTo>
                  <a:lnTo>
                    <a:pt x="606" y="4"/>
                  </a:lnTo>
                  <a:lnTo>
                    <a:pt x="588" y="0"/>
                  </a:lnTo>
                  <a:lnTo>
                    <a:pt x="576" y="0"/>
                  </a:lnTo>
                  <a:lnTo>
                    <a:pt x="566" y="2"/>
                  </a:lnTo>
                  <a:lnTo>
                    <a:pt x="558" y="4"/>
                  </a:lnTo>
                  <a:lnTo>
                    <a:pt x="554" y="10"/>
                  </a:lnTo>
                  <a:lnTo>
                    <a:pt x="552" y="12"/>
                  </a:lnTo>
                  <a:lnTo>
                    <a:pt x="554" y="14"/>
                  </a:lnTo>
                  <a:lnTo>
                    <a:pt x="558" y="18"/>
                  </a:lnTo>
                  <a:lnTo>
                    <a:pt x="568" y="18"/>
                  </a:lnTo>
                  <a:lnTo>
                    <a:pt x="578" y="18"/>
                  </a:lnTo>
                  <a:lnTo>
                    <a:pt x="602" y="16"/>
                  </a:lnTo>
                  <a:lnTo>
                    <a:pt x="610" y="12"/>
                  </a:lnTo>
                  <a:lnTo>
                    <a:pt x="614" y="10"/>
                  </a:lnTo>
                  <a:close/>
                  <a:moveTo>
                    <a:pt x="444" y="80"/>
                  </a:moveTo>
                  <a:lnTo>
                    <a:pt x="444" y="80"/>
                  </a:lnTo>
                  <a:lnTo>
                    <a:pt x="450" y="82"/>
                  </a:lnTo>
                  <a:lnTo>
                    <a:pt x="450" y="84"/>
                  </a:lnTo>
                  <a:lnTo>
                    <a:pt x="456" y="86"/>
                  </a:lnTo>
                  <a:lnTo>
                    <a:pt x="474" y="88"/>
                  </a:lnTo>
                  <a:lnTo>
                    <a:pt x="502" y="94"/>
                  </a:lnTo>
                  <a:lnTo>
                    <a:pt x="514" y="100"/>
                  </a:lnTo>
                  <a:lnTo>
                    <a:pt x="524" y="102"/>
                  </a:lnTo>
                  <a:lnTo>
                    <a:pt x="536" y="100"/>
                  </a:lnTo>
                  <a:lnTo>
                    <a:pt x="544" y="96"/>
                  </a:lnTo>
                  <a:lnTo>
                    <a:pt x="546" y="94"/>
                  </a:lnTo>
                  <a:lnTo>
                    <a:pt x="544" y="94"/>
                  </a:lnTo>
                  <a:lnTo>
                    <a:pt x="520" y="88"/>
                  </a:lnTo>
                  <a:lnTo>
                    <a:pt x="492" y="76"/>
                  </a:lnTo>
                  <a:lnTo>
                    <a:pt x="478" y="74"/>
                  </a:lnTo>
                  <a:lnTo>
                    <a:pt x="466" y="76"/>
                  </a:lnTo>
                  <a:lnTo>
                    <a:pt x="458" y="76"/>
                  </a:lnTo>
                  <a:lnTo>
                    <a:pt x="452" y="74"/>
                  </a:lnTo>
                  <a:lnTo>
                    <a:pt x="438" y="70"/>
                  </a:lnTo>
                  <a:lnTo>
                    <a:pt x="432" y="68"/>
                  </a:lnTo>
                  <a:lnTo>
                    <a:pt x="426" y="66"/>
                  </a:lnTo>
                  <a:lnTo>
                    <a:pt x="420" y="68"/>
                  </a:lnTo>
                  <a:lnTo>
                    <a:pt x="414" y="74"/>
                  </a:lnTo>
                  <a:lnTo>
                    <a:pt x="412" y="76"/>
                  </a:lnTo>
                  <a:lnTo>
                    <a:pt x="414" y="76"/>
                  </a:lnTo>
                  <a:lnTo>
                    <a:pt x="420" y="78"/>
                  </a:lnTo>
                  <a:lnTo>
                    <a:pt x="432" y="78"/>
                  </a:lnTo>
                  <a:lnTo>
                    <a:pt x="444" y="80"/>
                  </a:lnTo>
                  <a:close/>
                  <a:moveTo>
                    <a:pt x="296" y="786"/>
                  </a:moveTo>
                  <a:lnTo>
                    <a:pt x="296" y="786"/>
                  </a:lnTo>
                  <a:lnTo>
                    <a:pt x="290" y="806"/>
                  </a:lnTo>
                  <a:lnTo>
                    <a:pt x="288" y="812"/>
                  </a:lnTo>
                  <a:lnTo>
                    <a:pt x="288" y="818"/>
                  </a:lnTo>
                  <a:lnTo>
                    <a:pt x="292" y="822"/>
                  </a:lnTo>
                  <a:lnTo>
                    <a:pt x="300" y="826"/>
                  </a:lnTo>
                  <a:lnTo>
                    <a:pt x="310" y="828"/>
                  </a:lnTo>
                  <a:lnTo>
                    <a:pt x="324" y="828"/>
                  </a:lnTo>
                  <a:lnTo>
                    <a:pt x="340" y="828"/>
                  </a:lnTo>
                  <a:lnTo>
                    <a:pt x="338" y="830"/>
                  </a:lnTo>
                  <a:lnTo>
                    <a:pt x="334" y="832"/>
                  </a:lnTo>
                  <a:lnTo>
                    <a:pt x="330" y="836"/>
                  </a:lnTo>
                  <a:lnTo>
                    <a:pt x="330" y="842"/>
                  </a:lnTo>
                  <a:lnTo>
                    <a:pt x="330" y="844"/>
                  </a:lnTo>
                  <a:lnTo>
                    <a:pt x="332" y="848"/>
                  </a:lnTo>
                  <a:lnTo>
                    <a:pt x="344" y="856"/>
                  </a:lnTo>
                  <a:lnTo>
                    <a:pt x="350" y="858"/>
                  </a:lnTo>
                  <a:lnTo>
                    <a:pt x="356" y="860"/>
                  </a:lnTo>
                  <a:lnTo>
                    <a:pt x="360" y="860"/>
                  </a:lnTo>
                  <a:lnTo>
                    <a:pt x="362" y="858"/>
                  </a:lnTo>
                  <a:lnTo>
                    <a:pt x="364" y="852"/>
                  </a:lnTo>
                  <a:lnTo>
                    <a:pt x="366" y="844"/>
                  </a:lnTo>
                  <a:lnTo>
                    <a:pt x="366" y="838"/>
                  </a:lnTo>
                  <a:lnTo>
                    <a:pt x="366" y="834"/>
                  </a:lnTo>
                  <a:lnTo>
                    <a:pt x="368" y="832"/>
                  </a:lnTo>
                  <a:lnTo>
                    <a:pt x="370" y="834"/>
                  </a:lnTo>
                  <a:lnTo>
                    <a:pt x="376" y="842"/>
                  </a:lnTo>
                  <a:lnTo>
                    <a:pt x="380" y="848"/>
                  </a:lnTo>
                  <a:lnTo>
                    <a:pt x="382" y="852"/>
                  </a:lnTo>
                  <a:lnTo>
                    <a:pt x="382" y="856"/>
                  </a:lnTo>
                  <a:lnTo>
                    <a:pt x="382" y="860"/>
                  </a:lnTo>
                  <a:lnTo>
                    <a:pt x="378" y="866"/>
                  </a:lnTo>
                  <a:lnTo>
                    <a:pt x="372" y="870"/>
                  </a:lnTo>
                  <a:lnTo>
                    <a:pt x="368" y="874"/>
                  </a:lnTo>
                  <a:lnTo>
                    <a:pt x="368" y="876"/>
                  </a:lnTo>
                  <a:lnTo>
                    <a:pt x="374" y="878"/>
                  </a:lnTo>
                  <a:lnTo>
                    <a:pt x="388" y="880"/>
                  </a:lnTo>
                  <a:lnTo>
                    <a:pt x="404" y="882"/>
                  </a:lnTo>
                  <a:lnTo>
                    <a:pt x="414" y="884"/>
                  </a:lnTo>
                  <a:lnTo>
                    <a:pt x="420" y="886"/>
                  </a:lnTo>
                  <a:lnTo>
                    <a:pt x="424" y="888"/>
                  </a:lnTo>
                  <a:lnTo>
                    <a:pt x="426" y="890"/>
                  </a:lnTo>
                  <a:lnTo>
                    <a:pt x="430" y="892"/>
                  </a:lnTo>
                  <a:lnTo>
                    <a:pt x="450" y="892"/>
                  </a:lnTo>
                  <a:lnTo>
                    <a:pt x="464" y="894"/>
                  </a:lnTo>
                  <a:lnTo>
                    <a:pt x="476" y="894"/>
                  </a:lnTo>
                  <a:lnTo>
                    <a:pt x="494" y="898"/>
                  </a:lnTo>
                  <a:lnTo>
                    <a:pt x="504" y="898"/>
                  </a:lnTo>
                  <a:lnTo>
                    <a:pt x="514" y="898"/>
                  </a:lnTo>
                  <a:lnTo>
                    <a:pt x="524" y="894"/>
                  </a:lnTo>
                  <a:lnTo>
                    <a:pt x="536" y="888"/>
                  </a:lnTo>
                  <a:lnTo>
                    <a:pt x="540" y="886"/>
                  </a:lnTo>
                  <a:lnTo>
                    <a:pt x="540" y="884"/>
                  </a:lnTo>
                  <a:lnTo>
                    <a:pt x="540" y="882"/>
                  </a:lnTo>
                  <a:lnTo>
                    <a:pt x="538" y="878"/>
                  </a:lnTo>
                  <a:lnTo>
                    <a:pt x="530" y="874"/>
                  </a:lnTo>
                  <a:lnTo>
                    <a:pt x="518" y="868"/>
                  </a:lnTo>
                  <a:lnTo>
                    <a:pt x="506" y="862"/>
                  </a:lnTo>
                  <a:lnTo>
                    <a:pt x="494" y="854"/>
                  </a:lnTo>
                  <a:lnTo>
                    <a:pt x="484" y="846"/>
                  </a:lnTo>
                  <a:lnTo>
                    <a:pt x="476" y="836"/>
                  </a:lnTo>
                  <a:lnTo>
                    <a:pt x="472" y="826"/>
                  </a:lnTo>
                  <a:lnTo>
                    <a:pt x="466" y="820"/>
                  </a:lnTo>
                  <a:lnTo>
                    <a:pt x="456" y="808"/>
                  </a:lnTo>
                  <a:lnTo>
                    <a:pt x="452" y="800"/>
                  </a:lnTo>
                  <a:lnTo>
                    <a:pt x="448" y="792"/>
                  </a:lnTo>
                  <a:lnTo>
                    <a:pt x="448" y="780"/>
                  </a:lnTo>
                  <a:lnTo>
                    <a:pt x="450" y="764"/>
                  </a:lnTo>
                  <a:lnTo>
                    <a:pt x="452" y="756"/>
                  </a:lnTo>
                  <a:lnTo>
                    <a:pt x="456" y="748"/>
                  </a:lnTo>
                  <a:lnTo>
                    <a:pt x="464" y="736"/>
                  </a:lnTo>
                  <a:lnTo>
                    <a:pt x="474" y="726"/>
                  </a:lnTo>
                  <a:lnTo>
                    <a:pt x="482" y="718"/>
                  </a:lnTo>
                  <a:lnTo>
                    <a:pt x="490" y="712"/>
                  </a:lnTo>
                  <a:lnTo>
                    <a:pt x="492" y="706"/>
                  </a:lnTo>
                  <a:lnTo>
                    <a:pt x="492" y="704"/>
                  </a:lnTo>
                  <a:lnTo>
                    <a:pt x="488" y="702"/>
                  </a:lnTo>
                  <a:lnTo>
                    <a:pt x="478" y="696"/>
                  </a:lnTo>
                  <a:lnTo>
                    <a:pt x="458" y="688"/>
                  </a:lnTo>
                  <a:lnTo>
                    <a:pt x="454" y="686"/>
                  </a:lnTo>
                  <a:lnTo>
                    <a:pt x="448" y="686"/>
                  </a:lnTo>
                  <a:lnTo>
                    <a:pt x="434" y="688"/>
                  </a:lnTo>
                  <a:lnTo>
                    <a:pt x="400" y="694"/>
                  </a:lnTo>
                  <a:lnTo>
                    <a:pt x="378" y="698"/>
                  </a:lnTo>
                  <a:lnTo>
                    <a:pt x="366" y="700"/>
                  </a:lnTo>
                  <a:lnTo>
                    <a:pt x="362" y="702"/>
                  </a:lnTo>
                  <a:lnTo>
                    <a:pt x="362" y="706"/>
                  </a:lnTo>
                  <a:lnTo>
                    <a:pt x="362" y="708"/>
                  </a:lnTo>
                  <a:lnTo>
                    <a:pt x="362" y="712"/>
                  </a:lnTo>
                  <a:lnTo>
                    <a:pt x="358" y="716"/>
                  </a:lnTo>
                  <a:lnTo>
                    <a:pt x="348" y="720"/>
                  </a:lnTo>
                  <a:lnTo>
                    <a:pt x="338" y="726"/>
                  </a:lnTo>
                  <a:lnTo>
                    <a:pt x="334" y="730"/>
                  </a:lnTo>
                  <a:lnTo>
                    <a:pt x="332" y="734"/>
                  </a:lnTo>
                  <a:lnTo>
                    <a:pt x="334" y="736"/>
                  </a:lnTo>
                  <a:lnTo>
                    <a:pt x="338" y="742"/>
                  </a:lnTo>
                  <a:lnTo>
                    <a:pt x="340" y="746"/>
                  </a:lnTo>
                  <a:lnTo>
                    <a:pt x="340" y="754"/>
                  </a:lnTo>
                  <a:lnTo>
                    <a:pt x="336" y="764"/>
                  </a:lnTo>
                  <a:lnTo>
                    <a:pt x="330" y="774"/>
                  </a:lnTo>
                  <a:lnTo>
                    <a:pt x="324" y="778"/>
                  </a:lnTo>
                  <a:lnTo>
                    <a:pt x="320" y="778"/>
                  </a:lnTo>
                  <a:lnTo>
                    <a:pt x="316" y="776"/>
                  </a:lnTo>
                  <a:lnTo>
                    <a:pt x="310" y="774"/>
                  </a:lnTo>
                  <a:lnTo>
                    <a:pt x="306" y="774"/>
                  </a:lnTo>
                  <a:lnTo>
                    <a:pt x="302" y="778"/>
                  </a:lnTo>
                  <a:lnTo>
                    <a:pt x="296" y="786"/>
                  </a:lnTo>
                  <a:close/>
                  <a:moveTo>
                    <a:pt x="282" y="168"/>
                  </a:moveTo>
                  <a:lnTo>
                    <a:pt x="282" y="168"/>
                  </a:lnTo>
                  <a:lnTo>
                    <a:pt x="290" y="168"/>
                  </a:lnTo>
                  <a:lnTo>
                    <a:pt x="294" y="164"/>
                  </a:lnTo>
                  <a:lnTo>
                    <a:pt x="292" y="160"/>
                  </a:lnTo>
                  <a:lnTo>
                    <a:pt x="288" y="158"/>
                  </a:lnTo>
                  <a:lnTo>
                    <a:pt x="280" y="154"/>
                  </a:lnTo>
                  <a:lnTo>
                    <a:pt x="270" y="152"/>
                  </a:lnTo>
                  <a:lnTo>
                    <a:pt x="260" y="152"/>
                  </a:lnTo>
                  <a:lnTo>
                    <a:pt x="250" y="156"/>
                  </a:lnTo>
                  <a:lnTo>
                    <a:pt x="242" y="160"/>
                  </a:lnTo>
                  <a:lnTo>
                    <a:pt x="240" y="164"/>
                  </a:lnTo>
                  <a:lnTo>
                    <a:pt x="240" y="166"/>
                  </a:lnTo>
                  <a:lnTo>
                    <a:pt x="244" y="166"/>
                  </a:lnTo>
                  <a:lnTo>
                    <a:pt x="260" y="168"/>
                  </a:lnTo>
                  <a:lnTo>
                    <a:pt x="282" y="168"/>
                  </a:lnTo>
                  <a:close/>
                  <a:moveTo>
                    <a:pt x="416" y="96"/>
                  </a:moveTo>
                  <a:lnTo>
                    <a:pt x="416" y="96"/>
                  </a:lnTo>
                  <a:lnTo>
                    <a:pt x="424" y="96"/>
                  </a:lnTo>
                  <a:lnTo>
                    <a:pt x="428" y="100"/>
                  </a:lnTo>
                  <a:lnTo>
                    <a:pt x="432" y="100"/>
                  </a:lnTo>
                  <a:lnTo>
                    <a:pt x="440" y="100"/>
                  </a:lnTo>
                  <a:lnTo>
                    <a:pt x="452" y="98"/>
                  </a:lnTo>
                  <a:lnTo>
                    <a:pt x="464" y="96"/>
                  </a:lnTo>
                  <a:lnTo>
                    <a:pt x="470" y="96"/>
                  </a:lnTo>
                  <a:lnTo>
                    <a:pt x="472" y="96"/>
                  </a:lnTo>
                  <a:lnTo>
                    <a:pt x="470" y="94"/>
                  </a:lnTo>
                  <a:lnTo>
                    <a:pt x="452" y="88"/>
                  </a:lnTo>
                  <a:lnTo>
                    <a:pt x="440" y="86"/>
                  </a:lnTo>
                  <a:lnTo>
                    <a:pt x="436" y="86"/>
                  </a:lnTo>
                  <a:lnTo>
                    <a:pt x="432" y="88"/>
                  </a:lnTo>
                  <a:lnTo>
                    <a:pt x="428" y="90"/>
                  </a:lnTo>
                  <a:lnTo>
                    <a:pt x="424" y="90"/>
                  </a:lnTo>
                  <a:lnTo>
                    <a:pt x="414" y="88"/>
                  </a:lnTo>
                  <a:lnTo>
                    <a:pt x="404" y="86"/>
                  </a:lnTo>
                  <a:lnTo>
                    <a:pt x="398" y="88"/>
                  </a:lnTo>
                  <a:lnTo>
                    <a:pt x="396" y="92"/>
                  </a:lnTo>
                  <a:lnTo>
                    <a:pt x="394" y="94"/>
                  </a:lnTo>
                  <a:lnTo>
                    <a:pt x="398" y="96"/>
                  </a:lnTo>
                  <a:lnTo>
                    <a:pt x="416" y="96"/>
                  </a:lnTo>
                  <a:close/>
                  <a:moveTo>
                    <a:pt x="406" y="124"/>
                  </a:moveTo>
                  <a:lnTo>
                    <a:pt x="406" y="124"/>
                  </a:lnTo>
                  <a:lnTo>
                    <a:pt x="414" y="122"/>
                  </a:lnTo>
                  <a:lnTo>
                    <a:pt x="416" y="122"/>
                  </a:lnTo>
                  <a:lnTo>
                    <a:pt x="416" y="120"/>
                  </a:lnTo>
                  <a:lnTo>
                    <a:pt x="414" y="116"/>
                  </a:lnTo>
                  <a:lnTo>
                    <a:pt x="408" y="112"/>
                  </a:lnTo>
                  <a:lnTo>
                    <a:pt x="402" y="110"/>
                  </a:lnTo>
                  <a:lnTo>
                    <a:pt x="394" y="110"/>
                  </a:lnTo>
                  <a:lnTo>
                    <a:pt x="390" y="112"/>
                  </a:lnTo>
                  <a:lnTo>
                    <a:pt x="392" y="114"/>
                  </a:lnTo>
                  <a:lnTo>
                    <a:pt x="392" y="116"/>
                  </a:lnTo>
                  <a:lnTo>
                    <a:pt x="392" y="118"/>
                  </a:lnTo>
                  <a:lnTo>
                    <a:pt x="390" y="120"/>
                  </a:lnTo>
                  <a:lnTo>
                    <a:pt x="390" y="122"/>
                  </a:lnTo>
                  <a:lnTo>
                    <a:pt x="392" y="124"/>
                  </a:lnTo>
                  <a:lnTo>
                    <a:pt x="406" y="124"/>
                  </a:lnTo>
                  <a:close/>
                  <a:moveTo>
                    <a:pt x="382" y="134"/>
                  </a:moveTo>
                  <a:lnTo>
                    <a:pt x="382" y="134"/>
                  </a:lnTo>
                  <a:lnTo>
                    <a:pt x="372" y="126"/>
                  </a:lnTo>
                  <a:lnTo>
                    <a:pt x="368" y="124"/>
                  </a:lnTo>
                  <a:lnTo>
                    <a:pt x="364" y="124"/>
                  </a:lnTo>
                  <a:lnTo>
                    <a:pt x="350" y="128"/>
                  </a:lnTo>
                  <a:lnTo>
                    <a:pt x="330" y="136"/>
                  </a:lnTo>
                  <a:lnTo>
                    <a:pt x="328" y="138"/>
                  </a:lnTo>
                  <a:lnTo>
                    <a:pt x="326" y="140"/>
                  </a:lnTo>
                  <a:lnTo>
                    <a:pt x="328" y="142"/>
                  </a:lnTo>
                  <a:lnTo>
                    <a:pt x="332" y="144"/>
                  </a:lnTo>
                  <a:lnTo>
                    <a:pt x="342" y="146"/>
                  </a:lnTo>
                  <a:lnTo>
                    <a:pt x="356" y="148"/>
                  </a:lnTo>
                  <a:lnTo>
                    <a:pt x="370" y="148"/>
                  </a:lnTo>
                  <a:lnTo>
                    <a:pt x="380" y="146"/>
                  </a:lnTo>
                  <a:lnTo>
                    <a:pt x="384" y="144"/>
                  </a:lnTo>
                  <a:lnTo>
                    <a:pt x="386" y="142"/>
                  </a:lnTo>
                  <a:lnTo>
                    <a:pt x="386" y="138"/>
                  </a:lnTo>
                  <a:lnTo>
                    <a:pt x="382" y="134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54" y="118"/>
                  </a:lnTo>
                  <a:lnTo>
                    <a:pt x="62" y="114"/>
                  </a:lnTo>
                  <a:lnTo>
                    <a:pt x="66" y="114"/>
                  </a:lnTo>
                  <a:lnTo>
                    <a:pt x="70" y="116"/>
                  </a:lnTo>
                  <a:lnTo>
                    <a:pt x="76" y="120"/>
                  </a:lnTo>
                  <a:lnTo>
                    <a:pt x="80" y="122"/>
                  </a:lnTo>
                  <a:lnTo>
                    <a:pt x="86" y="124"/>
                  </a:lnTo>
                  <a:lnTo>
                    <a:pt x="92" y="122"/>
                  </a:lnTo>
                  <a:lnTo>
                    <a:pt x="102" y="118"/>
                  </a:lnTo>
                  <a:lnTo>
                    <a:pt x="118" y="110"/>
                  </a:lnTo>
                  <a:lnTo>
                    <a:pt x="130" y="104"/>
                  </a:lnTo>
                  <a:lnTo>
                    <a:pt x="134" y="102"/>
                  </a:lnTo>
                  <a:lnTo>
                    <a:pt x="140" y="102"/>
                  </a:lnTo>
                  <a:lnTo>
                    <a:pt x="148" y="102"/>
                  </a:lnTo>
                  <a:lnTo>
                    <a:pt x="158" y="106"/>
                  </a:lnTo>
                  <a:lnTo>
                    <a:pt x="168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82" y="106"/>
                  </a:lnTo>
                  <a:lnTo>
                    <a:pt x="182" y="102"/>
                  </a:lnTo>
                  <a:lnTo>
                    <a:pt x="176" y="98"/>
                  </a:lnTo>
                  <a:lnTo>
                    <a:pt x="166" y="94"/>
                  </a:lnTo>
                  <a:lnTo>
                    <a:pt x="150" y="90"/>
                  </a:lnTo>
                  <a:lnTo>
                    <a:pt x="126" y="86"/>
                  </a:lnTo>
                  <a:lnTo>
                    <a:pt x="122" y="88"/>
                  </a:lnTo>
                  <a:lnTo>
                    <a:pt x="120" y="90"/>
                  </a:lnTo>
                  <a:lnTo>
                    <a:pt x="118" y="92"/>
                  </a:lnTo>
                  <a:lnTo>
                    <a:pt x="114" y="94"/>
                  </a:lnTo>
                  <a:lnTo>
                    <a:pt x="108" y="98"/>
                  </a:lnTo>
                  <a:lnTo>
                    <a:pt x="96" y="100"/>
                  </a:lnTo>
                  <a:lnTo>
                    <a:pt x="64" y="104"/>
                  </a:lnTo>
                  <a:lnTo>
                    <a:pt x="42" y="108"/>
                  </a:lnTo>
                  <a:lnTo>
                    <a:pt x="34" y="110"/>
                  </a:lnTo>
                  <a:lnTo>
                    <a:pt x="32" y="112"/>
                  </a:lnTo>
                  <a:lnTo>
                    <a:pt x="36" y="114"/>
                  </a:lnTo>
                  <a:lnTo>
                    <a:pt x="46" y="116"/>
                  </a:lnTo>
                  <a:close/>
                  <a:moveTo>
                    <a:pt x="202" y="100"/>
                  </a:moveTo>
                  <a:lnTo>
                    <a:pt x="202" y="100"/>
                  </a:lnTo>
                  <a:lnTo>
                    <a:pt x="210" y="106"/>
                  </a:lnTo>
                  <a:lnTo>
                    <a:pt x="210" y="108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2" y="116"/>
                  </a:lnTo>
                  <a:lnTo>
                    <a:pt x="178" y="118"/>
                  </a:lnTo>
                  <a:lnTo>
                    <a:pt x="152" y="118"/>
                  </a:lnTo>
                  <a:lnTo>
                    <a:pt x="136" y="118"/>
                  </a:lnTo>
                  <a:lnTo>
                    <a:pt x="132" y="120"/>
                  </a:lnTo>
                  <a:lnTo>
                    <a:pt x="134" y="124"/>
                  </a:lnTo>
                  <a:lnTo>
                    <a:pt x="140" y="126"/>
                  </a:lnTo>
                  <a:lnTo>
                    <a:pt x="146" y="132"/>
                  </a:lnTo>
                  <a:lnTo>
                    <a:pt x="146" y="134"/>
                  </a:lnTo>
                  <a:lnTo>
                    <a:pt x="144" y="134"/>
                  </a:lnTo>
                  <a:lnTo>
                    <a:pt x="124" y="132"/>
                  </a:lnTo>
                  <a:lnTo>
                    <a:pt x="110" y="132"/>
                  </a:lnTo>
                  <a:lnTo>
                    <a:pt x="100" y="132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100" y="140"/>
                  </a:lnTo>
                  <a:lnTo>
                    <a:pt x="110" y="144"/>
                  </a:lnTo>
                  <a:lnTo>
                    <a:pt x="118" y="148"/>
                  </a:lnTo>
                  <a:lnTo>
                    <a:pt x="122" y="148"/>
                  </a:lnTo>
                  <a:lnTo>
                    <a:pt x="128" y="144"/>
                  </a:lnTo>
                  <a:lnTo>
                    <a:pt x="140" y="140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46" y="146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50" y="152"/>
                  </a:lnTo>
                  <a:lnTo>
                    <a:pt x="160" y="150"/>
                  </a:lnTo>
                  <a:lnTo>
                    <a:pt x="168" y="148"/>
                  </a:lnTo>
                  <a:lnTo>
                    <a:pt x="176" y="146"/>
                  </a:lnTo>
                  <a:lnTo>
                    <a:pt x="184" y="148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198" y="142"/>
                  </a:lnTo>
                  <a:lnTo>
                    <a:pt x="192" y="140"/>
                  </a:lnTo>
                  <a:lnTo>
                    <a:pt x="184" y="138"/>
                  </a:lnTo>
                  <a:lnTo>
                    <a:pt x="184" y="136"/>
                  </a:lnTo>
                  <a:lnTo>
                    <a:pt x="186" y="134"/>
                  </a:lnTo>
                  <a:lnTo>
                    <a:pt x="196" y="130"/>
                  </a:lnTo>
                  <a:lnTo>
                    <a:pt x="206" y="130"/>
                  </a:lnTo>
                  <a:lnTo>
                    <a:pt x="216" y="128"/>
                  </a:lnTo>
                  <a:lnTo>
                    <a:pt x="220" y="126"/>
                  </a:lnTo>
                  <a:lnTo>
                    <a:pt x="226" y="124"/>
                  </a:lnTo>
                  <a:lnTo>
                    <a:pt x="230" y="120"/>
                  </a:lnTo>
                  <a:lnTo>
                    <a:pt x="234" y="118"/>
                  </a:lnTo>
                  <a:lnTo>
                    <a:pt x="246" y="118"/>
                  </a:lnTo>
                  <a:lnTo>
                    <a:pt x="262" y="118"/>
                  </a:lnTo>
                  <a:lnTo>
                    <a:pt x="286" y="114"/>
                  </a:lnTo>
                  <a:lnTo>
                    <a:pt x="298" y="112"/>
                  </a:lnTo>
                  <a:lnTo>
                    <a:pt x="304" y="108"/>
                  </a:lnTo>
                  <a:lnTo>
                    <a:pt x="306" y="104"/>
                  </a:lnTo>
                  <a:lnTo>
                    <a:pt x="304" y="102"/>
                  </a:lnTo>
                  <a:lnTo>
                    <a:pt x="298" y="98"/>
                  </a:lnTo>
                  <a:lnTo>
                    <a:pt x="290" y="96"/>
                  </a:lnTo>
                  <a:lnTo>
                    <a:pt x="280" y="96"/>
                  </a:lnTo>
                  <a:lnTo>
                    <a:pt x="270" y="98"/>
                  </a:lnTo>
                  <a:lnTo>
                    <a:pt x="256" y="98"/>
                  </a:lnTo>
                  <a:lnTo>
                    <a:pt x="258" y="98"/>
                  </a:lnTo>
                  <a:lnTo>
                    <a:pt x="260" y="96"/>
                  </a:lnTo>
                  <a:lnTo>
                    <a:pt x="262" y="94"/>
                  </a:lnTo>
                  <a:lnTo>
                    <a:pt x="262" y="92"/>
                  </a:lnTo>
                  <a:lnTo>
                    <a:pt x="258" y="90"/>
                  </a:lnTo>
                  <a:lnTo>
                    <a:pt x="250" y="88"/>
                  </a:lnTo>
                  <a:lnTo>
                    <a:pt x="228" y="88"/>
                  </a:lnTo>
                  <a:lnTo>
                    <a:pt x="208" y="90"/>
                  </a:lnTo>
                  <a:lnTo>
                    <a:pt x="202" y="92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202" y="100"/>
                  </a:lnTo>
                  <a:close/>
                  <a:moveTo>
                    <a:pt x="272" y="70"/>
                  </a:moveTo>
                  <a:lnTo>
                    <a:pt x="272" y="70"/>
                  </a:lnTo>
                  <a:lnTo>
                    <a:pt x="276" y="66"/>
                  </a:lnTo>
                  <a:lnTo>
                    <a:pt x="278" y="64"/>
                  </a:lnTo>
                  <a:lnTo>
                    <a:pt x="276" y="62"/>
                  </a:lnTo>
                  <a:lnTo>
                    <a:pt x="274" y="60"/>
                  </a:lnTo>
                  <a:lnTo>
                    <a:pt x="268" y="60"/>
                  </a:lnTo>
                  <a:lnTo>
                    <a:pt x="262" y="60"/>
                  </a:lnTo>
                  <a:lnTo>
                    <a:pt x="256" y="62"/>
                  </a:lnTo>
                  <a:lnTo>
                    <a:pt x="250" y="66"/>
                  </a:lnTo>
                  <a:lnTo>
                    <a:pt x="246" y="72"/>
                  </a:lnTo>
                  <a:lnTo>
                    <a:pt x="244" y="76"/>
                  </a:lnTo>
                  <a:lnTo>
                    <a:pt x="244" y="78"/>
                  </a:lnTo>
                  <a:lnTo>
                    <a:pt x="248" y="78"/>
                  </a:lnTo>
                  <a:lnTo>
                    <a:pt x="258" y="74"/>
                  </a:lnTo>
                  <a:lnTo>
                    <a:pt x="272" y="70"/>
                  </a:lnTo>
                  <a:close/>
                  <a:moveTo>
                    <a:pt x="228" y="142"/>
                  </a:moveTo>
                  <a:lnTo>
                    <a:pt x="228" y="142"/>
                  </a:lnTo>
                  <a:lnTo>
                    <a:pt x="222" y="144"/>
                  </a:lnTo>
                  <a:lnTo>
                    <a:pt x="220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6"/>
                  </a:lnTo>
                  <a:lnTo>
                    <a:pt x="226" y="156"/>
                  </a:lnTo>
                  <a:lnTo>
                    <a:pt x="232" y="156"/>
                  </a:lnTo>
                  <a:lnTo>
                    <a:pt x="238" y="154"/>
                  </a:lnTo>
                  <a:lnTo>
                    <a:pt x="246" y="148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6" y="140"/>
                  </a:lnTo>
                  <a:lnTo>
                    <a:pt x="242" y="138"/>
                  </a:lnTo>
                  <a:lnTo>
                    <a:pt x="228" y="142"/>
                  </a:lnTo>
                  <a:close/>
                  <a:moveTo>
                    <a:pt x="790" y="22"/>
                  </a:moveTo>
                  <a:lnTo>
                    <a:pt x="790" y="22"/>
                  </a:lnTo>
                  <a:lnTo>
                    <a:pt x="792" y="20"/>
                  </a:lnTo>
                  <a:lnTo>
                    <a:pt x="792" y="18"/>
                  </a:lnTo>
                  <a:lnTo>
                    <a:pt x="788" y="14"/>
                  </a:lnTo>
                  <a:lnTo>
                    <a:pt x="780" y="12"/>
                  </a:lnTo>
                  <a:lnTo>
                    <a:pt x="770" y="12"/>
                  </a:lnTo>
                  <a:lnTo>
                    <a:pt x="748" y="12"/>
                  </a:lnTo>
                  <a:lnTo>
                    <a:pt x="736" y="14"/>
                  </a:lnTo>
                  <a:lnTo>
                    <a:pt x="728" y="18"/>
                  </a:lnTo>
                  <a:lnTo>
                    <a:pt x="726" y="18"/>
                  </a:lnTo>
                  <a:lnTo>
                    <a:pt x="726" y="20"/>
                  </a:lnTo>
                  <a:lnTo>
                    <a:pt x="730" y="22"/>
                  </a:lnTo>
                  <a:lnTo>
                    <a:pt x="750" y="26"/>
                  </a:lnTo>
                  <a:lnTo>
                    <a:pt x="774" y="26"/>
                  </a:lnTo>
                  <a:lnTo>
                    <a:pt x="784" y="26"/>
                  </a:lnTo>
                  <a:lnTo>
                    <a:pt x="790" y="22"/>
                  </a:lnTo>
                  <a:close/>
                  <a:moveTo>
                    <a:pt x="596" y="154"/>
                  </a:moveTo>
                  <a:lnTo>
                    <a:pt x="596" y="154"/>
                  </a:lnTo>
                  <a:lnTo>
                    <a:pt x="588" y="158"/>
                  </a:lnTo>
                  <a:lnTo>
                    <a:pt x="586" y="160"/>
                  </a:lnTo>
                  <a:lnTo>
                    <a:pt x="588" y="162"/>
                  </a:lnTo>
                  <a:lnTo>
                    <a:pt x="592" y="164"/>
                  </a:lnTo>
                  <a:lnTo>
                    <a:pt x="608" y="164"/>
                  </a:lnTo>
                  <a:lnTo>
                    <a:pt x="628" y="164"/>
                  </a:lnTo>
                  <a:lnTo>
                    <a:pt x="634" y="162"/>
                  </a:lnTo>
                  <a:lnTo>
                    <a:pt x="638" y="160"/>
                  </a:lnTo>
                  <a:lnTo>
                    <a:pt x="636" y="158"/>
                  </a:lnTo>
                  <a:lnTo>
                    <a:pt x="632" y="156"/>
                  </a:lnTo>
                  <a:lnTo>
                    <a:pt x="618" y="152"/>
                  </a:lnTo>
                  <a:lnTo>
                    <a:pt x="610" y="152"/>
                  </a:lnTo>
                  <a:lnTo>
                    <a:pt x="600" y="154"/>
                  </a:lnTo>
                  <a:lnTo>
                    <a:pt x="596" y="154"/>
                  </a:lnTo>
                  <a:close/>
                  <a:moveTo>
                    <a:pt x="482" y="98"/>
                  </a:moveTo>
                  <a:lnTo>
                    <a:pt x="482" y="98"/>
                  </a:lnTo>
                  <a:lnTo>
                    <a:pt x="460" y="100"/>
                  </a:lnTo>
                  <a:lnTo>
                    <a:pt x="458" y="102"/>
                  </a:lnTo>
                  <a:lnTo>
                    <a:pt x="462" y="106"/>
                  </a:lnTo>
                  <a:lnTo>
                    <a:pt x="470" y="108"/>
                  </a:lnTo>
                  <a:lnTo>
                    <a:pt x="482" y="108"/>
                  </a:lnTo>
                  <a:lnTo>
                    <a:pt x="510" y="106"/>
                  </a:lnTo>
                  <a:lnTo>
                    <a:pt x="514" y="106"/>
                  </a:lnTo>
                  <a:lnTo>
                    <a:pt x="516" y="104"/>
                  </a:lnTo>
                  <a:lnTo>
                    <a:pt x="508" y="100"/>
                  </a:lnTo>
                  <a:lnTo>
                    <a:pt x="496" y="98"/>
                  </a:lnTo>
                  <a:lnTo>
                    <a:pt x="482" y="98"/>
                  </a:lnTo>
                  <a:close/>
                  <a:moveTo>
                    <a:pt x="796" y="100"/>
                  </a:moveTo>
                  <a:lnTo>
                    <a:pt x="796" y="100"/>
                  </a:lnTo>
                  <a:lnTo>
                    <a:pt x="822" y="96"/>
                  </a:lnTo>
                  <a:lnTo>
                    <a:pt x="842" y="92"/>
                  </a:lnTo>
                  <a:lnTo>
                    <a:pt x="848" y="90"/>
                  </a:lnTo>
                  <a:lnTo>
                    <a:pt x="854" y="88"/>
                  </a:lnTo>
                  <a:lnTo>
                    <a:pt x="856" y="84"/>
                  </a:lnTo>
                  <a:lnTo>
                    <a:pt x="858" y="78"/>
                  </a:lnTo>
                  <a:lnTo>
                    <a:pt x="856" y="70"/>
                  </a:lnTo>
                  <a:lnTo>
                    <a:pt x="852" y="66"/>
                  </a:lnTo>
                  <a:lnTo>
                    <a:pt x="844" y="62"/>
                  </a:lnTo>
                  <a:lnTo>
                    <a:pt x="836" y="60"/>
                  </a:lnTo>
                  <a:lnTo>
                    <a:pt x="828" y="60"/>
                  </a:lnTo>
                  <a:lnTo>
                    <a:pt x="820" y="60"/>
                  </a:lnTo>
                  <a:lnTo>
                    <a:pt x="812" y="62"/>
                  </a:lnTo>
                  <a:lnTo>
                    <a:pt x="806" y="66"/>
                  </a:lnTo>
                  <a:lnTo>
                    <a:pt x="800" y="70"/>
                  </a:lnTo>
                  <a:lnTo>
                    <a:pt x="796" y="72"/>
                  </a:lnTo>
                  <a:lnTo>
                    <a:pt x="784" y="74"/>
                  </a:lnTo>
                  <a:lnTo>
                    <a:pt x="768" y="76"/>
                  </a:lnTo>
                  <a:lnTo>
                    <a:pt x="758" y="80"/>
                  </a:lnTo>
                  <a:lnTo>
                    <a:pt x="748" y="86"/>
                  </a:lnTo>
                  <a:lnTo>
                    <a:pt x="742" y="90"/>
                  </a:lnTo>
                  <a:lnTo>
                    <a:pt x="740" y="94"/>
                  </a:lnTo>
                  <a:lnTo>
                    <a:pt x="742" y="98"/>
                  </a:lnTo>
                  <a:lnTo>
                    <a:pt x="748" y="100"/>
                  </a:lnTo>
                  <a:lnTo>
                    <a:pt x="758" y="102"/>
                  </a:lnTo>
                  <a:lnTo>
                    <a:pt x="768" y="102"/>
                  </a:lnTo>
                  <a:lnTo>
                    <a:pt x="796" y="100"/>
                  </a:lnTo>
                  <a:close/>
                  <a:moveTo>
                    <a:pt x="506" y="132"/>
                  </a:moveTo>
                  <a:lnTo>
                    <a:pt x="506" y="132"/>
                  </a:lnTo>
                  <a:lnTo>
                    <a:pt x="494" y="134"/>
                  </a:lnTo>
                  <a:lnTo>
                    <a:pt x="482" y="132"/>
                  </a:lnTo>
                  <a:lnTo>
                    <a:pt x="476" y="134"/>
                  </a:lnTo>
                  <a:lnTo>
                    <a:pt x="472" y="136"/>
                  </a:lnTo>
                  <a:lnTo>
                    <a:pt x="468" y="140"/>
                  </a:lnTo>
                  <a:lnTo>
                    <a:pt x="466" y="148"/>
                  </a:lnTo>
                  <a:lnTo>
                    <a:pt x="466" y="154"/>
                  </a:lnTo>
                  <a:lnTo>
                    <a:pt x="468" y="156"/>
                  </a:lnTo>
                  <a:lnTo>
                    <a:pt x="472" y="158"/>
                  </a:lnTo>
                  <a:lnTo>
                    <a:pt x="478" y="158"/>
                  </a:lnTo>
                  <a:lnTo>
                    <a:pt x="494" y="158"/>
                  </a:lnTo>
                  <a:lnTo>
                    <a:pt x="512" y="158"/>
                  </a:lnTo>
                  <a:lnTo>
                    <a:pt x="520" y="156"/>
                  </a:lnTo>
                  <a:lnTo>
                    <a:pt x="524" y="154"/>
                  </a:lnTo>
                  <a:lnTo>
                    <a:pt x="526" y="150"/>
                  </a:lnTo>
                  <a:lnTo>
                    <a:pt x="524" y="144"/>
                  </a:lnTo>
                  <a:lnTo>
                    <a:pt x="522" y="138"/>
                  </a:lnTo>
                  <a:lnTo>
                    <a:pt x="516" y="134"/>
                  </a:lnTo>
                  <a:lnTo>
                    <a:pt x="512" y="132"/>
                  </a:lnTo>
                  <a:lnTo>
                    <a:pt x="506" y="132"/>
                  </a:lnTo>
                  <a:close/>
                  <a:moveTo>
                    <a:pt x="456" y="58"/>
                  </a:moveTo>
                  <a:lnTo>
                    <a:pt x="456" y="58"/>
                  </a:lnTo>
                  <a:lnTo>
                    <a:pt x="460" y="58"/>
                  </a:lnTo>
                  <a:lnTo>
                    <a:pt x="464" y="58"/>
                  </a:lnTo>
                  <a:lnTo>
                    <a:pt x="470" y="58"/>
                  </a:lnTo>
                  <a:lnTo>
                    <a:pt x="480" y="58"/>
                  </a:lnTo>
                  <a:lnTo>
                    <a:pt x="486" y="58"/>
                  </a:lnTo>
                  <a:lnTo>
                    <a:pt x="492" y="62"/>
                  </a:lnTo>
                  <a:lnTo>
                    <a:pt x="496" y="64"/>
                  </a:lnTo>
                  <a:lnTo>
                    <a:pt x="500" y="64"/>
                  </a:lnTo>
                  <a:lnTo>
                    <a:pt x="508" y="60"/>
                  </a:lnTo>
                  <a:lnTo>
                    <a:pt x="524" y="56"/>
                  </a:lnTo>
                  <a:lnTo>
                    <a:pt x="548" y="52"/>
                  </a:lnTo>
                  <a:lnTo>
                    <a:pt x="552" y="52"/>
                  </a:lnTo>
                  <a:lnTo>
                    <a:pt x="550" y="50"/>
                  </a:lnTo>
                  <a:lnTo>
                    <a:pt x="540" y="48"/>
                  </a:lnTo>
                  <a:lnTo>
                    <a:pt x="498" y="44"/>
                  </a:lnTo>
                  <a:lnTo>
                    <a:pt x="492" y="44"/>
                  </a:lnTo>
                  <a:lnTo>
                    <a:pt x="488" y="44"/>
                  </a:lnTo>
                  <a:lnTo>
                    <a:pt x="488" y="46"/>
                  </a:lnTo>
                  <a:lnTo>
                    <a:pt x="490" y="48"/>
                  </a:lnTo>
                  <a:lnTo>
                    <a:pt x="494" y="52"/>
                  </a:lnTo>
                  <a:lnTo>
                    <a:pt x="492" y="54"/>
                  </a:lnTo>
                  <a:lnTo>
                    <a:pt x="488" y="54"/>
                  </a:lnTo>
                  <a:lnTo>
                    <a:pt x="462" y="52"/>
                  </a:lnTo>
                  <a:lnTo>
                    <a:pt x="454" y="54"/>
                  </a:lnTo>
                  <a:lnTo>
                    <a:pt x="454" y="56"/>
                  </a:lnTo>
                  <a:lnTo>
                    <a:pt x="456" y="58"/>
                  </a:lnTo>
                  <a:close/>
                  <a:moveTo>
                    <a:pt x="678" y="84"/>
                  </a:moveTo>
                  <a:lnTo>
                    <a:pt x="678" y="84"/>
                  </a:lnTo>
                  <a:lnTo>
                    <a:pt x="688" y="82"/>
                  </a:lnTo>
                  <a:lnTo>
                    <a:pt x="696" y="78"/>
                  </a:lnTo>
                  <a:lnTo>
                    <a:pt x="704" y="74"/>
                  </a:lnTo>
                  <a:lnTo>
                    <a:pt x="710" y="70"/>
                  </a:lnTo>
                  <a:lnTo>
                    <a:pt x="710" y="68"/>
                  </a:lnTo>
                  <a:lnTo>
                    <a:pt x="710" y="66"/>
                  </a:lnTo>
                  <a:lnTo>
                    <a:pt x="704" y="64"/>
                  </a:lnTo>
                  <a:lnTo>
                    <a:pt x="692" y="64"/>
                  </a:lnTo>
                  <a:lnTo>
                    <a:pt x="670" y="68"/>
                  </a:lnTo>
                  <a:lnTo>
                    <a:pt x="654" y="72"/>
                  </a:lnTo>
                  <a:lnTo>
                    <a:pt x="646" y="76"/>
                  </a:lnTo>
                  <a:lnTo>
                    <a:pt x="644" y="80"/>
                  </a:lnTo>
                  <a:lnTo>
                    <a:pt x="646" y="82"/>
                  </a:lnTo>
                  <a:lnTo>
                    <a:pt x="658" y="84"/>
                  </a:lnTo>
                  <a:lnTo>
                    <a:pt x="678" y="84"/>
                  </a:lnTo>
                  <a:close/>
                  <a:moveTo>
                    <a:pt x="568" y="44"/>
                  </a:moveTo>
                  <a:lnTo>
                    <a:pt x="568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0" y="42"/>
                  </a:lnTo>
                  <a:lnTo>
                    <a:pt x="570" y="38"/>
                  </a:lnTo>
                  <a:lnTo>
                    <a:pt x="556" y="34"/>
                  </a:lnTo>
                  <a:lnTo>
                    <a:pt x="544" y="30"/>
                  </a:lnTo>
                  <a:lnTo>
                    <a:pt x="536" y="28"/>
                  </a:lnTo>
                  <a:lnTo>
                    <a:pt x="528" y="30"/>
                  </a:lnTo>
                  <a:lnTo>
                    <a:pt x="518" y="34"/>
                  </a:lnTo>
                  <a:lnTo>
                    <a:pt x="510" y="38"/>
                  </a:lnTo>
                  <a:lnTo>
                    <a:pt x="508" y="40"/>
                  </a:lnTo>
                  <a:lnTo>
                    <a:pt x="510" y="40"/>
                  </a:lnTo>
                  <a:lnTo>
                    <a:pt x="520" y="40"/>
                  </a:lnTo>
                  <a:lnTo>
                    <a:pt x="542" y="42"/>
                  </a:lnTo>
                  <a:lnTo>
                    <a:pt x="568" y="44"/>
                  </a:lnTo>
                  <a:close/>
                  <a:moveTo>
                    <a:pt x="672" y="122"/>
                  </a:moveTo>
                  <a:lnTo>
                    <a:pt x="672" y="122"/>
                  </a:lnTo>
                  <a:lnTo>
                    <a:pt x="682" y="124"/>
                  </a:lnTo>
                  <a:lnTo>
                    <a:pt x="690" y="124"/>
                  </a:lnTo>
                  <a:lnTo>
                    <a:pt x="694" y="124"/>
                  </a:lnTo>
                  <a:lnTo>
                    <a:pt x="698" y="120"/>
                  </a:lnTo>
                  <a:lnTo>
                    <a:pt x="706" y="116"/>
                  </a:lnTo>
                  <a:lnTo>
                    <a:pt x="710" y="112"/>
                  </a:lnTo>
                  <a:lnTo>
                    <a:pt x="718" y="112"/>
                  </a:lnTo>
                  <a:lnTo>
                    <a:pt x="724" y="110"/>
                  </a:lnTo>
                  <a:lnTo>
                    <a:pt x="728" y="106"/>
                  </a:lnTo>
                  <a:lnTo>
                    <a:pt x="730" y="100"/>
                  </a:lnTo>
                  <a:lnTo>
                    <a:pt x="728" y="94"/>
                  </a:lnTo>
                  <a:lnTo>
                    <a:pt x="724" y="88"/>
                  </a:lnTo>
                  <a:lnTo>
                    <a:pt x="716" y="84"/>
                  </a:lnTo>
                  <a:lnTo>
                    <a:pt x="704" y="84"/>
                  </a:lnTo>
                  <a:lnTo>
                    <a:pt x="688" y="88"/>
                  </a:lnTo>
                  <a:lnTo>
                    <a:pt x="670" y="94"/>
                  </a:lnTo>
                  <a:lnTo>
                    <a:pt x="656" y="94"/>
                  </a:lnTo>
                  <a:lnTo>
                    <a:pt x="644" y="92"/>
                  </a:lnTo>
                  <a:lnTo>
                    <a:pt x="634" y="90"/>
                  </a:lnTo>
                  <a:lnTo>
                    <a:pt x="626" y="90"/>
                  </a:lnTo>
                  <a:lnTo>
                    <a:pt x="620" y="90"/>
                  </a:lnTo>
                  <a:lnTo>
                    <a:pt x="614" y="94"/>
                  </a:lnTo>
                  <a:lnTo>
                    <a:pt x="608" y="104"/>
                  </a:lnTo>
                  <a:lnTo>
                    <a:pt x="606" y="116"/>
                  </a:lnTo>
                  <a:lnTo>
                    <a:pt x="606" y="118"/>
                  </a:lnTo>
                  <a:lnTo>
                    <a:pt x="608" y="122"/>
                  </a:lnTo>
                  <a:lnTo>
                    <a:pt x="614" y="124"/>
                  </a:lnTo>
                  <a:lnTo>
                    <a:pt x="622" y="124"/>
                  </a:lnTo>
                  <a:lnTo>
                    <a:pt x="646" y="120"/>
                  </a:lnTo>
                  <a:lnTo>
                    <a:pt x="660" y="120"/>
                  </a:lnTo>
                  <a:lnTo>
                    <a:pt x="672" y="122"/>
                  </a:lnTo>
                  <a:close/>
                  <a:moveTo>
                    <a:pt x="4428" y="2314"/>
                  </a:moveTo>
                  <a:lnTo>
                    <a:pt x="4428" y="2314"/>
                  </a:lnTo>
                  <a:lnTo>
                    <a:pt x="4426" y="2314"/>
                  </a:lnTo>
                  <a:lnTo>
                    <a:pt x="4428" y="2314"/>
                  </a:lnTo>
                  <a:lnTo>
                    <a:pt x="4432" y="2310"/>
                  </a:lnTo>
                  <a:lnTo>
                    <a:pt x="4436" y="2306"/>
                  </a:lnTo>
                  <a:lnTo>
                    <a:pt x="4436" y="2302"/>
                  </a:lnTo>
                  <a:lnTo>
                    <a:pt x="4432" y="2304"/>
                  </a:lnTo>
                  <a:lnTo>
                    <a:pt x="4428" y="2314"/>
                  </a:lnTo>
                  <a:close/>
                  <a:moveTo>
                    <a:pt x="4510" y="2192"/>
                  </a:moveTo>
                  <a:lnTo>
                    <a:pt x="4510" y="2192"/>
                  </a:lnTo>
                  <a:lnTo>
                    <a:pt x="4508" y="2194"/>
                  </a:lnTo>
                  <a:lnTo>
                    <a:pt x="4506" y="2196"/>
                  </a:lnTo>
                  <a:lnTo>
                    <a:pt x="4502" y="2202"/>
                  </a:lnTo>
                  <a:lnTo>
                    <a:pt x="4498" y="2210"/>
                  </a:lnTo>
                  <a:lnTo>
                    <a:pt x="4496" y="2214"/>
                  </a:lnTo>
                  <a:lnTo>
                    <a:pt x="4492" y="2216"/>
                  </a:lnTo>
                  <a:lnTo>
                    <a:pt x="4482" y="2220"/>
                  </a:lnTo>
                  <a:lnTo>
                    <a:pt x="4476" y="2224"/>
                  </a:lnTo>
                  <a:lnTo>
                    <a:pt x="4476" y="2226"/>
                  </a:lnTo>
                  <a:lnTo>
                    <a:pt x="4474" y="2228"/>
                  </a:lnTo>
                  <a:lnTo>
                    <a:pt x="4478" y="2236"/>
                  </a:lnTo>
                  <a:lnTo>
                    <a:pt x="4480" y="2238"/>
                  </a:lnTo>
                  <a:lnTo>
                    <a:pt x="4482" y="2238"/>
                  </a:lnTo>
                  <a:lnTo>
                    <a:pt x="4484" y="2236"/>
                  </a:lnTo>
                  <a:lnTo>
                    <a:pt x="4490" y="2230"/>
                  </a:lnTo>
                  <a:lnTo>
                    <a:pt x="4494" y="2228"/>
                  </a:lnTo>
                  <a:lnTo>
                    <a:pt x="4498" y="2226"/>
                  </a:lnTo>
                  <a:lnTo>
                    <a:pt x="4504" y="2224"/>
                  </a:lnTo>
                  <a:lnTo>
                    <a:pt x="4508" y="2220"/>
                  </a:lnTo>
                  <a:lnTo>
                    <a:pt x="4510" y="2214"/>
                  </a:lnTo>
                  <a:lnTo>
                    <a:pt x="4512" y="2208"/>
                  </a:lnTo>
                  <a:lnTo>
                    <a:pt x="4512" y="2198"/>
                  </a:lnTo>
                  <a:lnTo>
                    <a:pt x="4512" y="2194"/>
                  </a:lnTo>
                  <a:lnTo>
                    <a:pt x="4510" y="2192"/>
                  </a:lnTo>
                  <a:close/>
                  <a:moveTo>
                    <a:pt x="4462" y="2262"/>
                  </a:moveTo>
                  <a:lnTo>
                    <a:pt x="4462" y="2262"/>
                  </a:lnTo>
                  <a:lnTo>
                    <a:pt x="4460" y="2260"/>
                  </a:lnTo>
                  <a:lnTo>
                    <a:pt x="4456" y="2262"/>
                  </a:lnTo>
                  <a:lnTo>
                    <a:pt x="4452" y="2272"/>
                  </a:lnTo>
                  <a:lnTo>
                    <a:pt x="4448" y="2284"/>
                  </a:lnTo>
                  <a:lnTo>
                    <a:pt x="4448" y="2292"/>
                  </a:lnTo>
                  <a:lnTo>
                    <a:pt x="4448" y="2294"/>
                  </a:lnTo>
                  <a:lnTo>
                    <a:pt x="4452" y="2292"/>
                  </a:lnTo>
                  <a:lnTo>
                    <a:pt x="4458" y="2282"/>
                  </a:lnTo>
                  <a:lnTo>
                    <a:pt x="4462" y="2272"/>
                  </a:lnTo>
                  <a:lnTo>
                    <a:pt x="4462" y="2266"/>
                  </a:lnTo>
                  <a:lnTo>
                    <a:pt x="4462" y="2262"/>
                  </a:lnTo>
                  <a:close/>
                  <a:moveTo>
                    <a:pt x="4486" y="4072"/>
                  </a:moveTo>
                  <a:lnTo>
                    <a:pt x="4486" y="4072"/>
                  </a:lnTo>
                  <a:lnTo>
                    <a:pt x="4482" y="4070"/>
                  </a:lnTo>
                  <a:lnTo>
                    <a:pt x="4482" y="4068"/>
                  </a:lnTo>
                  <a:lnTo>
                    <a:pt x="4480" y="4066"/>
                  </a:lnTo>
                  <a:lnTo>
                    <a:pt x="4478" y="4064"/>
                  </a:lnTo>
                  <a:lnTo>
                    <a:pt x="4474" y="4064"/>
                  </a:lnTo>
                  <a:lnTo>
                    <a:pt x="4470" y="4064"/>
                  </a:lnTo>
                  <a:lnTo>
                    <a:pt x="4460" y="4068"/>
                  </a:lnTo>
                  <a:lnTo>
                    <a:pt x="4450" y="4076"/>
                  </a:lnTo>
                  <a:lnTo>
                    <a:pt x="4448" y="4080"/>
                  </a:lnTo>
                  <a:lnTo>
                    <a:pt x="4448" y="4084"/>
                  </a:lnTo>
                  <a:lnTo>
                    <a:pt x="4446" y="4088"/>
                  </a:lnTo>
                  <a:lnTo>
                    <a:pt x="4442" y="4094"/>
                  </a:lnTo>
                  <a:lnTo>
                    <a:pt x="4440" y="4100"/>
                  </a:lnTo>
                  <a:lnTo>
                    <a:pt x="4438" y="4104"/>
                  </a:lnTo>
                  <a:lnTo>
                    <a:pt x="4440" y="4106"/>
                  </a:lnTo>
                  <a:lnTo>
                    <a:pt x="4442" y="4104"/>
                  </a:lnTo>
                  <a:lnTo>
                    <a:pt x="4448" y="4104"/>
                  </a:lnTo>
                  <a:lnTo>
                    <a:pt x="4458" y="4106"/>
                  </a:lnTo>
                  <a:lnTo>
                    <a:pt x="4462" y="4106"/>
                  </a:lnTo>
                  <a:lnTo>
                    <a:pt x="4466" y="4106"/>
                  </a:lnTo>
                  <a:lnTo>
                    <a:pt x="4470" y="4102"/>
                  </a:lnTo>
                  <a:lnTo>
                    <a:pt x="4474" y="4098"/>
                  </a:lnTo>
                  <a:lnTo>
                    <a:pt x="4478" y="4094"/>
                  </a:lnTo>
                  <a:lnTo>
                    <a:pt x="4480" y="4092"/>
                  </a:lnTo>
                  <a:lnTo>
                    <a:pt x="4482" y="4090"/>
                  </a:lnTo>
                  <a:lnTo>
                    <a:pt x="4484" y="4082"/>
                  </a:lnTo>
                  <a:lnTo>
                    <a:pt x="4488" y="4074"/>
                  </a:lnTo>
                  <a:lnTo>
                    <a:pt x="4488" y="4072"/>
                  </a:lnTo>
                  <a:lnTo>
                    <a:pt x="4486" y="4072"/>
                  </a:lnTo>
                  <a:close/>
                  <a:moveTo>
                    <a:pt x="2916" y="5240"/>
                  </a:moveTo>
                  <a:lnTo>
                    <a:pt x="2916" y="5240"/>
                  </a:lnTo>
                  <a:lnTo>
                    <a:pt x="2912" y="5240"/>
                  </a:lnTo>
                  <a:lnTo>
                    <a:pt x="2908" y="5240"/>
                  </a:lnTo>
                  <a:lnTo>
                    <a:pt x="2902" y="5244"/>
                  </a:lnTo>
                  <a:lnTo>
                    <a:pt x="2898" y="5248"/>
                  </a:lnTo>
                  <a:lnTo>
                    <a:pt x="2896" y="5252"/>
                  </a:lnTo>
                  <a:lnTo>
                    <a:pt x="2896" y="5260"/>
                  </a:lnTo>
                  <a:lnTo>
                    <a:pt x="2896" y="5264"/>
                  </a:lnTo>
                  <a:lnTo>
                    <a:pt x="2894" y="5266"/>
                  </a:lnTo>
                  <a:lnTo>
                    <a:pt x="2890" y="5266"/>
                  </a:lnTo>
                  <a:lnTo>
                    <a:pt x="2888" y="5270"/>
                  </a:lnTo>
                  <a:lnTo>
                    <a:pt x="2892" y="5272"/>
                  </a:lnTo>
                  <a:lnTo>
                    <a:pt x="2904" y="5274"/>
                  </a:lnTo>
                  <a:lnTo>
                    <a:pt x="2914" y="5274"/>
                  </a:lnTo>
                  <a:lnTo>
                    <a:pt x="2916" y="5272"/>
                  </a:lnTo>
                  <a:lnTo>
                    <a:pt x="2918" y="5272"/>
                  </a:lnTo>
                  <a:lnTo>
                    <a:pt x="2918" y="5266"/>
                  </a:lnTo>
                  <a:lnTo>
                    <a:pt x="2920" y="5258"/>
                  </a:lnTo>
                  <a:lnTo>
                    <a:pt x="2924" y="5250"/>
                  </a:lnTo>
                  <a:lnTo>
                    <a:pt x="2924" y="5246"/>
                  </a:lnTo>
                  <a:lnTo>
                    <a:pt x="2922" y="5242"/>
                  </a:lnTo>
                  <a:lnTo>
                    <a:pt x="2916" y="5240"/>
                  </a:lnTo>
                  <a:close/>
                  <a:moveTo>
                    <a:pt x="2868" y="5234"/>
                  </a:moveTo>
                  <a:lnTo>
                    <a:pt x="2868" y="5234"/>
                  </a:lnTo>
                  <a:lnTo>
                    <a:pt x="2866" y="5232"/>
                  </a:lnTo>
                  <a:lnTo>
                    <a:pt x="2864" y="5232"/>
                  </a:lnTo>
                  <a:lnTo>
                    <a:pt x="2860" y="5234"/>
                  </a:lnTo>
                  <a:lnTo>
                    <a:pt x="2854" y="5238"/>
                  </a:lnTo>
                  <a:lnTo>
                    <a:pt x="2850" y="5238"/>
                  </a:lnTo>
                  <a:lnTo>
                    <a:pt x="2844" y="5236"/>
                  </a:lnTo>
                  <a:lnTo>
                    <a:pt x="2838" y="5234"/>
                  </a:lnTo>
                  <a:lnTo>
                    <a:pt x="2836" y="5234"/>
                  </a:lnTo>
                  <a:lnTo>
                    <a:pt x="2834" y="5236"/>
                  </a:lnTo>
                  <a:lnTo>
                    <a:pt x="2834" y="5240"/>
                  </a:lnTo>
                  <a:lnTo>
                    <a:pt x="2836" y="5246"/>
                  </a:lnTo>
                  <a:lnTo>
                    <a:pt x="2840" y="5248"/>
                  </a:lnTo>
                  <a:lnTo>
                    <a:pt x="2844" y="5250"/>
                  </a:lnTo>
                  <a:lnTo>
                    <a:pt x="2850" y="5252"/>
                  </a:lnTo>
                  <a:lnTo>
                    <a:pt x="2856" y="5256"/>
                  </a:lnTo>
                  <a:lnTo>
                    <a:pt x="2860" y="5262"/>
                  </a:lnTo>
                  <a:lnTo>
                    <a:pt x="2860" y="5266"/>
                  </a:lnTo>
                  <a:lnTo>
                    <a:pt x="2860" y="5270"/>
                  </a:lnTo>
                  <a:lnTo>
                    <a:pt x="2862" y="5270"/>
                  </a:lnTo>
                  <a:lnTo>
                    <a:pt x="2866" y="5270"/>
                  </a:lnTo>
                  <a:lnTo>
                    <a:pt x="2868" y="5266"/>
                  </a:lnTo>
                  <a:lnTo>
                    <a:pt x="2870" y="5260"/>
                  </a:lnTo>
                  <a:lnTo>
                    <a:pt x="2876" y="5254"/>
                  </a:lnTo>
                  <a:lnTo>
                    <a:pt x="2882" y="5250"/>
                  </a:lnTo>
                  <a:lnTo>
                    <a:pt x="2882" y="5246"/>
                  </a:lnTo>
                  <a:lnTo>
                    <a:pt x="2882" y="5244"/>
                  </a:lnTo>
                  <a:lnTo>
                    <a:pt x="2876" y="5240"/>
                  </a:lnTo>
                  <a:lnTo>
                    <a:pt x="2868" y="5234"/>
                  </a:lnTo>
                  <a:close/>
                  <a:moveTo>
                    <a:pt x="2906" y="5026"/>
                  </a:moveTo>
                  <a:lnTo>
                    <a:pt x="2906" y="5026"/>
                  </a:lnTo>
                  <a:lnTo>
                    <a:pt x="2906" y="5016"/>
                  </a:lnTo>
                  <a:lnTo>
                    <a:pt x="2906" y="5006"/>
                  </a:lnTo>
                  <a:lnTo>
                    <a:pt x="2904" y="5000"/>
                  </a:lnTo>
                  <a:lnTo>
                    <a:pt x="2902" y="5000"/>
                  </a:lnTo>
                  <a:lnTo>
                    <a:pt x="2900" y="5002"/>
                  </a:lnTo>
                  <a:lnTo>
                    <a:pt x="2898" y="5010"/>
                  </a:lnTo>
                  <a:lnTo>
                    <a:pt x="2898" y="5018"/>
                  </a:lnTo>
                  <a:lnTo>
                    <a:pt x="2898" y="5026"/>
                  </a:lnTo>
                  <a:lnTo>
                    <a:pt x="2896" y="5036"/>
                  </a:lnTo>
                  <a:lnTo>
                    <a:pt x="2896" y="5038"/>
                  </a:lnTo>
                  <a:lnTo>
                    <a:pt x="2898" y="5038"/>
                  </a:lnTo>
                  <a:lnTo>
                    <a:pt x="2902" y="5034"/>
                  </a:lnTo>
                  <a:lnTo>
                    <a:pt x="2906" y="5026"/>
                  </a:lnTo>
                  <a:close/>
                  <a:moveTo>
                    <a:pt x="3284" y="4314"/>
                  </a:moveTo>
                  <a:lnTo>
                    <a:pt x="3284" y="4314"/>
                  </a:lnTo>
                  <a:lnTo>
                    <a:pt x="3286" y="4316"/>
                  </a:lnTo>
                  <a:lnTo>
                    <a:pt x="3288" y="4318"/>
                  </a:lnTo>
                  <a:lnTo>
                    <a:pt x="3290" y="4318"/>
                  </a:lnTo>
                  <a:lnTo>
                    <a:pt x="3290" y="4316"/>
                  </a:lnTo>
                  <a:lnTo>
                    <a:pt x="3290" y="4314"/>
                  </a:lnTo>
                  <a:lnTo>
                    <a:pt x="3288" y="4312"/>
                  </a:lnTo>
                  <a:lnTo>
                    <a:pt x="3284" y="4314"/>
                  </a:lnTo>
                  <a:close/>
                  <a:moveTo>
                    <a:pt x="3284" y="4332"/>
                  </a:moveTo>
                  <a:lnTo>
                    <a:pt x="3284" y="4332"/>
                  </a:lnTo>
                  <a:lnTo>
                    <a:pt x="3284" y="4330"/>
                  </a:lnTo>
                  <a:lnTo>
                    <a:pt x="3282" y="4330"/>
                  </a:lnTo>
                  <a:lnTo>
                    <a:pt x="3278" y="4336"/>
                  </a:lnTo>
                  <a:lnTo>
                    <a:pt x="3278" y="4344"/>
                  </a:lnTo>
                  <a:lnTo>
                    <a:pt x="3278" y="4350"/>
                  </a:lnTo>
                  <a:lnTo>
                    <a:pt x="3282" y="4354"/>
                  </a:lnTo>
                  <a:lnTo>
                    <a:pt x="3284" y="4358"/>
                  </a:lnTo>
                  <a:lnTo>
                    <a:pt x="3286" y="4358"/>
                  </a:lnTo>
                  <a:lnTo>
                    <a:pt x="3286" y="4354"/>
                  </a:lnTo>
                  <a:lnTo>
                    <a:pt x="3284" y="4332"/>
                  </a:lnTo>
                  <a:close/>
                  <a:moveTo>
                    <a:pt x="2868" y="5178"/>
                  </a:moveTo>
                  <a:lnTo>
                    <a:pt x="2868" y="5178"/>
                  </a:lnTo>
                  <a:lnTo>
                    <a:pt x="2870" y="5178"/>
                  </a:lnTo>
                  <a:lnTo>
                    <a:pt x="2872" y="5178"/>
                  </a:lnTo>
                  <a:lnTo>
                    <a:pt x="2874" y="5178"/>
                  </a:lnTo>
                  <a:lnTo>
                    <a:pt x="2876" y="5178"/>
                  </a:lnTo>
                  <a:lnTo>
                    <a:pt x="2876" y="5176"/>
                  </a:lnTo>
                  <a:lnTo>
                    <a:pt x="2874" y="5174"/>
                  </a:lnTo>
                  <a:lnTo>
                    <a:pt x="2872" y="5172"/>
                  </a:lnTo>
                  <a:lnTo>
                    <a:pt x="2866" y="5172"/>
                  </a:lnTo>
                  <a:lnTo>
                    <a:pt x="2862" y="5174"/>
                  </a:lnTo>
                  <a:lnTo>
                    <a:pt x="2864" y="5176"/>
                  </a:lnTo>
                  <a:lnTo>
                    <a:pt x="2866" y="5178"/>
                  </a:lnTo>
                  <a:lnTo>
                    <a:pt x="2868" y="5178"/>
                  </a:lnTo>
                  <a:close/>
                  <a:moveTo>
                    <a:pt x="2798" y="5190"/>
                  </a:moveTo>
                  <a:lnTo>
                    <a:pt x="2798" y="5190"/>
                  </a:lnTo>
                  <a:lnTo>
                    <a:pt x="2804" y="5186"/>
                  </a:lnTo>
                  <a:lnTo>
                    <a:pt x="2812" y="5182"/>
                  </a:lnTo>
                  <a:lnTo>
                    <a:pt x="2818" y="5180"/>
                  </a:lnTo>
                  <a:lnTo>
                    <a:pt x="2818" y="5178"/>
                  </a:lnTo>
                  <a:lnTo>
                    <a:pt x="2818" y="5176"/>
                  </a:lnTo>
                  <a:lnTo>
                    <a:pt x="2814" y="5174"/>
                  </a:lnTo>
                  <a:lnTo>
                    <a:pt x="2810" y="5174"/>
                  </a:lnTo>
                  <a:lnTo>
                    <a:pt x="2804" y="5176"/>
                  </a:lnTo>
                  <a:lnTo>
                    <a:pt x="2794" y="5176"/>
                  </a:lnTo>
                  <a:lnTo>
                    <a:pt x="2780" y="5174"/>
                  </a:lnTo>
                  <a:lnTo>
                    <a:pt x="2770" y="5176"/>
                  </a:lnTo>
                  <a:lnTo>
                    <a:pt x="2764" y="5180"/>
                  </a:lnTo>
                  <a:lnTo>
                    <a:pt x="2764" y="5182"/>
                  </a:lnTo>
                  <a:lnTo>
                    <a:pt x="2764" y="5186"/>
                  </a:lnTo>
                  <a:lnTo>
                    <a:pt x="2768" y="5188"/>
                  </a:lnTo>
                  <a:lnTo>
                    <a:pt x="2780" y="5192"/>
                  </a:lnTo>
                  <a:lnTo>
                    <a:pt x="2790" y="5192"/>
                  </a:lnTo>
                  <a:lnTo>
                    <a:pt x="2796" y="5192"/>
                  </a:lnTo>
                  <a:lnTo>
                    <a:pt x="2798" y="5190"/>
                  </a:lnTo>
                  <a:close/>
                  <a:moveTo>
                    <a:pt x="4914" y="1916"/>
                  </a:moveTo>
                  <a:lnTo>
                    <a:pt x="4914" y="1916"/>
                  </a:lnTo>
                  <a:lnTo>
                    <a:pt x="4910" y="1920"/>
                  </a:lnTo>
                  <a:lnTo>
                    <a:pt x="4910" y="1924"/>
                  </a:lnTo>
                  <a:lnTo>
                    <a:pt x="4912" y="1928"/>
                  </a:lnTo>
                  <a:lnTo>
                    <a:pt x="4914" y="1934"/>
                  </a:lnTo>
                  <a:lnTo>
                    <a:pt x="4926" y="1944"/>
                  </a:lnTo>
                  <a:lnTo>
                    <a:pt x="4938" y="1954"/>
                  </a:lnTo>
                  <a:lnTo>
                    <a:pt x="4942" y="1958"/>
                  </a:lnTo>
                  <a:lnTo>
                    <a:pt x="4942" y="1954"/>
                  </a:lnTo>
                  <a:lnTo>
                    <a:pt x="4940" y="1946"/>
                  </a:lnTo>
                  <a:lnTo>
                    <a:pt x="4936" y="1936"/>
                  </a:lnTo>
                  <a:lnTo>
                    <a:pt x="4930" y="1926"/>
                  </a:lnTo>
                  <a:lnTo>
                    <a:pt x="4924" y="1918"/>
                  </a:lnTo>
                  <a:lnTo>
                    <a:pt x="4918" y="1914"/>
                  </a:lnTo>
                  <a:lnTo>
                    <a:pt x="4916" y="1914"/>
                  </a:lnTo>
                  <a:lnTo>
                    <a:pt x="4914" y="1916"/>
                  </a:lnTo>
                  <a:close/>
                  <a:moveTo>
                    <a:pt x="4520" y="2200"/>
                  </a:moveTo>
                  <a:lnTo>
                    <a:pt x="4520" y="2200"/>
                  </a:lnTo>
                  <a:lnTo>
                    <a:pt x="4522" y="2200"/>
                  </a:lnTo>
                  <a:lnTo>
                    <a:pt x="4524" y="2200"/>
                  </a:lnTo>
                  <a:lnTo>
                    <a:pt x="4528" y="2196"/>
                  </a:lnTo>
                  <a:lnTo>
                    <a:pt x="4528" y="2192"/>
                  </a:lnTo>
                  <a:lnTo>
                    <a:pt x="4528" y="2188"/>
                  </a:lnTo>
                  <a:lnTo>
                    <a:pt x="4524" y="2188"/>
                  </a:lnTo>
                  <a:lnTo>
                    <a:pt x="4520" y="2190"/>
                  </a:lnTo>
                  <a:lnTo>
                    <a:pt x="4518" y="2194"/>
                  </a:lnTo>
                  <a:lnTo>
                    <a:pt x="4518" y="2196"/>
                  </a:lnTo>
                  <a:lnTo>
                    <a:pt x="4520" y="2200"/>
                  </a:lnTo>
                  <a:close/>
                  <a:moveTo>
                    <a:pt x="4814" y="1702"/>
                  </a:moveTo>
                  <a:lnTo>
                    <a:pt x="4814" y="1702"/>
                  </a:lnTo>
                  <a:lnTo>
                    <a:pt x="4812" y="1704"/>
                  </a:lnTo>
                  <a:lnTo>
                    <a:pt x="4812" y="1706"/>
                  </a:lnTo>
                  <a:lnTo>
                    <a:pt x="4816" y="1706"/>
                  </a:lnTo>
                  <a:lnTo>
                    <a:pt x="4832" y="1700"/>
                  </a:lnTo>
                  <a:lnTo>
                    <a:pt x="4842" y="1696"/>
                  </a:lnTo>
                  <a:lnTo>
                    <a:pt x="4850" y="1690"/>
                  </a:lnTo>
                  <a:lnTo>
                    <a:pt x="4856" y="1684"/>
                  </a:lnTo>
                  <a:lnTo>
                    <a:pt x="4858" y="1678"/>
                  </a:lnTo>
                  <a:lnTo>
                    <a:pt x="4856" y="1674"/>
                  </a:lnTo>
                  <a:lnTo>
                    <a:pt x="4852" y="1672"/>
                  </a:lnTo>
                  <a:lnTo>
                    <a:pt x="4848" y="1672"/>
                  </a:lnTo>
                  <a:lnTo>
                    <a:pt x="4842" y="1674"/>
                  </a:lnTo>
                  <a:lnTo>
                    <a:pt x="4828" y="1686"/>
                  </a:lnTo>
                  <a:lnTo>
                    <a:pt x="4814" y="1702"/>
                  </a:lnTo>
                  <a:close/>
                  <a:moveTo>
                    <a:pt x="3278" y="4364"/>
                  </a:moveTo>
                  <a:lnTo>
                    <a:pt x="3278" y="4364"/>
                  </a:lnTo>
                  <a:lnTo>
                    <a:pt x="3276" y="4362"/>
                  </a:lnTo>
                  <a:lnTo>
                    <a:pt x="3274" y="4362"/>
                  </a:lnTo>
                  <a:lnTo>
                    <a:pt x="3278" y="4384"/>
                  </a:lnTo>
                  <a:lnTo>
                    <a:pt x="3278" y="4398"/>
                  </a:lnTo>
                  <a:lnTo>
                    <a:pt x="3278" y="4400"/>
                  </a:lnTo>
                  <a:lnTo>
                    <a:pt x="3276" y="4402"/>
                  </a:lnTo>
                  <a:lnTo>
                    <a:pt x="3272" y="4402"/>
                  </a:lnTo>
                  <a:lnTo>
                    <a:pt x="3266" y="4398"/>
                  </a:lnTo>
                  <a:lnTo>
                    <a:pt x="3264" y="4400"/>
                  </a:lnTo>
                  <a:lnTo>
                    <a:pt x="3264" y="4406"/>
                  </a:lnTo>
                  <a:lnTo>
                    <a:pt x="3262" y="4408"/>
                  </a:lnTo>
                  <a:lnTo>
                    <a:pt x="3260" y="4408"/>
                  </a:lnTo>
                  <a:lnTo>
                    <a:pt x="3256" y="4404"/>
                  </a:lnTo>
                  <a:lnTo>
                    <a:pt x="3254" y="4402"/>
                  </a:lnTo>
                  <a:lnTo>
                    <a:pt x="3252" y="4400"/>
                  </a:lnTo>
                  <a:lnTo>
                    <a:pt x="3250" y="4402"/>
                  </a:lnTo>
                  <a:lnTo>
                    <a:pt x="3248" y="4404"/>
                  </a:lnTo>
                  <a:lnTo>
                    <a:pt x="3248" y="4424"/>
                  </a:lnTo>
                  <a:lnTo>
                    <a:pt x="3248" y="4426"/>
                  </a:lnTo>
                  <a:lnTo>
                    <a:pt x="3246" y="4426"/>
                  </a:lnTo>
                  <a:lnTo>
                    <a:pt x="3240" y="4422"/>
                  </a:lnTo>
                  <a:lnTo>
                    <a:pt x="3238" y="4422"/>
                  </a:lnTo>
                  <a:lnTo>
                    <a:pt x="3234" y="4420"/>
                  </a:lnTo>
                  <a:lnTo>
                    <a:pt x="3232" y="4422"/>
                  </a:lnTo>
                  <a:lnTo>
                    <a:pt x="3230" y="4428"/>
                  </a:lnTo>
                  <a:lnTo>
                    <a:pt x="3226" y="4438"/>
                  </a:lnTo>
                  <a:lnTo>
                    <a:pt x="3224" y="4440"/>
                  </a:lnTo>
                  <a:lnTo>
                    <a:pt x="3220" y="4440"/>
                  </a:lnTo>
                  <a:lnTo>
                    <a:pt x="3214" y="4444"/>
                  </a:lnTo>
                  <a:lnTo>
                    <a:pt x="3210" y="4446"/>
                  </a:lnTo>
                  <a:lnTo>
                    <a:pt x="3212" y="4440"/>
                  </a:lnTo>
                  <a:lnTo>
                    <a:pt x="3212" y="4432"/>
                  </a:lnTo>
                  <a:lnTo>
                    <a:pt x="3210" y="4424"/>
                  </a:lnTo>
                  <a:lnTo>
                    <a:pt x="3208" y="4420"/>
                  </a:lnTo>
                  <a:lnTo>
                    <a:pt x="3204" y="4418"/>
                  </a:lnTo>
                  <a:lnTo>
                    <a:pt x="3200" y="4418"/>
                  </a:lnTo>
                  <a:lnTo>
                    <a:pt x="3198" y="4420"/>
                  </a:lnTo>
                  <a:lnTo>
                    <a:pt x="3198" y="4418"/>
                  </a:lnTo>
                  <a:lnTo>
                    <a:pt x="3196" y="4416"/>
                  </a:lnTo>
                  <a:lnTo>
                    <a:pt x="3194" y="4414"/>
                  </a:lnTo>
                  <a:lnTo>
                    <a:pt x="3192" y="4416"/>
                  </a:lnTo>
                  <a:lnTo>
                    <a:pt x="3192" y="4420"/>
                  </a:lnTo>
                  <a:lnTo>
                    <a:pt x="3190" y="4422"/>
                  </a:lnTo>
                  <a:lnTo>
                    <a:pt x="3188" y="4424"/>
                  </a:lnTo>
                  <a:lnTo>
                    <a:pt x="3186" y="4424"/>
                  </a:lnTo>
                  <a:lnTo>
                    <a:pt x="3182" y="4424"/>
                  </a:lnTo>
                  <a:lnTo>
                    <a:pt x="3178" y="4428"/>
                  </a:lnTo>
                  <a:lnTo>
                    <a:pt x="3176" y="4432"/>
                  </a:lnTo>
                  <a:lnTo>
                    <a:pt x="3178" y="4438"/>
                  </a:lnTo>
                  <a:lnTo>
                    <a:pt x="3178" y="4440"/>
                  </a:lnTo>
                  <a:lnTo>
                    <a:pt x="3174" y="4442"/>
                  </a:lnTo>
                  <a:lnTo>
                    <a:pt x="3170" y="4444"/>
                  </a:lnTo>
                  <a:lnTo>
                    <a:pt x="3166" y="4442"/>
                  </a:lnTo>
                  <a:lnTo>
                    <a:pt x="3164" y="4442"/>
                  </a:lnTo>
                  <a:lnTo>
                    <a:pt x="3162" y="4442"/>
                  </a:lnTo>
                  <a:lnTo>
                    <a:pt x="3160" y="4444"/>
                  </a:lnTo>
                  <a:lnTo>
                    <a:pt x="3156" y="4446"/>
                  </a:lnTo>
                  <a:lnTo>
                    <a:pt x="3150" y="4448"/>
                  </a:lnTo>
                  <a:lnTo>
                    <a:pt x="3146" y="4452"/>
                  </a:lnTo>
                  <a:lnTo>
                    <a:pt x="3142" y="4458"/>
                  </a:lnTo>
                  <a:lnTo>
                    <a:pt x="3140" y="4462"/>
                  </a:lnTo>
                  <a:lnTo>
                    <a:pt x="3140" y="4472"/>
                  </a:lnTo>
                  <a:lnTo>
                    <a:pt x="3138" y="4478"/>
                  </a:lnTo>
                  <a:lnTo>
                    <a:pt x="3134" y="4488"/>
                  </a:lnTo>
                  <a:lnTo>
                    <a:pt x="3132" y="4492"/>
                  </a:lnTo>
                  <a:lnTo>
                    <a:pt x="3134" y="4496"/>
                  </a:lnTo>
                  <a:lnTo>
                    <a:pt x="3136" y="4500"/>
                  </a:lnTo>
                  <a:lnTo>
                    <a:pt x="3138" y="4504"/>
                  </a:lnTo>
                  <a:lnTo>
                    <a:pt x="3140" y="4504"/>
                  </a:lnTo>
                  <a:lnTo>
                    <a:pt x="3144" y="4500"/>
                  </a:lnTo>
                  <a:lnTo>
                    <a:pt x="3148" y="4488"/>
                  </a:lnTo>
                  <a:lnTo>
                    <a:pt x="3150" y="4480"/>
                  </a:lnTo>
                  <a:lnTo>
                    <a:pt x="3152" y="4478"/>
                  </a:lnTo>
                  <a:lnTo>
                    <a:pt x="3152" y="4476"/>
                  </a:lnTo>
                  <a:lnTo>
                    <a:pt x="3154" y="4474"/>
                  </a:lnTo>
                  <a:lnTo>
                    <a:pt x="3156" y="4472"/>
                  </a:lnTo>
                  <a:lnTo>
                    <a:pt x="3156" y="4470"/>
                  </a:lnTo>
                  <a:lnTo>
                    <a:pt x="3158" y="4466"/>
                  </a:lnTo>
                  <a:lnTo>
                    <a:pt x="3160" y="4462"/>
                  </a:lnTo>
                  <a:lnTo>
                    <a:pt x="3164" y="4460"/>
                  </a:lnTo>
                  <a:lnTo>
                    <a:pt x="3168" y="4462"/>
                  </a:lnTo>
                  <a:lnTo>
                    <a:pt x="3170" y="4466"/>
                  </a:lnTo>
                  <a:lnTo>
                    <a:pt x="3168" y="4472"/>
                  </a:lnTo>
                  <a:lnTo>
                    <a:pt x="3168" y="4474"/>
                  </a:lnTo>
                  <a:lnTo>
                    <a:pt x="3172" y="4474"/>
                  </a:lnTo>
                  <a:lnTo>
                    <a:pt x="3178" y="4472"/>
                  </a:lnTo>
                  <a:lnTo>
                    <a:pt x="3182" y="4466"/>
                  </a:lnTo>
                  <a:lnTo>
                    <a:pt x="3184" y="4462"/>
                  </a:lnTo>
                  <a:lnTo>
                    <a:pt x="3184" y="4466"/>
                  </a:lnTo>
                  <a:lnTo>
                    <a:pt x="3184" y="4472"/>
                  </a:lnTo>
                  <a:lnTo>
                    <a:pt x="3184" y="4474"/>
                  </a:lnTo>
                  <a:lnTo>
                    <a:pt x="3186" y="4476"/>
                  </a:lnTo>
                  <a:lnTo>
                    <a:pt x="3192" y="4478"/>
                  </a:lnTo>
                  <a:lnTo>
                    <a:pt x="3194" y="4480"/>
                  </a:lnTo>
                  <a:lnTo>
                    <a:pt x="3194" y="4476"/>
                  </a:lnTo>
                  <a:lnTo>
                    <a:pt x="3194" y="4470"/>
                  </a:lnTo>
                  <a:lnTo>
                    <a:pt x="3196" y="4466"/>
                  </a:lnTo>
                  <a:lnTo>
                    <a:pt x="3198" y="4464"/>
                  </a:lnTo>
                  <a:lnTo>
                    <a:pt x="3196" y="4462"/>
                  </a:lnTo>
                  <a:lnTo>
                    <a:pt x="3194" y="4460"/>
                  </a:lnTo>
                  <a:lnTo>
                    <a:pt x="3196" y="4458"/>
                  </a:lnTo>
                  <a:lnTo>
                    <a:pt x="3200" y="4458"/>
                  </a:lnTo>
                  <a:lnTo>
                    <a:pt x="3206" y="4460"/>
                  </a:lnTo>
                  <a:lnTo>
                    <a:pt x="3210" y="4464"/>
                  </a:lnTo>
                  <a:lnTo>
                    <a:pt x="3216" y="4466"/>
                  </a:lnTo>
                  <a:lnTo>
                    <a:pt x="3218" y="4468"/>
                  </a:lnTo>
                  <a:lnTo>
                    <a:pt x="3222" y="4472"/>
                  </a:lnTo>
                  <a:lnTo>
                    <a:pt x="3222" y="4476"/>
                  </a:lnTo>
                  <a:lnTo>
                    <a:pt x="3224" y="4478"/>
                  </a:lnTo>
                  <a:lnTo>
                    <a:pt x="3226" y="4478"/>
                  </a:lnTo>
                  <a:lnTo>
                    <a:pt x="3226" y="4482"/>
                  </a:lnTo>
                  <a:lnTo>
                    <a:pt x="3224" y="4486"/>
                  </a:lnTo>
                  <a:lnTo>
                    <a:pt x="3220" y="4492"/>
                  </a:lnTo>
                  <a:lnTo>
                    <a:pt x="3216" y="4500"/>
                  </a:lnTo>
                  <a:lnTo>
                    <a:pt x="3216" y="4502"/>
                  </a:lnTo>
                  <a:lnTo>
                    <a:pt x="3216" y="4506"/>
                  </a:lnTo>
                  <a:lnTo>
                    <a:pt x="3218" y="4520"/>
                  </a:lnTo>
                  <a:lnTo>
                    <a:pt x="3220" y="4526"/>
                  </a:lnTo>
                  <a:lnTo>
                    <a:pt x="3222" y="4532"/>
                  </a:lnTo>
                  <a:lnTo>
                    <a:pt x="3224" y="4534"/>
                  </a:lnTo>
                  <a:lnTo>
                    <a:pt x="3224" y="4536"/>
                  </a:lnTo>
                  <a:lnTo>
                    <a:pt x="3226" y="4538"/>
                  </a:lnTo>
                  <a:lnTo>
                    <a:pt x="3234" y="4544"/>
                  </a:lnTo>
                  <a:lnTo>
                    <a:pt x="3252" y="4552"/>
                  </a:lnTo>
                  <a:lnTo>
                    <a:pt x="3256" y="4554"/>
                  </a:lnTo>
                  <a:lnTo>
                    <a:pt x="3260" y="4548"/>
                  </a:lnTo>
                  <a:lnTo>
                    <a:pt x="3264" y="4542"/>
                  </a:lnTo>
                  <a:lnTo>
                    <a:pt x="3266" y="4542"/>
                  </a:lnTo>
                  <a:lnTo>
                    <a:pt x="3268" y="4544"/>
                  </a:lnTo>
                  <a:lnTo>
                    <a:pt x="3266" y="4550"/>
                  </a:lnTo>
                  <a:lnTo>
                    <a:pt x="3266" y="4556"/>
                  </a:lnTo>
                  <a:lnTo>
                    <a:pt x="3268" y="4564"/>
                  </a:lnTo>
                  <a:lnTo>
                    <a:pt x="3270" y="4566"/>
                  </a:lnTo>
                  <a:lnTo>
                    <a:pt x="3272" y="4568"/>
                  </a:lnTo>
                  <a:lnTo>
                    <a:pt x="3274" y="4566"/>
                  </a:lnTo>
                  <a:lnTo>
                    <a:pt x="3278" y="4564"/>
                  </a:lnTo>
                  <a:lnTo>
                    <a:pt x="3282" y="4554"/>
                  </a:lnTo>
                  <a:lnTo>
                    <a:pt x="3284" y="4546"/>
                  </a:lnTo>
                  <a:lnTo>
                    <a:pt x="3286" y="4540"/>
                  </a:lnTo>
                  <a:lnTo>
                    <a:pt x="3284" y="4534"/>
                  </a:lnTo>
                  <a:lnTo>
                    <a:pt x="3280" y="4524"/>
                  </a:lnTo>
                  <a:lnTo>
                    <a:pt x="3278" y="4520"/>
                  </a:lnTo>
                  <a:lnTo>
                    <a:pt x="3276" y="4518"/>
                  </a:lnTo>
                  <a:lnTo>
                    <a:pt x="3274" y="4516"/>
                  </a:lnTo>
                  <a:lnTo>
                    <a:pt x="3274" y="4514"/>
                  </a:lnTo>
                  <a:lnTo>
                    <a:pt x="3274" y="4508"/>
                  </a:lnTo>
                  <a:lnTo>
                    <a:pt x="3276" y="4500"/>
                  </a:lnTo>
                  <a:lnTo>
                    <a:pt x="3280" y="4496"/>
                  </a:lnTo>
                  <a:lnTo>
                    <a:pt x="3284" y="4494"/>
                  </a:lnTo>
                  <a:lnTo>
                    <a:pt x="3284" y="4490"/>
                  </a:lnTo>
                  <a:lnTo>
                    <a:pt x="3284" y="4486"/>
                  </a:lnTo>
                  <a:lnTo>
                    <a:pt x="3288" y="4484"/>
                  </a:lnTo>
                  <a:lnTo>
                    <a:pt x="3290" y="4482"/>
                  </a:lnTo>
                  <a:lnTo>
                    <a:pt x="3292" y="4482"/>
                  </a:lnTo>
                  <a:lnTo>
                    <a:pt x="3292" y="4490"/>
                  </a:lnTo>
                  <a:lnTo>
                    <a:pt x="3294" y="4498"/>
                  </a:lnTo>
                  <a:lnTo>
                    <a:pt x="3296" y="4502"/>
                  </a:lnTo>
                  <a:lnTo>
                    <a:pt x="3300" y="4506"/>
                  </a:lnTo>
                  <a:lnTo>
                    <a:pt x="3302" y="4510"/>
                  </a:lnTo>
                  <a:lnTo>
                    <a:pt x="3300" y="4512"/>
                  </a:lnTo>
                  <a:lnTo>
                    <a:pt x="3300" y="4518"/>
                  </a:lnTo>
                  <a:lnTo>
                    <a:pt x="3302" y="4528"/>
                  </a:lnTo>
                  <a:lnTo>
                    <a:pt x="3304" y="4530"/>
                  </a:lnTo>
                  <a:lnTo>
                    <a:pt x="3306" y="4530"/>
                  </a:lnTo>
                  <a:lnTo>
                    <a:pt x="3306" y="4526"/>
                  </a:lnTo>
                  <a:lnTo>
                    <a:pt x="3308" y="4518"/>
                  </a:lnTo>
                  <a:lnTo>
                    <a:pt x="3306" y="4508"/>
                  </a:lnTo>
                  <a:lnTo>
                    <a:pt x="3304" y="4502"/>
                  </a:lnTo>
                  <a:lnTo>
                    <a:pt x="3308" y="4504"/>
                  </a:lnTo>
                  <a:lnTo>
                    <a:pt x="3310" y="4506"/>
                  </a:lnTo>
                  <a:lnTo>
                    <a:pt x="3312" y="4506"/>
                  </a:lnTo>
                  <a:lnTo>
                    <a:pt x="3310" y="4504"/>
                  </a:lnTo>
                  <a:lnTo>
                    <a:pt x="3310" y="4500"/>
                  </a:lnTo>
                  <a:lnTo>
                    <a:pt x="3312" y="4498"/>
                  </a:lnTo>
                  <a:lnTo>
                    <a:pt x="3316" y="4498"/>
                  </a:lnTo>
                  <a:lnTo>
                    <a:pt x="3320" y="4492"/>
                  </a:lnTo>
                  <a:lnTo>
                    <a:pt x="3322" y="4488"/>
                  </a:lnTo>
                  <a:lnTo>
                    <a:pt x="3322" y="4482"/>
                  </a:lnTo>
                  <a:lnTo>
                    <a:pt x="3320" y="4468"/>
                  </a:lnTo>
                  <a:lnTo>
                    <a:pt x="3320" y="4464"/>
                  </a:lnTo>
                  <a:lnTo>
                    <a:pt x="3318" y="4462"/>
                  </a:lnTo>
                  <a:lnTo>
                    <a:pt x="3316" y="4460"/>
                  </a:lnTo>
                  <a:lnTo>
                    <a:pt x="3314" y="4458"/>
                  </a:lnTo>
                  <a:lnTo>
                    <a:pt x="3314" y="4452"/>
                  </a:lnTo>
                  <a:lnTo>
                    <a:pt x="3316" y="4446"/>
                  </a:lnTo>
                  <a:lnTo>
                    <a:pt x="3316" y="4442"/>
                  </a:lnTo>
                  <a:lnTo>
                    <a:pt x="3314" y="4438"/>
                  </a:lnTo>
                  <a:lnTo>
                    <a:pt x="3314" y="4432"/>
                  </a:lnTo>
                  <a:lnTo>
                    <a:pt x="3314" y="4428"/>
                  </a:lnTo>
                  <a:lnTo>
                    <a:pt x="3312" y="4424"/>
                  </a:lnTo>
                  <a:lnTo>
                    <a:pt x="3310" y="4424"/>
                  </a:lnTo>
                  <a:lnTo>
                    <a:pt x="3308" y="4424"/>
                  </a:lnTo>
                  <a:lnTo>
                    <a:pt x="3304" y="4424"/>
                  </a:lnTo>
                  <a:lnTo>
                    <a:pt x="3302" y="4422"/>
                  </a:lnTo>
                  <a:lnTo>
                    <a:pt x="3302" y="4420"/>
                  </a:lnTo>
                  <a:lnTo>
                    <a:pt x="3304" y="4418"/>
                  </a:lnTo>
                  <a:lnTo>
                    <a:pt x="3308" y="4416"/>
                  </a:lnTo>
                  <a:lnTo>
                    <a:pt x="3310" y="4412"/>
                  </a:lnTo>
                  <a:lnTo>
                    <a:pt x="3312" y="4406"/>
                  </a:lnTo>
                  <a:lnTo>
                    <a:pt x="3308" y="4400"/>
                  </a:lnTo>
                  <a:lnTo>
                    <a:pt x="3306" y="4396"/>
                  </a:lnTo>
                  <a:lnTo>
                    <a:pt x="3306" y="4390"/>
                  </a:lnTo>
                  <a:lnTo>
                    <a:pt x="3306" y="4386"/>
                  </a:lnTo>
                  <a:lnTo>
                    <a:pt x="3302" y="4388"/>
                  </a:lnTo>
                  <a:lnTo>
                    <a:pt x="3300" y="4388"/>
                  </a:lnTo>
                  <a:lnTo>
                    <a:pt x="3298" y="4384"/>
                  </a:lnTo>
                  <a:lnTo>
                    <a:pt x="3296" y="4380"/>
                  </a:lnTo>
                  <a:lnTo>
                    <a:pt x="3292" y="4376"/>
                  </a:lnTo>
                  <a:lnTo>
                    <a:pt x="3288" y="4374"/>
                  </a:lnTo>
                  <a:lnTo>
                    <a:pt x="3284" y="4372"/>
                  </a:lnTo>
                  <a:lnTo>
                    <a:pt x="3282" y="4368"/>
                  </a:lnTo>
                  <a:lnTo>
                    <a:pt x="3282" y="4366"/>
                  </a:lnTo>
                  <a:lnTo>
                    <a:pt x="3278" y="4364"/>
                  </a:lnTo>
                  <a:close/>
                  <a:moveTo>
                    <a:pt x="3136" y="4268"/>
                  </a:moveTo>
                  <a:lnTo>
                    <a:pt x="3136" y="4268"/>
                  </a:lnTo>
                  <a:lnTo>
                    <a:pt x="3138" y="4270"/>
                  </a:lnTo>
                  <a:lnTo>
                    <a:pt x="3140" y="4272"/>
                  </a:lnTo>
                  <a:lnTo>
                    <a:pt x="3140" y="4278"/>
                  </a:lnTo>
                  <a:lnTo>
                    <a:pt x="3138" y="4286"/>
                  </a:lnTo>
                  <a:lnTo>
                    <a:pt x="3138" y="4296"/>
                  </a:lnTo>
                  <a:lnTo>
                    <a:pt x="3140" y="4302"/>
                  </a:lnTo>
                  <a:lnTo>
                    <a:pt x="3136" y="4306"/>
                  </a:lnTo>
                  <a:lnTo>
                    <a:pt x="3134" y="4312"/>
                  </a:lnTo>
                  <a:lnTo>
                    <a:pt x="3134" y="4324"/>
                  </a:lnTo>
                  <a:lnTo>
                    <a:pt x="3134" y="4328"/>
                  </a:lnTo>
                  <a:lnTo>
                    <a:pt x="3136" y="4330"/>
                  </a:lnTo>
                  <a:lnTo>
                    <a:pt x="3138" y="4330"/>
                  </a:lnTo>
                  <a:lnTo>
                    <a:pt x="3140" y="4328"/>
                  </a:lnTo>
                  <a:lnTo>
                    <a:pt x="3146" y="4324"/>
                  </a:lnTo>
                  <a:lnTo>
                    <a:pt x="3148" y="4320"/>
                  </a:lnTo>
                  <a:lnTo>
                    <a:pt x="3152" y="4320"/>
                  </a:lnTo>
                  <a:lnTo>
                    <a:pt x="3158" y="4318"/>
                  </a:lnTo>
                  <a:lnTo>
                    <a:pt x="3166" y="4312"/>
                  </a:lnTo>
                  <a:lnTo>
                    <a:pt x="3178" y="4298"/>
                  </a:lnTo>
                  <a:lnTo>
                    <a:pt x="3182" y="4296"/>
                  </a:lnTo>
                  <a:lnTo>
                    <a:pt x="3182" y="4292"/>
                  </a:lnTo>
                  <a:lnTo>
                    <a:pt x="3184" y="4282"/>
                  </a:lnTo>
                  <a:lnTo>
                    <a:pt x="3182" y="4276"/>
                  </a:lnTo>
                  <a:lnTo>
                    <a:pt x="3180" y="4276"/>
                  </a:lnTo>
                  <a:lnTo>
                    <a:pt x="3178" y="4276"/>
                  </a:lnTo>
                  <a:lnTo>
                    <a:pt x="3176" y="4278"/>
                  </a:lnTo>
                  <a:lnTo>
                    <a:pt x="3172" y="4276"/>
                  </a:lnTo>
                  <a:lnTo>
                    <a:pt x="3168" y="4274"/>
                  </a:lnTo>
                  <a:lnTo>
                    <a:pt x="3166" y="4274"/>
                  </a:lnTo>
                  <a:lnTo>
                    <a:pt x="3164" y="4274"/>
                  </a:lnTo>
                  <a:lnTo>
                    <a:pt x="3162" y="4276"/>
                  </a:lnTo>
                  <a:lnTo>
                    <a:pt x="3160" y="4274"/>
                  </a:lnTo>
                  <a:lnTo>
                    <a:pt x="3154" y="4270"/>
                  </a:lnTo>
                  <a:lnTo>
                    <a:pt x="3146" y="4264"/>
                  </a:lnTo>
                  <a:lnTo>
                    <a:pt x="3138" y="4258"/>
                  </a:lnTo>
                  <a:lnTo>
                    <a:pt x="3132" y="4258"/>
                  </a:lnTo>
                  <a:lnTo>
                    <a:pt x="3130" y="4260"/>
                  </a:lnTo>
                  <a:lnTo>
                    <a:pt x="3130" y="4264"/>
                  </a:lnTo>
                  <a:lnTo>
                    <a:pt x="3136" y="4268"/>
                  </a:lnTo>
                  <a:close/>
                  <a:moveTo>
                    <a:pt x="3270" y="4928"/>
                  </a:moveTo>
                  <a:lnTo>
                    <a:pt x="3270" y="4928"/>
                  </a:lnTo>
                  <a:lnTo>
                    <a:pt x="3268" y="4926"/>
                  </a:lnTo>
                  <a:lnTo>
                    <a:pt x="3264" y="4924"/>
                  </a:lnTo>
                  <a:lnTo>
                    <a:pt x="3250" y="4920"/>
                  </a:lnTo>
                  <a:lnTo>
                    <a:pt x="3244" y="4920"/>
                  </a:lnTo>
                  <a:lnTo>
                    <a:pt x="3238" y="4920"/>
                  </a:lnTo>
                  <a:lnTo>
                    <a:pt x="3232" y="4924"/>
                  </a:lnTo>
                  <a:lnTo>
                    <a:pt x="3230" y="4930"/>
                  </a:lnTo>
                  <a:lnTo>
                    <a:pt x="3232" y="4934"/>
                  </a:lnTo>
                  <a:lnTo>
                    <a:pt x="3236" y="4936"/>
                  </a:lnTo>
                  <a:lnTo>
                    <a:pt x="3242" y="4936"/>
                  </a:lnTo>
                  <a:lnTo>
                    <a:pt x="3250" y="4936"/>
                  </a:lnTo>
                  <a:lnTo>
                    <a:pt x="3264" y="4934"/>
                  </a:lnTo>
                  <a:lnTo>
                    <a:pt x="3268" y="4932"/>
                  </a:lnTo>
                  <a:lnTo>
                    <a:pt x="3270" y="4928"/>
                  </a:lnTo>
                  <a:close/>
                  <a:moveTo>
                    <a:pt x="3148" y="4520"/>
                  </a:moveTo>
                  <a:lnTo>
                    <a:pt x="3148" y="4520"/>
                  </a:lnTo>
                  <a:lnTo>
                    <a:pt x="3146" y="4516"/>
                  </a:lnTo>
                  <a:lnTo>
                    <a:pt x="3138" y="4512"/>
                  </a:lnTo>
                  <a:lnTo>
                    <a:pt x="3136" y="4512"/>
                  </a:lnTo>
                  <a:lnTo>
                    <a:pt x="3132" y="4512"/>
                  </a:lnTo>
                  <a:lnTo>
                    <a:pt x="3130" y="4516"/>
                  </a:lnTo>
                  <a:lnTo>
                    <a:pt x="3130" y="4520"/>
                  </a:lnTo>
                  <a:lnTo>
                    <a:pt x="3130" y="4524"/>
                  </a:lnTo>
                  <a:lnTo>
                    <a:pt x="3132" y="4526"/>
                  </a:lnTo>
                  <a:lnTo>
                    <a:pt x="3136" y="4528"/>
                  </a:lnTo>
                  <a:lnTo>
                    <a:pt x="3140" y="4526"/>
                  </a:lnTo>
                  <a:lnTo>
                    <a:pt x="3146" y="4524"/>
                  </a:lnTo>
                  <a:lnTo>
                    <a:pt x="3148" y="4520"/>
                  </a:lnTo>
                  <a:close/>
                  <a:moveTo>
                    <a:pt x="3204" y="4288"/>
                  </a:moveTo>
                  <a:lnTo>
                    <a:pt x="3204" y="4288"/>
                  </a:lnTo>
                  <a:lnTo>
                    <a:pt x="3204" y="4290"/>
                  </a:lnTo>
                  <a:lnTo>
                    <a:pt x="3204" y="4294"/>
                  </a:lnTo>
                  <a:lnTo>
                    <a:pt x="3206" y="4296"/>
                  </a:lnTo>
                  <a:lnTo>
                    <a:pt x="3208" y="4296"/>
                  </a:lnTo>
                  <a:lnTo>
                    <a:pt x="3208" y="4294"/>
                  </a:lnTo>
                  <a:lnTo>
                    <a:pt x="3208" y="4292"/>
                  </a:lnTo>
                  <a:lnTo>
                    <a:pt x="3206" y="4288"/>
                  </a:lnTo>
                  <a:lnTo>
                    <a:pt x="3204" y="4288"/>
                  </a:lnTo>
                  <a:close/>
                  <a:moveTo>
                    <a:pt x="3186" y="4210"/>
                  </a:moveTo>
                  <a:lnTo>
                    <a:pt x="3186" y="4210"/>
                  </a:lnTo>
                  <a:lnTo>
                    <a:pt x="3184" y="4208"/>
                  </a:lnTo>
                  <a:lnTo>
                    <a:pt x="3182" y="4204"/>
                  </a:lnTo>
                  <a:lnTo>
                    <a:pt x="3178" y="4200"/>
                  </a:lnTo>
                  <a:lnTo>
                    <a:pt x="3174" y="4198"/>
                  </a:lnTo>
                  <a:lnTo>
                    <a:pt x="3174" y="4200"/>
                  </a:lnTo>
                  <a:lnTo>
                    <a:pt x="3174" y="4202"/>
                  </a:lnTo>
                  <a:lnTo>
                    <a:pt x="3178" y="4206"/>
                  </a:lnTo>
                  <a:lnTo>
                    <a:pt x="3180" y="4212"/>
                  </a:lnTo>
                  <a:lnTo>
                    <a:pt x="3184" y="4214"/>
                  </a:lnTo>
                  <a:lnTo>
                    <a:pt x="3190" y="4220"/>
                  </a:lnTo>
                  <a:lnTo>
                    <a:pt x="3192" y="4220"/>
                  </a:lnTo>
                  <a:lnTo>
                    <a:pt x="3190" y="4216"/>
                  </a:lnTo>
                  <a:lnTo>
                    <a:pt x="3188" y="4212"/>
                  </a:lnTo>
                  <a:lnTo>
                    <a:pt x="3186" y="4210"/>
                  </a:lnTo>
                  <a:close/>
                  <a:moveTo>
                    <a:pt x="3250" y="5238"/>
                  </a:moveTo>
                  <a:lnTo>
                    <a:pt x="3250" y="5238"/>
                  </a:lnTo>
                  <a:lnTo>
                    <a:pt x="3240" y="5236"/>
                  </a:lnTo>
                  <a:lnTo>
                    <a:pt x="3236" y="5234"/>
                  </a:lnTo>
                  <a:lnTo>
                    <a:pt x="3234" y="5234"/>
                  </a:lnTo>
                  <a:lnTo>
                    <a:pt x="3232" y="5242"/>
                  </a:lnTo>
                  <a:lnTo>
                    <a:pt x="3230" y="5250"/>
                  </a:lnTo>
                  <a:lnTo>
                    <a:pt x="3232" y="5250"/>
                  </a:lnTo>
                  <a:lnTo>
                    <a:pt x="3234" y="5250"/>
                  </a:lnTo>
                  <a:lnTo>
                    <a:pt x="3244" y="5248"/>
                  </a:lnTo>
                  <a:lnTo>
                    <a:pt x="3256" y="5248"/>
                  </a:lnTo>
                  <a:lnTo>
                    <a:pt x="3260" y="5246"/>
                  </a:lnTo>
                  <a:lnTo>
                    <a:pt x="3262" y="5246"/>
                  </a:lnTo>
                  <a:lnTo>
                    <a:pt x="3264" y="5244"/>
                  </a:lnTo>
                  <a:lnTo>
                    <a:pt x="3262" y="5242"/>
                  </a:lnTo>
                  <a:lnTo>
                    <a:pt x="3258" y="5238"/>
                  </a:lnTo>
                  <a:lnTo>
                    <a:pt x="3254" y="5236"/>
                  </a:lnTo>
                  <a:lnTo>
                    <a:pt x="3250" y="5238"/>
                  </a:lnTo>
                  <a:close/>
                  <a:moveTo>
                    <a:pt x="3160" y="4332"/>
                  </a:moveTo>
                  <a:lnTo>
                    <a:pt x="3160" y="4332"/>
                  </a:lnTo>
                  <a:lnTo>
                    <a:pt x="3162" y="4332"/>
                  </a:lnTo>
                  <a:lnTo>
                    <a:pt x="3166" y="4328"/>
                  </a:lnTo>
                  <a:lnTo>
                    <a:pt x="3168" y="4322"/>
                  </a:lnTo>
                  <a:lnTo>
                    <a:pt x="3166" y="4318"/>
                  </a:lnTo>
                  <a:lnTo>
                    <a:pt x="3164" y="4318"/>
                  </a:lnTo>
                  <a:lnTo>
                    <a:pt x="3162" y="4320"/>
                  </a:lnTo>
                  <a:lnTo>
                    <a:pt x="3160" y="4322"/>
                  </a:lnTo>
                  <a:lnTo>
                    <a:pt x="3160" y="4326"/>
                  </a:lnTo>
                  <a:lnTo>
                    <a:pt x="3160" y="4328"/>
                  </a:lnTo>
                  <a:lnTo>
                    <a:pt x="3158" y="4328"/>
                  </a:lnTo>
                  <a:lnTo>
                    <a:pt x="3158" y="4330"/>
                  </a:lnTo>
                  <a:lnTo>
                    <a:pt x="3160" y="4332"/>
                  </a:lnTo>
                  <a:close/>
                  <a:moveTo>
                    <a:pt x="3190" y="5244"/>
                  </a:moveTo>
                  <a:lnTo>
                    <a:pt x="3190" y="5244"/>
                  </a:lnTo>
                  <a:lnTo>
                    <a:pt x="3188" y="5242"/>
                  </a:lnTo>
                  <a:lnTo>
                    <a:pt x="3186" y="5240"/>
                  </a:lnTo>
                  <a:lnTo>
                    <a:pt x="3182" y="5242"/>
                  </a:lnTo>
                  <a:lnTo>
                    <a:pt x="3178" y="5244"/>
                  </a:lnTo>
                  <a:lnTo>
                    <a:pt x="3176" y="5248"/>
                  </a:lnTo>
                  <a:lnTo>
                    <a:pt x="3178" y="5248"/>
                  </a:lnTo>
                  <a:lnTo>
                    <a:pt x="3184" y="5248"/>
                  </a:lnTo>
                  <a:lnTo>
                    <a:pt x="3188" y="5248"/>
                  </a:lnTo>
                  <a:lnTo>
                    <a:pt x="3190" y="5244"/>
                  </a:lnTo>
                  <a:close/>
                  <a:moveTo>
                    <a:pt x="3176" y="5252"/>
                  </a:moveTo>
                  <a:lnTo>
                    <a:pt x="3176" y="5252"/>
                  </a:lnTo>
                  <a:lnTo>
                    <a:pt x="3172" y="5254"/>
                  </a:lnTo>
                  <a:lnTo>
                    <a:pt x="3172" y="5256"/>
                  </a:lnTo>
                  <a:lnTo>
                    <a:pt x="3176" y="5258"/>
                  </a:lnTo>
                  <a:lnTo>
                    <a:pt x="3180" y="5254"/>
                  </a:lnTo>
                  <a:lnTo>
                    <a:pt x="3182" y="5252"/>
                  </a:lnTo>
                  <a:lnTo>
                    <a:pt x="3182" y="5250"/>
                  </a:lnTo>
                  <a:lnTo>
                    <a:pt x="3176" y="5252"/>
                  </a:lnTo>
                  <a:close/>
                  <a:moveTo>
                    <a:pt x="3224" y="5242"/>
                  </a:moveTo>
                  <a:lnTo>
                    <a:pt x="3224" y="5242"/>
                  </a:lnTo>
                  <a:lnTo>
                    <a:pt x="3220" y="5246"/>
                  </a:lnTo>
                  <a:lnTo>
                    <a:pt x="3218" y="5246"/>
                  </a:lnTo>
                  <a:lnTo>
                    <a:pt x="3216" y="5244"/>
                  </a:lnTo>
                  <a:lnTo>
                    <a:pt x="3214" y="5248"/>
                  </a:lnTo>
                  <a:lnTo>
                    <a:pt x="3214" y="5250"/>
                  </a:lnTo>
                  <a:lnTo>
                    <a:pt x="3216" y="5254"/>
                  </a:lnTo>
                  <a:lnTo>
                    <a:pt x="3220" y="5256"/>
                  </a:lnTo>
                  <a:lnTo>
                    <a:pt x="3222" y="5254"/>
                  </a:lnTo>
                  <a:lnTo>
                    <a:pt x="3224" y="5252"/>
                  </a:lnTo>
                  <a:lnTo>
                    <a:pt x="3228" y="5246"/>
                  </a:lnTo>
                  <a:lnTo>
                    <a:pt x="3228" y="5240"/>
                  </a:lnTo>
                  <a:lnTo>
                    <a:pt x="3228" y="5238"/>
                  </a:lnTo>
                  <a:lnTo>
                    <a:pt x="3226" y="5238"/>
                  </a:lnTo>
                  <a:lnTo>
                    <a:pt x="3224" y="5242"/>
                  </a:lnTo>
                  <a:close/>
                  <a:moveTo>
                    <a:pt x="3202" y="5252"/>
                  </a:moveTo>
                  <a:lnTo>
                    <a:pt x="3202" y="5252"/>
                  </a:lnTo>
                  <a:lnTo>
                    <a:pt x="3204" y="5250"/>
                  </a:lnTo>
                  <a:lnTo>
                    <a:pt x="3206" y="5248"/>
                  </a:lnTo>
                  <a:lnTo>
                    <a:pt x="3206" y="5246"/>
                  </a:lnTo>
                  <a:lnTo>
                    <a:pt x="3210" y="5244"/>
                  </a:lnTo>
                  <a:lnTo>
                    <a:pt x="3212" y="5240"/>
                  </a:lnTo>
                  <a:lnTo>
                    <a:pt x="3208" y="5240"/>
                  </a:lnTo>
                  <a:lnTo>
                    <a:pt x="3198" y="5240"/>
                  </a:lnTo>
                  <a:lnTo>
                    <a:pt x="3194" y="5242"/>
                  </a:lnTo>
                  <a:lnTo>
                    <a:pt x="3194" y="5246"/>
                  </a:lnTo>
                  <a:lnTo>
                    <a:pt x="3194" y="5248"/>
                  </a:lnTo>
                  <a:lnTo>
                    <a:pt x="3188" y="5254"/>
                  </a:lnTo>
                  <a:lnTo>
                    <a:pt x="3184" y="5256"/>
                  </a:lnTo>
                  <a:lnTo>
                    <a:pt x="3186" y="5256"/>
                  </a:lnTo>
                  <a:lnTo>
                    <a:pt x="3196" y="5258"/>
                  </a:lnTo>
                  <a:lnTo>
                    <a:pt x="3200" y="5256"/>
                  </a:lnTo>
                  <a:lnTo>
                    <a:pt x="3200" y="5254"/>
                  </a:lnTo>
                  <a:lnTo>
                    <a:pt x="3202" y="5252"/>
                  </a:lnTo>
                  <a:close/>
                  <a:moveTo>
                    <a:pt x="3244" y="4390"/>
                  </a:moveTo>
                  <a:lnTo>
                    <a:pt x="3244" y="4390"/>
                  </a:lnTo>
                  <a:lnTo>
                    <a:pt x="3242" y="4392"/>
                  </a:lnTo>
                  <a:lnTo>
                    <a:pt x="3242" y="4394"/>
                  </a:lnTo>
                  <a:lnTo>
                    <a:pt x="3246" y="4396"/>
                  </a:lnTo>
                  <a:lnTo>
                    <a:pt x="3250" y="4396"/>
                  </a:lnTo>
                  <a:lnTo>
                    <a:pt x="3252" y="4394"/>
                  </a:lnTo>
                  <a:lnTo>
                    <a:pt x="3250" y="4392"/>
                  </a:lnTo>
                  <a:lnTo>
                    <a:pt x="3246" y="4390"/>
                  </a:lnTo>
                  <a:lnTo>
                    <a:pt x="3244" y="4390"/>
                  </a:lnTo>
                  <a:close/>
                  <a:moveTo>
                    <a:pt x="3228" y="4278"/>
                  </a:moveTo>
                  <a:lnTo>
                    <a:pt x="3228" y="4278"/>
                  </a:lnTo>
                  <a:lnTo>
                    <a:pt x="3228" y="4280"/>
                  </a:lnTo>
                  <a:lnTo>
                    <a:pt x="3230" y="4284"/>
                  </a:lnTo>
                  <a:lnTo>
                    <a:pt x="3234" y="4290"/>
                  </a:lnTo>
                  <a:lnTo>
                    <a:pt x="3234" y="4294"/>
                  </a:lnTo>
                  <a:lnTo>
                    <a:pt x="3232" y="4298"/>
                  </a:lnTo>
                  <a:lnTo>
                    <a:pt x="3234" y="4300"/>
                  </a:lnTo>
                  <a:lnTo>
                    <a:pt x="3234" y="4302"/>
                  </a:lnTo>
                  <a:lnTo>
                    <a:pt x="3232" y="4304"/>
                  </a:lnTo>
                  <a:lnTo>
                    <a:pt x="3232" y="4306"/>
                  </a:lnTo>
                  <a:lnTo>
                    <a:pt x="3234" y="4308"/>
                  </a:lnTo>
                  <a:lnTo>
                    <a:pt x="3238" y="4308"/>
                  </a:lnTo>
                  <a:lnTo>
                    <a:pt x="3240" y="4306"/>
                  </a:lnTo>
                  <a:lnTo>
                    <a:pt x="3240" y="4304"/>
                  </a:lnTo>
                  <a:lnTo>
                    <a:pt x="3242" y="4304"/>
                  </a:lnTo>
                  <a:lnTo>
                    <a:pt x="3246" y="4308"/>
                  </a:lnTo>
                  <a:lnTo>
                    <a:pt x="3248" y="4314"/>
                  </a:lnTo>
                  <a:lnTo>
                    <a:pt x="3248" y="4318"/>
                  </a:lnTo>
                  <a:lnTo>
                    <a:pt x="3248" y="4322"/>
                  </a:lnTo>
                  <a:lnTo>
                    <a:pt x="3246" y="4328"/>
                  </a:lnTo>
                  <a:lnTo>
                    <a:pt x="3248" y="4332"/>
                  </a:lnTo>
                  <a:lnTo>
                    <a:pt x="3248" y="4334"/>
                  </a:lnTo>
                  <a:lnTo>
                    <a:pt x="3248" y="4338"/>
                  </a:lnTo>
                  <a:lnTo>
                    <a:pt x="3246" y="4342"/>
                  </a:lnTo>
                  <a:lnTo>
                    <a:pt x="3248" y="4344"/>
                  </a:lnTo>
                  <a:lnTo>
                    <a:pt x="3256" y="4348"/>
                  </a:lnTo>
                  <a:lnTo>
                    <a:pt x="3258" y="4350"/>
                  </a:lnTo>
                  <a:lnTo>
                    <a:pt x="3258" y="4344"/>
                  </a:lnTo>
                  <a:lnTo>
                    <a:pt x="3256" y="4338"/>
                  </a:lnTo>
                  <a:lnTo>
                    <a:pt x="3256" y="4336"/>
                  </a:lnTo>
                  <a:lnTo>
                    <a:pt x="3256" y="4334"/>
                  </a:lnTo>
                  <a:lnTo>
                    <a:pt x="3258" y="4336"/>
                  </a:lnTo>
                  <a:lnTo>
                    <a:pt x="3260" y="4342"/>
                  </a:lnTo>
                  <a:lnTo>
                    <a:pt x="3262" y="4348"/>
                  </a:lnTo>
                  <a:lnTo>
                    <a:pt x="3266" y="4354"/>
                  </a:lnTo>
                  <a:lnTo>
                    <a:pt x="3270" y="4356"/>
                  </a:lnTo>
                  <a:lnTo>
                    <a:pt x="3270" y="4354"/>
                  </a:lnTo>
                  <a:lnTo>
                    <a:pt x="3266" y="4344"/>
                  </a:lnTo>
                  <a:lnTo>
                    <a:pt x="3264" y="4342"/>
                  </a:lnTo>
                  <a:lnTo>
                    <a:pt x="3266" y="4342"/>
                  </a:lnTo>
                  <a:lnTo>
                    <a:pt x="3268" y="4340"/>
                  </a:lnTo>
                  <a:lnTo>
                    <a:pt x="3270" y="4338"/>
                  </a:lnTo>
                  <a:lnTo>
                    <a:pt x="3268" y="4332"/>
                  </a:lnTo>
                  <a:lnTo>
                    <a:pt x="3266" y="4330"/>
                  </a:lnTo>
                  <a:lnTo>
                    <a:pt x="3266" y="4326"/>
                  </a:lnTo>
                  <a:lnTo>
                    <a:pt x="3264" y="4322"/>
                  </a:lnTo>
                  <a:lnTo>
                    <a:pt x="3260" y="4318"/>
                  </a:lnTo>
                  <a:lnTo>
                    <a:pt x="3260" y="4316"/>
                  </a:lnTo>
                  <a:lnTo>
                    <a:pt x="3258" y="4312"/>
                  </a:lnTo>
                  <a:lnTo>
                    <a:pt x="3258" y="4304"/>
                  </a:lnTo>
                  <a:lnTo>
                    <a:pt x="3258" y="4296"/>
                  </a:lnTo>
                  <a:lnTo>
                    <a:pt x="3258" y="4294"/>
                  </a:lnTo>
                  <a:lnTo>
                    <a:pt x="3256" y="4292"/>
                  </a:lnTo>
                  <a:lnTo>
                    <a:pt x="3254" y="4290"/>
                  </a:lnTo>
                  <a:lnTo>
                    <a:pt x="3256" y="4288"/>
                  </a:lnTo>
                  <a:lnTo>
                    <a:pt x="3256" y="4284"/>
                  </a:lnTo>
                  <a:lnTo>
                    <a:pt x="3252" y="4284"/>
                  </a:lnTo>
                  <a:lnTo>
                    <a:pt x="3248" y="4284"/>
                  </a:lnTo>
                  <a:lnTo>
                    <a:pt x="3246" y="4286"/>
                  </a:lnTo>
                  <a:lnTo>
                    <a:pt x="3244" y="4288"/>
                  </a:lnTo>
                  <a:lnTo>
                    <a:pt x="3240" y="4286"/>
                  </a:lnTo>
                  <a:lnTo>
                    <a:pt x="3234" y="4280"/>
                  </a:lnTo>
                  <a:lnTo>
                    <a:pt x="3230" y="4278"/>
                  </a:lnTo>
                  <a:lnTo>
                    <a:pt x="3228" y="4278"/>
                  </a:lnTo>
                  <a:close/>
                  <a:moveTo>
                    <a:pt x="3292" y="3100"/>
                  </a:moveTo>
                  <a:lnTo>
                    <a:pt x="3292" y="3100"/>
                  </a:lnTo>
                  <a:lnTo>
                    <a:pt x="3294" y="3100"/>
                  </a:lnTo>
                  <a:lnTo>
                    <a:pt x="3296" y="3094"/>
                  </a:lnTo>
                  <a:lnTo>
                    <a:pt x="3296" y="3092"/>
                  </a:lnTo>
                  <a:lnTo>
                    <a:pt x="3294" y="3094"/>
                  </a:lnTo>
                  <a:lnTo>
                    <a:pt x="3292" y="3096"/>
                  </a:lnTo>
                  <a:lnTo>
                    <a:pt x="3292" y="3100"/>
                  </a:lnTo>
                  <a:close/>
                  <a:moveTo>
                    <a:pt x="3208" y="4238"/>
                  </a:moveTo>
                  <a:lnTo>
                    <a:pt x="3208" y="4238"/>
                  </a:lnTo>
                  <a:lnTo>
                    <a:pt x="3210" y="4234"/>
                  </a:lnTo>
                  <a:lnTo>
                    <a:pt x="3208" y="4228"/>
                  </a:lnTo>
                  <a:lnTo>
                    <a:pt x="3204" y="4224"/>
                  </a:lnTo>
                  <a:lnTo>
                    <a:pt x="3202" y="4222"/>
                  </a:lnTo>
                  <a:lnTo>
                    <a:pt x="3200" y="4222"/>
                  </a:lnTo>
                  <a:lnTo>
                    <a:pt x="3200" y="4224"/>
                  </a:lnTo>
                  <a:lnTo>
                    <a:pt x="3204" y="4230"/>
                  </a:lnTo>
                  <a:lnTo>
                    <a:pt x="3208" y="4238"/>
                  </a:lnTo>
                  <a:close/>
                  <a:moveTo>
                    <a:pt x="3164" y="4238"/>
                  </a:moveTo>
                  <a:lnTo>
                    <a:pt x="3164" y="4238"/>
                  </a:lnTo>
                  <a:lnTo>
                    <a:pt x="3164" y="4232"/>
                  </a:lnTo>
                  <a:lnTo>
                    <a:pt x="3162" y="4230"/>
                  </a:lnTo>
                  <a:lnTo>
                    <a:pt x="3158" y="4230"/>
                  </a:lnTo>
                  <a:lnTo>
                    <a:pt x="3154" y="4232"/>
                  </a:lnTo>
                  <a:lnTo>
                    <a:pt x="3152" y="4232"/>
                  </a:lnTo>
                  <a:lnTo>
                    <a:pt x="3154" y="4234"/>
                  </a:lnTo>
                  <a:lnTo>
                    <a:pt x="3156" y="4236"/>
                  </a:lnTo>
                  <a:lnTo>
                    <a:pt x="3160" y="4240"/>
                  </a:lnTo>
                  <a:lnTo>
                    <a:pt x="3162" y="4240"/>
                  </a:lnTo>
                  <a:lnTo>
                    <a:pt x="3164" y="4238"/>
                  </a:lnTo>
                  <a:close/>
                  <a:moveTo>
                    <a:pt x="3196" y="4228"/>
                  </a:moveTo>
                  <a:lnTo>
                    <a:pt x="3196" y="4228"/>
                  </a:lnTo>
                  <a:lnTo>
                    <a:pt x="3192" y="4228"/>
                  </a:lnTo>
                  <a:lnTo>
                    <a:pt x="3190" y="4228"/>
                  </a:lnTo>
                  <a:lnTo>
                    <a:pt x="3188" y="4228"/>
                  </a:lnTo>
                  <a:lnTo>
                    <a:pt x="3186" y="4232"/>
                  </a:lnTo>
                  <a:lnTo>
                    <a:pt x="3188" y="4238"/>
                  </a:lnTo>
                  <a:lnTo>
                    <a:pt x="3186" y="4242"/>
                  </a:lnTo>
                  <a:lnTo>
                    <a:pt x="3182" y="4256"/>
                  </a:lnTo>
                  <a:lnTo>
                    <a:pt x="3182" y="4258"/>
                  </a:lnTo>
                  <a:lnTo>
                    <a:pt x="3184" y="4258"/>
                  </a:lnTo>
                  <a:lnTo>
                    <a:pt x="3186" y="4254"/>
                  </a:lnTo>
                  <a:lnTo>
                    <a:pt x="3196" y="4244"/>
                  </a:lnTo>
                  <a:lnTo>
                    <a:pt x="3198" y="4244"/>
                  </a:lnTo>
                  <a:lnTo>
                    <a:pt x="3200" y="4244"/>
                  </a:lnTo>
                  <a:lnTo>
                    <a:pt x="3202" y="4250"/>
                  </a:lnTo>
                  <a:lnTo>
                    <a:pt x="3204" y="4256"/>
                  </a:lnTo>
                  <a:lnTo>
                    <a:pt x="3206" y="4258"/>
                  </a:lnTo>
                  <a:lnTo>
                    <a:pt x="3208" y="4260"/>
                  </a:lnTo>
                  <a:lnTo>
                    <a:pt x="3212" y="4262"/>
                  </a:lnTo>
                  <a:lnTo>
                    <a:pt x="3218" y="4266"/>
                  </a:lnTo>
                  <a:lnTo>
                    <a:pt x="3222" y="4268"/>
                  </a:lnTo>
                  <a:lnTo>
                    <a:pt x="3220" y="4264"/>
                  </a:lnTo>
                  <a:lnTo>
                    <a:pt x="3218" y="4258"/>
                  </a:lnTo>
                  <a:lnTo>
                    <a:pt x="3216" y="4252"/>
                  </a:lnTo>
                  <a:lnTo>
                    <a:pt x="3214" y="4246"/>
                  </a:lnTo>
                  <a:lnTo>
                    <a:pt x="3210" y="4242"/>
                  </a:lnTo>
                  <a:lnTo>
                    <a:pt x="3206" y="4240"/>
                  </a:lnTo>
                  <a:lnTo>
                    <a:pt x="3202" y="4234"/>
                  </a:lnTo>
                  <a:lnTo>
                    <a:pt x="3198" y="4230"/>
                  </a:lnTo>
                  <a:lnTo>
                    <a:pt x="3196" y="4228"/>
                  </a:lnTo>
                  <a:close/>
                  <a:moveTo>
                    <a:pt x="3152" y="5104"/>
                  </a:moveTo>
                  <a:lnTo>
                    <a:pt x="3152" y="5104"/>
                  </a:lnTo>
                  <a:lnTo>
                    <a:pt x="3160" y="5100"/>
                  </a:lnTo>
                  <a:lnTo>
                    <a:pt x="3162" y="5098"/>
                  </a:lnTo>
                  <a:lnTo>
                    <a:pt x="3162" y="5094"/>
                  </a:lnTo>
                  <a:lnTo>
                    <a:pt x="3160" y="5090"/>
                  </a:lnTo>
                  <a:lnTo>
                    <a:pt x="3162" y="5084"/>
                  </a:lnTo>
                  <a:lnTo>
                    <a:pt x="3164" y="5078"/>
                  </a:lnTo>
                  <a:lnTo>
                    <a:pt x="3166" y="5070"/>
                  </a:lnTo>
                  <a:lnTo>
                    <a:pt x="3164" y="5066"/>
                  </a:lnTo>
                  <a:lnTo>
                    <a:pt x="3164" y="5064"/>
                  </a:lnTo>
                  <a:lnTo>
                    <a:pt x="3160" y="5064"/>
                  </a:lnTo>
                  <a:lnTo>
                    <a:pt x="3158" y="5064"/>
                  </a:lnTo>
                  <a:lnTo>
                    <a:pt x="3152" y="5070"/>
                  </a:lnTo>
                  <a:lnTo>
                    <a:pt x="3150" y="5074"/>
                  </a:lnTo>
                  <a:lnTo>
                    <a:pt x="3150" y="5078"/>
                  </a:lnTo>
                  <a:lnTo>
                    <a:pt x="3150" y="5090"/>
                  </a:lnTo>
                  <a:lnTo>
                    <a:pt x="3148" y="5098"/>
                  </a:lnTo>
                  <a:lnTo>
                    <a:pt x="3148" y="5104"/>
                  </a:lnTo>
                  <a:lnTo>
                    <a:pt x="3148" y="5106"/>
                  </a:lnTo>
                  <a:lnTo>
                    <a:pt x="3152" y="5104"/>
                  </a:lnTo>
                  <a:close/>
                  <a:moveTo>
                    <a:pt x="3192" y="4332"/>
                  </a:moveTo>
                  <a:lnTo>
                    <a:pt x="3192" y="4332"/>
                  </a:lnTo>
                  <a:lnTo>
                    <a:pt x="3198" y="4322"/>
                  </a:lnTo>
                  <a:lnTo>
                    <a:pt x="3198" y="4314"/>
                  </a:lnTo>
                  <a:lnTo>
                    <a:pt x="3196" y="4308"/>
                  </a:lnTo>
                  <a:lnTo>
                    <a:pt x="3196" y="4306"/>
                  </a:lnTo>
                  <a:lnTo>
                    <a:pt x="3192" y="4306"/>
                  </a:lnTo>
                  <a:lnTo>
                    <a:pt x="3190" y="4304"/>
                  </a:lnTo>
                  <a:lnTo>
                    <a:pt x="3186" y="4304"/>
                  </a:lnTo>
                  <a:lnTo>
                    <a:pt x="3184" y="4304"/>
                  </a:lnTo>
                  <a:lnTo>
                    <a:pt x="3178" y="4306"/>
                  </a:lnTo>
                  <a:lnTo>
                    <a:pt x="3176" y="4310"/>
                  </a:lnTo>
                  <a:lnTo>
                    <a:pt x="3174" y="4312"/>
                  </a:lnTo>
                  <a:lnTo>
                    <a:pt x="3174" y="4316"/>
                  </a:lnTo>
                  <a:lnTo>
                    <a:pt x="3176" y="4320"/>
                  </a:lnTo>
                  <a:lnTo>
                    <a:pt x="3174" y="4322"/>
                  </a:lnTo>
                  <a:lnTo>
                    <a:pt x="3172" y="4324"/>
                  </a:lnTo>
                  <a:lnTo>
                    <a:pt x="3170" y="4326"/>
                  </a:lnTo>
                  <a:lnTo>
                    <a:pt x="3170" y="4330"/>
                  </a:lnTo>
                  <a:lnTo>
                    <a:pt x="3172" y="4336"/>
                  </a:lnTo>
                  <a:lnTo>
                    <a:pt x="3172" y="4344"/>
                  </a:lnTo>
                  <a:lnTo>
                    <a:pt x="3172" y="4348"/>
                  </a:lnTo>
                  <a:lnTo>
                    <a:pt x="3168" y="4352"/>
                  </a:lnTo>
                  <a:lnTo>
                    <a:pt x="3164" y="4354"/>
                  </a:lnTo>
                  <a:lnTo>
                    <a:pt x="3162" y="4354"/>
                  </a:lnTo>
                  <a:lnTo>
                    <a:pt x="3158" y="4352"/>
                  </a:lnTo>
                  <a:lnTo>
                    <a:pt x="3154" y="4352"/>
                  </a:lnTo>
                  <a:lnTo>
                    <a:pt x="3152" y="4358"/>
                  </a:lnTo>
                  <a:lnTo>
                    <a:pt x="3152" y="4364"/>
                  </a:lnTo>
                  <a:lnTo>
                    <a:pt x="3156" y="4372"/>
                  </a:lnTo>
                  <a:lnTo>
                    <a:pt x="3162" y="4380"/>
                  </a:lnTo>
                  <a:lnTo>
                    <a:pt x="3166" y="4382"/>
                  </a:lnTo>
                  <a:lnTo>
                    <a:pt x="3170" y="4384"/>
                  </a:lnTo>
                  <a:lnTo>
                    <a:pt x="3172" y="4392"/>
                  </a:lnTo>
                  <a:lnTo>
                    <a:pt x="3176" y="4398"/>
                  </a:lnTo>
                  <a:lnTo>
                    <a:pt x="3178" y="4400"/>
                  </a:lnTo>
                  <a:lnTo>
                    <a:pt x="3180" y="4400"/>
                  </a:lnTo>
                  <a:lnTo>
                    <a:pt x="3184" y="4396"/>
                  </a:lnTo>
                  <a:lnTo>
                    <a:pt x="3188" y="4392"/>
                  </a:lnTo>
                  <a:lnTo>
                    <a:pt x="3190" y="4388"/>
                  </a:lnTo>
                  <a:lnTo>
                    <a:pt x="3190" y="4384"/>
                  </a:lnTo>
                  <a:lnTo>
                    <a:pt x="3186" y="4376"/>
                  </a:lnTo>
                  <a:lnTo>
                    <a:pt x="3182" y="4364"/>
                  </a:lnTo>
                  <a:lnTo>
                    <a:pt x="3182" y="4360"/>
                  </a:lnTo>
                  <a:lnTo>
                    <a:pt x="3184" y="4356"/>
                  </a:lnTo>
                  <a:lnTo>
                    <a:pt x="3188" y="4348"/>
                  </a:lnTo>
                  <a:lnTo>
                    <a:pt x="3188" y="4344"/>
                  </a:lnTo>
                  <a:lnTo>
                    <a:pt x="3190" y="4338"/>
                  </a:lnTo>
                  <a:lnTo>
                    <a:pt x="3192" y="4332"/>
                  </a:lnTo>
                  <a:close/>
                  <a:moveTo>
                    <a:pt x="3202" y="4390"/>
                  </a:moveTo>
                  <a:lnTo>
                    <a:pt x="3202" y="4390"/>
                  </a:lnTo>
                  <a:lnTo>
                    <a:pt x="3200" y="4392"/>
                  </a:lnTo>
                  <a:lnTo>
                    <a:pt x="3196" y="4392"/>
                  </a:lnTo>
                  <a:lnTo>
                    <a:pt x="3198" y="4394"/>
                  </a:lnTo>
                  <a:lnTo>
                    <a:pt x="3202" y="4396"/>
                  </a:lnTo>
                  <a:lnTo>
                    <a:pt x="3204" y="4396"/>
                  </a:lnTo>
                  <a:lnTo>
                    <a:pt x="3206" y="4394"/>
                  </a:lnTo>
                  <a:lnTo>
                    <a:pt x="3204" y="4390"/>
                  </a:lnTo>
                  <a:lnTo>
                    <a:pt x="3202" y="4388"/>
                  </a:lnTo>
                  <a:lnTo>
                    <a:pt x="3202" y="4390"/>
                  </a:lnTo>
                  <a:close/>
                  <a:moveTo>
                    <a:pt x="3218" y="4324"/>
                  </a:moveTo>
                  <a:lnTo>
                    <a:pt x="3218" y="4324"/>
                  </a:lnTo>
                  <a:lnTo>
                    <a:pt x="3218" y="4318"/>
                  </a:lnTo>
                  <a:lnTo>
                    <a:pt x="3220" y="4314"/>
                  </a:lnTo>
                  <a:lnTo>
                    <a:pt x="3222" y="4310"/>
                  </a:lnTo>
                  <a:lnTo>
                    <a:pt x="3222" y="4308"/>
                  </a:lnTo>
                  <a:lnTo>
                    <a:pt x="3220" y="4300"/>
                  </a:lnTo>
                  <a:lnTo>
                    <a:pt x="3220" y="4292"/>
                  </a:lnTo>
                  <a:lnTo>
                    <a:pt x="3218" y="4290"/>
                  </a:lnTo>
                  <a:lnTo>
                    <a:pt x="3216" y="4298"/>
                  </a:lnTo>
                  <a:lnTo>
                    <a:pt x="3210" y="4312"/>
                  </a:lnTo>
                  <a:lnTo>
                    <a:pt x="3208" y="4316"/>
                  </a:lnTo>
                  <a:lnTo>
                    <a:pt x="3206" y="4324"/>
                  </a:lnTo>
                  <a:lnTo>
                    <a:pt x="3204" y="4334"/>
                  </a:lnTo>
                  <a:lnTo>
                    <a:pt x="3198" y="4342"/>
                  </a:lnTo>
                  <a:lnTo>
                    <a:pt x="3194" y="4348"/>
                  </a:lnTo>
                  <a:lnTo>
                    <a:pt x="3192" y="4354"/>
                  </a:lnTo>
                  <a:lnTo>
                    <a:pt x="3192" y="4362"/>
                  </a:lnTo>
                  <a:lnTo>
                    <a:pt x="3190" y="4374"/>
                  </a:lnTo>
                  <a:lnTo>
                    <a:pt x="3190" y="4380"/>
                  </a:lnTo>
                  <a:lnTo>
                    <a:pt x="3192" y="4380"/>
                  </a:lnTo>
                  <a:lnTo>
                    <a:pt x="3194" y="4376"/>
                  </a:lnTo>
                  <a:lnTo>
                    <a:pt x="3198" y="4368"/>
                  </a:lnTo>
                  <a:lnTo>
                    <a:pt x="3200" y="4362"/>
                  </a:lnTo>
                  <a:lnTo>
                    <a:pt x="3202" y="4360"/>
                  </a:lnTo>
                  <a:lnTo>
                    <a:pt x="3204" y="4358"/>
                  </a:lnTo>
                  <a:lnTo>
                    <a:pt x="3204" y="4352"/>
                  </a:lnTo>
                  <a:lnTo>
                    <a:pt x="3204" y="4348"/>
                  </a:lnTo>
                  <a:lnTo>
                    <a:pt x="3206" y="4344"/>
                  </a:lnTo>
                  <a:lnTo>
                    <a:pt x="3212" y="4340"/>
                  </a:lnTo>
                  <a:lnTo>
                    <a:pt x="3218" y="4332"/>
                  </a:lnTo>
                  <a:lnTo>
                    <a:pt x="3220" y="4328"/>
                  </a:lnTo>
                  <a:lnTo>
                    <a:pt x="3218" y="4324"/>
                  </a:lnTo>
                  <a:close/>
                  <a:moveTo>
                    <a:pt x="3226" y="4342"/>
                  </a:moveTo>
                  <a:lnTo>
                    <a:pt x="3226" y="4342"/>
                  </a:lnTo>
                  <a:lnTo>
                    <a:pt x="3222" y="4350"/>
                  </a:lnTo>
                  <a:lnTo>
                    <a:pt x="3216" y="4354"/>
                  </a:lnTo>
                  <a:lnTo>
                    <a:pt x="3214" y="4356"/>
                  </a:lnTo>
                  <a:lnTo>
                    <a:pt x="3210" y="4360"/>
                  </a:lnTo>
                  <a:lnTo>
                    <a:pt x="3210" y="4364"/>
                  </a:lnTo>
                  <a:lnTo>
                    <a:pt x="3212" y="4368"/>
                  </a:lnTo>
                  <a:lnTo>
                    <a:pt x="3214" y="4370"/>
                  </a:lnTo>
                  <a:lnTo>
                    <a:pt x="3216" y="4372"/>
                  </a:lnTo>
                  <a:lnTo>
                    <a:pt x="3224" y="4372"/>
                  </a:lnTo>
                  <a:lnTo>
                    <a:pt x="3230" y="4370"/>
                  </a:lnTo>
                  <a:lnTo>
                    <a:pt x="3234" y="4368"/>
                  </a:lnTo>
                  <a:lnTo>
                    <a:pt x="3236" y="4366"/>
                  </a:lnTo>
                  <a:lnTo>
                    <a:pt x="3240" y="4366"/>
                  </a:lnTo>
                  <a:lnTo>
                    <a:pt x="3240" y="4364"/>
                  </a:lnTo>
                  <a:lnTo>
                    <a:pt x="3240" y="4362"/>
                  </a:lnTo>
                  <a:lnTo>
                    <a:pt x="3240" y="4356"/>
                  </a:lnTo>
                  <a:lnTo>
                    <a:pt x="3242" y="4352"/>
                  </a:lnTo>
                  <a:lnTo>
                    <a:pt x="3242" y="4346"/>
                  </a:lnTo>
                  <a:lnTo>
                    <a:pt x="3242" y="4344"/>
                  </a:lnTo>
                  <a:lnTo>
                    <a:pt x="3240" y="4344"/>
                  </a:lnTo>
                  <a:lnTo>
                    <a:pt x="3238" y="4346"/>
                  </a:lnTo>
                  <a:lnTo>
                    <a:pt x="3238" y="4348"/>
                  </a:lnTo>
                  <a:lnTo>
                    <a:pt x="3234" y="4348"/>
                  </a:lnTo>
                  <a:lnTo>
                    <a:pt x="3232" y="4346"/>
                  </a:lnTo>
                  <a:lnTo>
                    <a:pt x="3228" y="4342"/>
                  </a:lnTo>
                  <a:lnTo>
                    <a:pt x="3228" y="4340"/>
                  </a:lnTo>
                  <a:lnTo>
                    <a:pt x="3226" y="4342"/>
                  </a:lnTo>
                  <a:close/>
                  <a:moveTo>
                    <a:pt x="3240" y="4278"/>
                  </a:moveTo>
                  <a:lnTo>
                    <a:pt x="3240" y="4278"/>
                  </a:lnTo>
                  <a:lnTo>
                    <a:pt x="3242" y="4278"/>
                  </a:lnTo>
                  <a:lnTo>
                    <a:pt x="3242" y="4274"/>
                  </a:lnTo>
                  <a:lnTo>
                    <a:pt x="3240" y="4270"/>
                  </a:lnTo>
                  <a:lnTo>
                    <a:pt x="3236" y="4270"/>
                  </a:lnTo>
                  <a:lnTo>
                    <a:pt x="3234" y="4270"/>
                  </a:lnTo>
                  <a:lnTo>
                    <a:pt x="3234" y="4274"/>
                  </a:lnTo>
                  <a:lnTo>
                    <a:pt x="3236" y="4278"/>
                  </a:lnTo>
                  <a:lnTo>
                    <a:pt x="3240" y="4278"/>
                  </a:lnTo>
                  <a:close/>
                  <a:moveTo>
                    <a:pt x="3164" y="5116"/>
                  </a:moveTo>
                  <a:lnTo>
                    <a:pt x="3164" y="5116"/>
                  </a:lnTo>
                  <a:lnTo>
                    <a:pt x="3166" y="5118"/>
                  </a:lnTo>
                  <a:lnTo>
                    <a:pt x="3168" y="5116"/>
                  </a:lnTo>
                  <a:lnTo>
                    <a:pt x="3172" y="5110"/>
                  </a:lnTo>
                  <a:lnTo>
                    <a:pt x="3174" y="5106"/>
                  </a:lnTo>
                  <a:lnTo>
                    <a:pt x="3176" y="5104"/>
                  </a:lnTo>
                  <a:lnTo>
                    <a:pt x="3182" y="5102"/>
                  </a:lnTo>
                  <a:lnTo>
                    <a:pt x="3184" y="5102"/>
                  </a:lnTo>
                  <a:lnTo>
                    <a:pt x="3186" y="5100"/>
                  </a:lnTo>
                  <a:lnTo>
                    <a:pt x="3180" y="5092"/>
                  </a:lnTo>
                  <a:lnTo>
                    <a:pt x="3176" y="5086"/>
                  </a:lnTo>
                  <a:lnTo>
                    <a:pt x="3176" y="5082"/>
                  </a:lnTo>
                  <a:lnTo>
                    <a:pt x="3176" y="5078"/>
                  </a:lnTo>
                  <a:lnTo>
                    <a:pt x="3178" y="5076"/>
                  </a:lnTo>
                  <a:lnTo>
                    <a:pt x="3184" y="5070"/>
                  </a:lnTo>
                  <a:lnTo>
                    <a:pt x="3184" y="5064"/>
                  </a:lnTo>
                  <a:lnTo>
                    <a:pt x="3182" y="5058"/>
                  </a:lnTo>
                  <a:lnTo>
                    <a:pt x="3180" y="5054"/>
                  </a:lnTo>
                  <a:lnTo>
                    <a:pt x="3178" y="5052"/>
                  </a:lnTo>
                  <a:lnTo>
                    <a:pt x="3174" y="5054"/>
                  </a:lnTo>
                  <a:lnTo>
                    <a:pt x="3172" y="5058"/>
                  </a:lnTo>
                  <a:lnTo>
                    <a:pt x="3170" y="5070"/>
                  </a:lnTo>
                  <a:lnTo>
                    <a:pt x="3168" y="5086"/>
                  </a:lnTo>
                  <a:lnTo>
                    <a:pt x="3166" y="5094"/>
                  </a:lnTo>
                  <a:lnTo>
                    <a:pt x="3164" y="5100"/>
                  </a:lnTo>
                  <a:lnTo>
                    <a:pt x="3160" y="5108"/>
                  </a:lnTo>
                  <a:lnTo>
                    <a:pt x="3158" y="5110"/>
                  </a:lnTo>
                  <a:lnTo>
                    <a:pt x="3158" y="5112"/>
                  </a:lnTo>
                  <a:lnTo>
                    <a:pt x="3164" y="5116"/>
                  </a:lnTo>
                  <a:close/>
                  <a:moveTo>
                    <a:pt x="3346" y="4866"/>
                  </a:moveTo>
                  <a:lnTo>
                    <a:pt x="3346" y="4866"/>
                  </a:lnTo>
                  <a:lnTo>
                    <a:pt x="3348" y="4862"/>
                  </a:lnTo>
                  <a:lnTo>
                    <a:pt x="3348" y="4858"/>
                  </a:lnTo>
                  <a:lnTo>
                    <a:pt x="3348" y="4852"/>
                  </a:lnTo>
                  <a:lnTo>
                    <a:pt x="3346" y="4852"/>
                  </a:lnTo>
                  <a:lnTo>
                    <a:pt x="3344" y="4852"/>
                  </a:lnTo>
                  <a:lnTo>
                    <a:pt x="3342" y="4856"/>
                  </a:lnTo>
                  <a:lnTo>
                    <a:pt x="3342" y="4860"/>
                  </a:lnTo>
                  <a:lnTo>
                    <a:pt x="3342" y="4864"/>
                  </a:lnTo>
                  <a:lnTo>
                    <a:pt x="3344" y="4866"/>
                  </a:lnTo>
                  <a:lnTo>
                    <a:pt x="3346" y="4866"/>
                  </a:lnTo>
                  <a:close/>
                  <a:moveTo>
                    <a:pt x="3342" y="4998"/>
                  </a:moveTo>
                  <a:lnTo>
                    <a:pt x="3342" y="4998"/>
                  </a:lnTo>
                  <a:lnTo>
                    <a:pt x="3336" y="4992"/>
                  </a:lnTo>
                  <a:lnTo>
                    <a:pt x="3330" y="4990"/>
                  </a:lnTo>
                  <a:lnTo>
                    <a:pt x="3324" y="4986"/>
                  </a:lnTo>
                  <a:lnTo>
                    <a:pt x="3316" y="4986"/>
                  </a:lnTo>
                  <a:lnTo>
                    <a:pt x="3310" y="4986"/>
                  </a:lnTo>
                  <a:lnTo>
                    <a:pt x="3304" y="4988"/>
                  </a:lnTo>
                  <a:lnTo>
                    <a:pt x="3300" y="4992"/>
                  </a:lnTo>
                  <a:lnTo>
                    <a:pt x="3298" y="4996"/>
                  </a:lnTo>
                  <a:lnTo>
                    <a:pt x="3298" y="5002"/>
                  </a:lnTo>
                  <a:lnTo>
                    <a:pt x="3304" y="5010"/>
                  </a:lnTo>
                  <a:lnTo>
                    <a:pt x="3312" y="5016"/>
                  </a:lnTo>
                  <a:lnTo>
                    <a:pt x="3320" y="5024"/>
                  </a:lnTo>
                  <a:lnTo>
                    <a:pt x="3326" y="5026"/>
                  </a:lnTo>
                  <a:lnTo>
                    <a:pt x="3332" y="5026"/>
                  </a:lnTo>
                  <a:lnTo>
                    <a:pt x="3336" y="5024"/>
                  </a:lnTo>
                  <a:lnTo>
                    <a:pt x="3342" y="5020"/>
                  </a:lnTo>
                  <a:lnTo>
                    <a:pt x="3344" y="5016"/>
                  </a:lnTo>
                  <a:lnTo>
                    <a:pt x="3346" y="5010"/>
                  </a:lnTo>
                  <a:lnTo>
                    <a:pt x="3344" y="5004"/>
                  </a:lnTo>
                  <a:lnTo>
                    <a:pt x="3342" y="4998"/>
                  </a:lnTo>
                  <a:close/>
                  <a:moveTo>
                    <a:pt x="3330" y="5214"/>
                  </a:moveTo>
                  <a:lnTo>
                    <a:pt x="3330" y="5214"/>
                  </a:lnTo>
                  <a:lnTo>
                    <a:pt x="3328" y="5212"/>
                  </a:lnTo>
                  <a:lnTo>
                    <a:pt x="3326" y="5210"/>
                  </a:lnTo>
                  <a:lnTo>
                    <a:pt x="3314" y="5210"/>
                  </a:lnTo>
                  <a:lnTo>
                    <a:pt x="3302" y="5214"/>
                  </a:lnTo>
                  <a:lnTo>
                    <a:pt x="3296" y="5216"/>
                  </a:lnTo>
                  <a:lnTo>
                    <a:pt x="3290" y="5220"/>
                  </a:lnTo>
                  <a:lnTo>
                    <a:pt x="3290" y="5224"/>
                  </a:lnTo>
                  <a:lnTo>
                    <a:pt x="3292" y="5224"/>
                  </a:lnTo>
                  <a:lnTo>
                    <a:pt x="3306" y="5224"/>
                  </a:lnTo>
                  <a:lnTo>
                    <a:pt x="3322" y="5220"/>
                  </a:lnTo>
                  <a:lnTo>
                    <a:pt x="3328" y="5216"/>
                  </a:lnTo>
                  <a:lnTo>
                    <a:pt x="3330" y="5214"/>
                  </a:lnTo>
                  <a:close/>
                  <a:moveTo>
                    <a:pt x="3294" y="4936"/>
                  </a:moveTo>
                  <a:lnTo>
                    <a:pt x="3294" y="4936"/>
                  </a:lnTo>
                  <a:lnTo>
                    <a:pt x="3292" y="4938"/>
                  </a:lnTo>
                  <a:lnTo>
                    <a:pt x="3292" y="4942"/>
                  </a:lnTo>
                  <a:lnTo>
                    <a:pt x="3296" y="4956"/>
                  </a:lnTo>
                  <a:lnTo>
                    <a:pt x="3298" y="4960"/>
                  </a:lnTo>
                  <a:lnTo>
                    <a:pt x="3300" y="4960"/>
                  </a:lnTo>
                  <a:lnTo>
                    <a:pt x="3300" y="4956"/>
                  </a:lnTo>
                  <a:lnTo>
                    <a:pt x="3298" y="4950"/>
                  </a:lnTo>
                  <a:lnTo>
                    <a:pt x="3298" y="4944"/>
                  </a:lnTo>
                  <a:lnTo>
                    <a:pt x="3296" y="4938"/>
                  </a:lnTo>
                  <a:lnTo>
                    <a:pt x="3296" y="4936"/>
                  </a:lnTo>
                  <a:lnTo>
                    <a:pt x="3294" y="4936"/>
                  </a:lnTo>
                  <a:close/>
                  <a:moveTo>
                    <a:pt x="3344" y="5246"/>
                  </a:moveTo>
                  <a:lnTo>
                    <a:pt x="3344" y="5246"/>
                  </a:lnTo>
                  <a:lnTo>
                    <a:pt x="3340" y="5244"/>
                  </a:lnTo>
                  <a:lnTo>
                    <a:pt x="3336" y="5244"/>
                  </a:lnTo>
                  <a:lnTo>
                    <a:pt x="3330" y="5248"/>
                  </a:lnTo>
                  <a:lnTo>
                    <a:pt x="3322" y="5250"/>
                  </a:lnTo>
                  <a:lnTo>
                    <a:pt x="3316" y="5250"/>
                  </a:lnTo>
                  <a:lnTo>
                    <a:pt x="3312" y="5250"/>
                  </a:lnTo>
                  <a:lnTo>
                    <a:pt x="3306" y="5252"/>
                  </a:lnTo>
                  <a:lnTo>
                    <a:pt x="3300" y="5254"/>
                  </a:lnTo>
                  <a:lnTo>
                    <a:pt x="3296" y="5254"/>
                  </a:lnTo>
                  <a:lnTo>
                    <a:pt x="3292" y="5254"/>
                  </a:lnTo>
                  <a:lnTo>
                    <a:pt x="3286" y="5254"/>
                  </a:lnTo>
                  <a:lnTo>
                    <a:pt x="3268" y="5258"/>
                  </a:lnTo>
                  <a:lnTo>
                    <a:pt x="3260" y="5262"/>
                  </a:lnTo>
                  <a:lnTo>
                    <a:pt x="3258" y="5266"/>
                  </a:lnTo>
                  <a:lnTo>
                    <a:pt x="3256" y="5272"/>
                  </a:lnTo>
                  <a:lnTo>
                    <a:pt x="3248" y="5278"/>
                  </a:lnTo>
                  <a:lnTo>
                    <a:pt x="3240" y="5284"/>
                  </a:lnTo>
                  <a:lnTo>
                    <a:pt x="3234" y="5286"/>
                  </a:lnTo>
                  <a:lnTo>
                    <a:pt x="3226" y="5290"/>
                  </a:lnTo>
                  <a:lnTo>
                    <a:pt x="3216" y="5296"/>
                  </a:lnTo>
                  <a:lnTo>
                    <a:pt x="3206" y="5304"/>
                  </a:lnTo>
                  <a:lnTo>
                    <a:pt x="3202" y="5310"/>
                  </a:lnTo>
                  <a:lnTo>
                    <a:pt x="3200" y="5322"/>
                  </a:lnTo>
                  <a:lnTo>
                    <a:pt x="3198" y="5326"/>
                  </a:lnTo>
                  <a:lnTo>
                    <a:pt x="3200" y="5328"/>
                  </a:lnTo>
                  <a:lnTo>
                    <a:pt x="3202" y="5330"/>
                  </a:lnTo>
                  <a:lnTo>
                    <a:pt x="3204" y="5330"/>
                  </a:lnTo>
                  <a:lnTo>
                    <a:pt x="3202" y="5332"/>
                  </a:lnTo>
                  <a:lnTo>
                    <a:pt x="3198" y="5336"/>
                  </a:lnTo>
                  <a:lnTo>
                    <a:pt x="3194" y="5340"/>
                  </a:lnTo>
                  <a:lnTo>
                    <a:pt x="3194" y="5342"/>
                  </a:lnTo>
                  <a:lnTo>
                    <a:pt x="3194" y="5344"/>
                  </a:lnTo>
                  <a:lnTo>
                    <a:pt x="3202" y="5346"/>
                  </a:lnTo>
                  <a:lnTo>
                    <a:pt x="3206" y="5346"/>
                  </a:lnTo>
                  <a:lnTo>
                    <a:pt x="3210" y="5344"/>
                  </a:lnTo>
                  <a:lnTo>
                    <a:pt x="3216" y="5340"/>
                  </a:lnTo>
                  <a:lnTo>
                    <a:pt x="3220" y="5336"/>
                  </a:lnTo>
                  <a:lnTo>
                    <a:pt x="3222" y="5336"/>
                  </a:lnTo>
                  <a:lnTo>
                    <a:pt x="3226" y="5336"/>
                  </a:lnTo>
                  <a:lnTo>
                    <a:pt x="3230" y="5336"/>
                  </a:lnTo>
                  <a:lnTo>
                    <a:pt x="3234" y="5334"/>
                  </a:lnTo>
                  <a:lnTo>
                    <a:pt x="3244" y="5320"/>
                  </a:lnTo>
                  <a:lnTo>
                    <a:pt x="3252" y="5312"/>
                  </a:lnTo>
                  <a:lnTo>
                    <a:pt x="3256" y="5306"/>
                  </a:lnTo>
                  <a:lnTo>
                    <a:pt x="3260" y="5300"/>
                  </a:lnTo>
                  <a:lnTo>
                    <a:pt x="3268" y="5294"/>
                  </a:lnTo>
                  <a:lnTo>
                    <a:pt x="3280" y="5288"/>
                  </a:lnTo>
                  <a:lnTo>
                    <a:pt x="3288" y="5286"/>
                  </a:lnTo>
                  <a:lnTo>
                    <a:pt x="3294" y="5284"/>
                  </a:lnTo>
                  <a:lnTo>
                    <a:pt x="3300" y="5280"/>
                  </a:lnTo>
                  <a:lnTo>
                    <a:pt x="3304" y="5278"/>
                  </a:lnTo>
                  <a:lnTo>
                    <a:pt x="3308" y="5278"/>
                  </a:lnTo>
                  <a:lnTo>
                    <a:pt x="3314" y="5276"/>
                  </a:lnTo>
                  <a:lnTo>
                    <a:pt x="3318" y="5272"/>
                  </a:lnTo>
                  <a:lnTo>
                    <a:pt x="3324" y="5266"/>
                  </a:lnTo>
                  <a:lnTo>
                    <a:pt x="3328" y="5266"/>
                  </a:lnTo>
                  <a:lnTo>
                    <a:pt x="3334" y="5264"/>
                  </a:lnTo>
                  <a:lnTo>
                    <a:pt x="3340" y="5260"/>
                  </a:lnTo>
                  <a:lnTo>
                    <a:pt x="3348" y="5252"/>
                  </a:lnTo>
                  <a:lnTo>
                    <a:pt x="3348" y="5248"/>
                  </a:lnTo>
                  <a:lnTo>
                    <a:pt x="3344" y="5246"/>
                  </a:lnTo>
                  <a:close/>
                  <a:moveTo>
                    <a:pt x="3328" y="4618"/>
                  </a:moveTo>
                  <a:lnTo>
                    <a:pt x="3328" y="4618"/>
                  </a:lnTo>
                  <a:lnTo>
                    <a:pt x="3326" y="4622"/>
                  </a:lnTo>
                  <a:lnTo>
                    <a:pt x="3326" y="4628"/>
                  </a:lnTo>
                  <a:lnTo>
                    <a:pt x="3326" y="4630"/>
                  </a:lnTo>
                  <a:lnTo>
                    <a:pt x="3328" y="4632"/>
                  </a:lnTo>
                  <a:lnTo>
                    <a:pt x="3328" y="4634"/>
                  </a:lnTo>
                  <a:lnTo>
                    <a:pt x="3326" y="4638"/>
                  </a:lnTo>
                  <a:lnTo>
                    <a:pt x="3324" y="4642"/>
                  </a:lnTo>
                  <a:lnTo>
                    <a:pt x="3326" y="4644"/>
                  </a:lnTo>
                  <a:lnTo>
                    <a:pt x="3330" y="4642"/>
                  </a:lnTo>
                  <a:lnTo>
                    <a:pt x="3330" y="4640"/>
                  </a:lnTo>
                  <a:lnTo>
                    <a:pt x="3332" y="4636"/>
                  </a:lnTo>
                  <a:lnTo>
                    <a:pt x="3332" y="4632"/>
                  </a:lnTo>
                  <a:lnTo>
                    <a:pt x="3334" y="4630"/>
                  </a:lnTo>
                  <a:lnTo>
                    <a:pt x="3334" y="4628"/>
                  </a:lnTo>
                  <a:lnTo>
                    <a:pt x="3332" y="4624"/>
                  </a:lnTo>
                  <a:lnTo>
                    <a:pt x="3332" y="4620"/>
                  </a:lnTo>
                  <a:lnTo>
                    <a:pt x="3332" y="4618"/>
                  </a:lnTo>
                  <a:lnTo>
                    <a:pt x="3328" y="4618"/>
                  </a:lnTo>
                  <a:close/>
                  <a:moveTo>
                    <a:pt x="3302" y="3114"/>
                  </a:moveTo>
                  <a:lnTo>
                    <a:pt x="3302" y="3114"/>
                  </a:lnTo>
                  <a:lnTo>
                    <a:pt x="3304" y="3116"/>
                  </a:lnTo>
                  <a:lnTo>
                    <a:pt x="3308" y="3114"/>
                  </a:lnTo>
                  <a:lnTo>
                    <a:pt x="3310" y="3112"/>
                  </a:lnTo>
                  <a:lnTo>
                    <a:pt x="3310" y="3108"/>
                  </a:lnTo>
                  <a:lnTo>
                    <a:pt x="3306" y="3108"/>
                  </a:lnTo>
                  <a:lnTo>
                    <a:pt x="3302" y="3110"/>
                  </a:lnTo>
                  <a:lnTo>
                    <a:pt x="3300" y="3112"/>
                  </a:lnTo>
                  <a:lnTo>
                    <a:pt x="3302" y="3114"/>
                  </a:lnTo>
                  <a:close/>
                  <a:moveTo>
                    <a:pt x="3298" y="3086"/>
                  </a:moveTo>
                  <a:lnTo>
                    <a:pt x="3298" y="3086"/>
                  </a:lnTo>
                  <a:lnTo>
                    <a:pt x="3296" y="3088"/>
                  </a:lnTo>
                  <a:lnTo>
                    <a:pt x="3298" y="3090"/>
                  </a:lnTo>
                  <a:lnTo>
                    <a:pt x="3302" y="3096"/>
                  </a:lnTo>
                  <a:lnTo>
                    <a:pt x="3302" y="3098"/>
                  </a:lnTo>
                  <a:lnTo>
                    <a:pt x="3304" y="3094"/>
                  </a:lnTo>
                  <a:lnTo>
                    <a:pt x="3302" y="3088"/>
                  </a:lnTo>
                  <a:lnTo>
                    <a:pt x="3300" y="3086"/>
                  </a:lnTo>
                  <a:lnTo>
                    <a:pt x="3298" y="3086"/>
                  </a:lnTo>
                  <a:close/>
                  <a:moveTo>
                    <a:pt x="3298" y="4354"/>
                  </a:moveTo>
                  <a:lnTo>
                    <a:pt x="3298" y="4354"/>
                  </a:lnTo>
                  <a:lnTo>
                    <a:pt x="3296" y="4358"/>
                  </a:lnTo>
                  <a:lnTo>
                    <a:pt x="3296" y="4362"/>
                  </a:lnTo>
                  <a:lnTo>
                    <a:pt x="3298" y="4362"/>
                  </a:lnTo>
                  <a:lnTo>
                    <a:pt x="3300" y="4364"/>
                  </a:lnTo>
                  <a:lnTo>
                    <a:pt x="3304" y="4362"/>
                  </a:lnTo>
                  <a:lnTo>
                    <a:pt x="3304" y="4360"/>
                  </a:lnTo>
                  <a:lnTo>
                    <a:pt x="3302" y="4356"/>
                  </a:lnTo>
                  <a:lnTo>
                    <a:pt x="3300" y="4348"/>
                  </a:lnTo>
                  <a:lnTo>
                    <a:pt x="3298" y="4354"/>
                  </a:lnTo>
                  <a:close/>
                  <a:moveTo>
                    <a:pt x="3274" y="4930"/>
                  </a:moveTo>
                  <a:lnTo>
                    <a:pt x="3274" y="4930"/>
                  </a:lnTo>
                  <a:lnTo>
                    <a:pt x="3274" y="4932"/>
                  </a:lnTo>
                  <a:lnTo>
                    <a:pt x="3278" y="4934"/>
                  </a:lnTo>
                  <a:lnTo>
                    <a:pt x="3288" y="4934"/>
                  </a:lnTo>
                  <a:lnTo>
                    <a:pt x="3310" y="4928"/>
                  </a:lnTo>
                  <a:lnTo>
                    <a:pt x="3312" y="4926"/>
                  </a:lnTo>
                  <a:lnTo>
                    <a:pt x="3310" y="4926"/>
                  </a:lnTo>
                  <a:lnTo>
                    <a:pt x="3296" y="4924"/>
                  </a:lnTo>
                  <a:lnTo>
                    <a:pt x="3282" y="4924"/>
                  </a:lnTo>
                  <a:lnTo>
                    <a:pt x="3276" y="4926"/>
                  </a:lnTo>
                  <a:lnTo>
                    <a:pt x="3274" y="4930"/>
                  </a:lnTo>
                  <a:close/>
                  <a:moveTo>
                    <a:pt x="3132" y="5104"/>
                  </a:moveTo>
                  <a:lnTo>
                    <a:pt x="3132" y="5104"/>
                  </a:lnTo>
                  <a:lnTo>
                    <a:pt x="3136" y="5106"/>
                  </a:lnTo>
                  <a:lnTo>
                    <a:pt x="3138" y="5104"/>
                  </a:lnTo>
                  <a:lnTo>
                    <a:pt x="3136" y="5096"/>
                  </a:lnTo>
                  <a:lnTo>
                    <a:pt x="3134" y="5090"/>
                  </a:lnTo>
                  <a:lnTo>
                    <a:pt x="3132" y="5086"/>
                  </a:lnTo>
                  <a:lnTo>
                    <a:pt x="3130" y="5088"/>
                  </a:lnTo>
                  <a:lnTo>
                    <a:pt x="3130" y="5096"/>
                  </a:lnTo>
                  <a:lnTo>
                    <a:pt x="3132" y="5104"/>
                  </a:lnTo>
                  <a:close/>
                  <a:moveTo>
                    <a:pt x="3196" y="4912"/>
                  </a:moveTo>
                  <a:lnTo>
                    <a:pt x="3196" y="4912"/>
                  </a:lnTo>
                  <a:lnTo>
                    <a:pt x="3198" y="4908"/>
                  </a:lnTo>
                  <a:lnTo>
                    <a:pt x="3198" y="4904"/>
                  </a:lnTo>
                  <a:lnTo>
                    <a:pt x="3196" y="4900"/>
                  </a:lnTo>
                  <a:lnTo>
                    <a:pt x="3192" y="4900"/>
                  </a:lnTo>
                  <a:lnTo>
                    <a:pt x="3190" y="4902"/>
                  </a:lnTo>
                  <a:lnTo>
                    <a:pt x="3188" y="4904"/>
                  </a:lnTo>
                  <a:lnTo>
                    <a:pt x="3188" y="4908"/>
                  </a:lnTo>
                  <a:lnTo>
                    <a:pt x="3192" y="4912"/>
                  </a:lnTo>
                  <a:lnTo>
                    <a:pt x="3194" y="4912"/>
                  </a:lnTo>
                  <a:lnTo>
                    <a:pt x="3196" y="4912"/>
                  </a:lnTo>
                  <a:close/>
                  <a:moveTo>
                    <a:pt x="3180" y="4896"/>
                  </a:moveTo>
                  <a:lnTo>
                    <a:pt x="3180" y="4896"/>
                  </a:lnTo>
                  <a:lnTo>
                    <a:pt x="3176" y="4896"/>
                  </a:lnTo>
                  <a:lnTo>
                    <a:pt x="3172" y="4900"/>
                  </a:lnTo>
                  <a:lnTo>
                    <a:pt x="3170" y="4906"/>
                  </a:lnTo>
                  <a:lnTo>
                    <a:pt x="3172" y="4916"/>
                  </a:lnTo>
                  <a:lnTo>
                    <a:pt x="3174" y="4916"/>
                  </a:lnTo>
                  <a:lnTo>
                    <a:pt x="3180" y="4908"/>
                  </a:lnTo>
                  <a:lnTo>
                    <a:pt x="3184" y="4900"/>
                  </a:lnTo>
                  <a:lnTo>
                    <a:pt x="3182" y="4898"/>
                  </a:lnTo>
                  <a:lnTo>
                    <a:pt x="3180" y="4896"/>
                  </a:lnTo>
                  <a:close/>
                  <a:moveTo>
                    <a:pt x="3184" y="5356"/>
                  </a:moveTo>
                  <a:lnTo>
                    <a:pt x="3184" y="5356"/>
                  </a:lnTo>
                  <a:lnTo>
                    <a:pt x="3180" y="5360"/>
                  </a:lnTo>
                  <a:lnTo>
                    <a:pt x="3174" y="5364"/>
                  </a:lnTo>
                  <a:lnTo>
                    <a:pt x="3170" y="5366"/>
                  </a:lnTo>
                  <a:lnTo>
                    <a:pt x="3168" y="5370"/>
                  </a:lnTo>
                  <a:lnTo>
                    <a:pt x="3168" y="5372"/>
                  </a:lnTo>
                  <a:lnTo>
                    <a:pt x="3170" y="5372"/>
                  </a:lnTo>
                  <a:lnTo>
                    <a:pt x="3178" y="5370"/>
                  </a:lnTo>
                  <a:lnTo>
                    <a:pt x="3190" y="5362"/>
                  </a:lnTo>
                  <a:lnTo>
                    <a:pt x="3194" y="5358"/>
                  </a:lnTo>
                  <a:lnTo>
                    <a:pt x="3192" y="5352"/>
                  </a:lnTo>
                  <a:lnTo>
                    <a:pt x="3192" y="5350"/>
                  </a:lnTo>
                  <a:lnTo>
                    <a:pt x="3190" y="5350"/>
                  </a:lnTo>
                  <a:lnTo>
                    <a:pt x="3188" y="5352"/>
                  </a:lnTo>
                  <a:lnTo>
                    <a:pt x="3184" y="5356"/>
                  </a:lnTo>
                  <a:close/>
                  <a:moveTo>
                    <a:pt x="3074" y="5152"/>
                  </a:moveTo>
                  <a:lnTo>
                    <a:pt x="3074" y="5152"/>
                  </a:lnTo>
                  <a:lnTo>
                    <a:pt x="3076" y="5154"/>
                  </a:lnTo>
                  <a:lnTo>
                    <a:pt x="3078" y="5144"/>
                  </a:lnTo>
                  <a:lnTo>
                    <a:pt x="3076" y="5132"/>
                  </a:lnTo>
                  <a:lnTo>
                    <a:pt x="3076" y="5122"/>
                  </a:lnTo>
                  <a:lnTo>
                    <a:pt x="3074" y="5122"/>
                  </a:lnTo>
                  <a:lnTo>
                    <a:pt x="3074" y="5124"/>
                  </a:lnTo>
                  <a:lnTo>
                    <a:pt x="3072" y="5130"/>
                  </a:lnTo>
                  <a:lnTo>
                    <a:pt x="3072" y="5142"/>
                  </a:lnTo>
                  <a:lnTo>
                    <a:pt x="3074" y="5152"/>
                  </a:lnTo>
                  <a:close/>
                  <a:moveTo>
                    <a:pt x="3070" y="5308"/>
                  </a:moveTo>
                  <a:lnTo>
                    <a:pt x="3070" y="5308"/>
                  </a:lnTo>
                  <a:lnTo>
                    <a:pt x="3066" y="5308"/>
                  </a:lnTo>
                  <a:lnTo>
                    <a:pt x="3066" y="5306"/>
                  </a:lnTo>
                  <a:lnTo>
                    <a:pt x="3064" y="5304"/>
                  </a:lnTo>
                  <a:lnTo>
                    <a:pt x="3060" y="5298"/>
                  </a:lnTo>
                  <a:lnTo>
                    <a:pt x="3054" y="5294"/>
                  </a:lnTo>
                  <a:lnTo>
                    <a:pt x="3048" y="5294"/>
                  </a:lnTo>
                  <a:lnTo>
                    <a:pt x="3046" y="5296"/>
                  </a:lnTo>
                  <a:lnTo>
                    <a:pt x="3042" y="5296"/>
                  </a:lnTo>
                  <a:lnTo>
                    <a:pt x="3036" y="5294"/>
                  </a:lnTo>
                  <a:lnTo>
                    <a:pt x="3026" y="5294"/>
                  </a:lnTo>
                  <a:lnTo>
                    <a:pt x="3020" y="5296"/>
                  </a:lnTo>
                  <a:lnTo>
                    <a:pt x="3016" y="5298"/>
                  </a:lnTo>
                  <a:lnTo>
                    <a:pt x="3014" y="5302"/>
                  </a:lnTo>
                  <a:lnTo>
                    <a:pt x="3012" y="5306"/>
                  </a:lnTo>
                  <a:lnTo>
                    <a:pt x="3014" y="5310"/>
                  </a:lnTo>
                  <a:lnTo>
                    <a:pt x="3016" y="5312"/>
                  </a:lnTo>
                  <a:lnTo>
                    <a:pt x="3026" y="5316"/>
                  </a:lnTo>
                  <a:lnTo>
                    <a:pt x="3036" y="5318"/>
                  </a:lnTo>
                  <a:lnTo>
                    <a:pt x="3046" y="5322"/>
                  </a:lnTo>
                  <a:lnTo>
                    <a:pt x="3054" y="5328"/>
                  </a:lnTo>
                  <a:lnTo>
                    <a:pt x="3058" y="5334"/>
                  </a:lnTo>
                  <a:lnTo>
                    <a:pt x="3060" y="5338"/>
                  </a:lnTo>
                  <a:lnTo>
                    <a:pt x="3064" y="5340"/>
                  </a:lnTo>
                  <a:lnTo>
                    <a:pt x="3068" y="5340"/>
                  </a:lnTo>
                  <a:lnTo>
                    <a:pt x="3070" y="5342"/>
                  </a:lnTo>
                  <a:lnTo>
                    <a:pt x="3074" y="5342"/>
                  </a:lnTo>
                  <a:lnTo>
                    <a:pt x="3076" y="5340"/>
                  </a:lnTo>
                  <a:lnTo>
                    <a:pt x="3078" y="5338"/>
                  </a:lnTo>
                  <a:lnTo>
                    <a:pt x="3080" y="5338"/>
                  </a:lnTo>
                  <a:lnTo>
                    <a:pt x="3082" y="5336"/>
                  </a:lnTo>
                  <a:lnTo>
                    <a:pt x="3086" y="5332"/>
                  </a:lnTo>
                  <a:lnTo>
                    <a:pt x="3086" y="5330"/>
                  </a:lnTo>
                  <a:lnTo>
                    <a:pt x="3086" y="5326"/>
                  </a:lnTo>
                  <a:lnTo>
                    <a:pt x="3082" y="5320"/>
                  </a:lnTo>
                  <a:lnTo>
                    <a:pt x="3076" y="5312"/>
                  </a:lnTo>
                  <a:lnTo>
                    <a:pt x="3070" y="5308"/>
                  </a:lnTo>
                  <a:close/>
                  <a:moveTo>
                    <a:pt x="3176" y="5238"/>
                  </a:moveTo>
                  <a:lnTo>
                    <a:pt x="3176" y="5238"/>
                  </a:lnTo>
                  <a:lnTo>
                    <a:pt x="3174" y="5234"/>
                  </a:lnTo>
                  <a:lnTo>
                    <a:pt x="3172" y="5234"/>
                  </a:lnTo>
                  <a:lnTo>
                    <a:pt x="3168" y="5234"/>
                  </a:lnTo>
                  <a:lnTo>
                    <a:pt x="3166" y="5238"/>
                  </a:lnTo>
                  <a:lnTo>
                    <a:pt x="3166" y="5240"/>
                  </a:lnTo>
                  <a:lnTo>
                    <a:pt x="3168" y="5240"/>
                  </a:lnTo>
                  <a:lnTo>
                    <a:pt x="3170" y="5242"/>
                  </a:lnTo>
                  <a:lnTo>
                    <a:pt x="3168" y="5246"/>
                  </a:lnTo>
                  <a:lnTo>
                    <a:pt x="3160" y="5248"/>
                  </a:lnTo>
                  <a:lnTo>
                    <a:pt x="3156" y="5252"/>
                  </a:lnTo>
                  <a:lnTo>
                    <a:pt x="3156" y="5256"/>
                  </a:lnTo>
                  <a:lnTo>
                    <a:pt x="3156" y="5258"/>
                  </a:lnTo>
                  <a:lnTo>
                    <a:pt x="3152" y="5260"/>
                  </a:lnTo>
                  <a:lnTo>
                    <a:pt x="3148" y="5260"/>
                  </a:lnTo>
                  <a:lnTo>
                    <a:pt x="3146" y="5260"/>
                  </a:lnTo>
                  <a:lnTo>
                    <a:pt x="3142" y="5256"/>
                  </a:lnTo>
                  <a:lnTo>
                    <a:pt x="3136" y="5252"/>
                  </a:lnTo>
                  <a:lnTo>
                    <a:pt x="3134" y="5250"/>
                  </a:lnTo>
                  <a:lnTo>
                    <a:pt x="3132" y="5252"/>
                  </a:lnTo>
                  <a:lnTo>
                    <a:pt x="3128" y="5254"/>
                  </a:lnTo>
                  <a:lnTo>
                    <a:pt x="3124" y="5254"/>
                  </a:lnTo>
                  <a:lnTo>
                    <a:pt x="3120" y="5254"/>
                  </a:lnTo>
                  <a:lnTo>
                    <a:pt x="3116" y="5256"/>
                  </a:lnTo>
                  <a:lnTo>
                    <a:pt x="3114" y="5258"/>
                  </a:lnTo>
                  <a:lnTo>
                    <a:pt x="3112" y="5256"/>
                  </a:lnTo>
                  <a:lnTo>
                    <a:pt x="3106" y="5254"/>
                  </a:lnTo>
                  <a:lnTo>
                    <a:pt x="3100" y="5250"/>
                  </a:lnTo>
                  <a:lnTo>
                    <a:pt x="3092" y="5246"/>
                  </a:lnTo>
                  <a:lnTo>
                    <a:pt x="3076" y="5242"/>
                  </a:lnTo>
                  <a:lnTo>
                    <a:pt x="3068" y="5242"/>
                  </a:lnTo>
                  <a:lnTo>
                    <a:pt x="3064" y="5242"/>
                  </a:lnTo>
                  <a:lnTo>
                    <a:pt x="3060" y="5246"/>
                  </a:lnTo>
                  <a:lnTo>
                    <a:pt x="3056" y="5250"/>
                  </a:lnTo>
                  <a:lnTo>
                    <a:pt x="3050" y="5252"/>
                  </a:lnTo>
                  <a:lnTo>
                    <a:pt x="3048" y="5256"/>
                  </a:lnTo>
                  <a:lnTo>
                    <a:pt x="3048" y="5262"/>
                  </a:lnTo>
                  <a:lnTo>
                    <a:pt x="3050" y="5270"/>
                  </a:lnTo>
                  <a:lnTo>
                    <a:pt x="3050" y="5272"/>
                  </a:lnTo>
                  <a:lnTo>
                    <a:pt x="3052" y="5272"/>
                  </a:lnTo>
                  <a:lnTo>
                    <a:pt x="3056" y="5270"/>
                  </a:lnTo>
                  <a:lnTo>
                    <a:pt x="3062" y="5268"/>
                  </a:lnTo>
                  <a:lnTo>
                    <a:pt x="3078" y="5270"/>
                  </a:lnTo>
                  <a:lnTo>
                    <a:pt x="3086" y="5272"/>
                  </a:lnTo>
                  <a:lnTo>
                    <a:pt x="3092" y="5274"/>
                  </a:lnTo>
                  <a:lnTo>
                    <a:pt x="3096" y="5278"/>
                  </a:lnTo>
                  <a:lnTo>
                    <a:pt x="3098" y="5276"/>
                  </a:lnTo>
                  <a:lnTo>
                    <a:pt x="3102" y="5274"/>
                  </a:lnTo>
                  <a:lnTo>
                    <a:pt x="3106" y="5274"/>
                  </a:lnTo>
                  <a:lnTo>
                    <a:pt x="3108" y="5274"/>
                  </a:lnTo>
                  <a:lnTo>
                    <a:pt x="3110" y="5272"/>
                  </a:lnTo>
                  <a:lnTo>
                    <a:pt x="3112" y="5270"/>
                  </a:lnTo>
                  <a:lnTo>
                    <a:pt x="3120" y="5272"/>
                  </a:lnTo>
                  <a:lnTo>
                    <a:pt x="3124" y="5272"/>
                  </a:lnTo>
                  <a:lnTo>
                    <a:pt x="3128" y="5272"/>
                  </a:lnTo>
                  <a:lnTo>
                    <a:pt x="3134" y="5270"/>
                  </a:lnTo>
                  <a:lnTo>
                    <a:pt x="3138" y="5268"/>
                  </a:lnTo>
                  <a:lnTo>
                    <a:pt x="3142" y="5266"/>
                  </a:lnTo>
                  <a:lnTo>
                    <a:pt x="3150" y="5266"/>
                  </a:lnTo>
                  <a:lnTo>
                    <a:pt x="3158" y="5264"/>
                  </a:lnTo>
                  <a:lnTo>
                    <a:pt x="3166" y="5260"/>
                  </a:lnTo>
                  <a:lnTo>
                    <a:pt x="3168" y="5258"/>
                  </a:lnTo>
                  <a:lnTo>
                    <a:pt x="3170" y="5254"/>
                  </a:lnTo>
                  <a:lnTo>
                    <a:pt x="3170" y="5252"/>
                  </a:lnTo>
                  <a:lnTo>
                    <a:pt x="3174" y="5248"/>
                  </a:lnTo>
                  <a:lnTo>
                    <a:pt x="3176" y="5244"/>
                  </a:lnTo>
                  <a:lnTo>
                    <a:pt x="3176" y="5238"/>
                  </a:lnTo>
                  <a:close/>
                  <a:moveTo>
                    <a:pt x="3042" y="5268"/>
                  </a:moveTo>
                  <a:lnTo>
                    <a:pt x="3042" y="5268"/>
                  </a:lnTo>
                  <a:lnTo>
                    <a:pt x="3044" y="5266"/>
                  </a:lnTo>
                  <a:lnTo>
                    <a:pt x="3046" y="5264"/>
                  </a:lnTo>
                  <a:lnTo>
                    <a:pt x="3044" y="5262"/>
                  </a:lnTo>
                  <a:lnTo>
                    <a:pt x="3042" y="5260"/>
                  </a:lnTo>
                  <a:lnTo>
                    <a:pt x="3040" y="5262"/>
                  </a:lnTo>
                  <a:lnTo>
                    <a:pt x="3040" y="5266"/>
                  </a:lnTo>
                  <a:lnTo>
                    <a:pt x="3040" y="5268"/>
                  </a:lnTo>
                  <a:lnTo>
                    <a:pt x="3042" y="5268"/>
                  </a:lnTo>
                  <a:close/>
                  <a:moveTo>
                    <a:pt x="3038" y="5258"/>
                  </a:moveTo>
                  <a:lnTo>
                    <a:pt x="3038" y="5258"/>
                  </a:lnTo>
                  <a:lnTo>
                    <a:pt x="3040" y="5256"/>
                  </a:lnTo>
                  <a:lnTo>
                    <a:pt x="3040" y="5254"/>
                  </a:lnTo>
                  <a:lnTo>
                    <a:pt x="3038" y="5252"/>
                  </a:lnTo>
                  <a:lnTo>
                    <a:pt x="3034" y="5250"/>
                  </a:lnTo>
                  <a:lnTo>
                    <a:pt x="3032" y="5250"/>
                  </a:lnTo>
                  <a:lnTo>
                    <a:pt x="3032" y="5252"/>
                  </a:lnTo>
                  <a:lnTo>
                    <a:pt x="3032" y="5258"/>
                  </a:lnTo>
                  <a:lnTo>
                    <a:pt x="3030" y="5262"/>
                  </a:lnTo>
                  <a:lnTo>
                    <a:pt x="3032" y="5266"/>
                  </a:lnTo>
                  <a:lnTo>
                    <a:pt x="3032" y="5264"/>
                  </a:lnTo>
                  <a:lnTo>
                    <a:pt x="3034" y="5260"/>
                  </a:lnTo>
                  <a:lnTo>
                    <a:pt x="3038" y="5258"/>
                  </a:lnTo>
                  <a:close/>
                  <a:moveTo>
                    <a:pt x="2740" y="626"/>
                  </a:moveTo>
                  <a:lnTo>
                    <a:pt x="2740" y="626"/>
                  </a:lnTo>
                  <a:lnTo>
                    <a:pt x="2756" y="630"/>
                  </a:lnTo>
                  <a:lnTo>
                    <a:pt x="2768" y="628"/>
                  </a:lnTo>
                  <a:lnTo>
                    <a:pt x="2778" y="624"/>
                  </a:lnTo>
                  <a:lnTo>
                    <a:pt x="2784" y="618"/>
                  </a:lnTo>
                  <a:lnTo>
                    <a:pt x="2786" y="612"/>
                  </a:lnTo>
                  <a:lnTo>
                    <a:pt x="2786" y="608"/>
                  </a:lnTo>
                  <a:lnTo>
                    <a:pt x="2784" y="604"/>
                  </a:lnTo>
                  <a:lnTo>
                    <a:pt x="2782" y="602"/>
                  </a:lnTo>
                  <a:lnTo>
                    <a:pt x="2776" y="600"/>
                  </a:lnTo>
                  <a:lnTo>
                    <a:pt x="2764" y="598"/>
                  </a:lnTo>
                  <a:lnTo>
                    <a:pt x="2748" y="598"/>
                  </a:lnTo>
                  <a:lnTo>
                    <a:pt x="2736" y="598"/>
                  </a:lnTo>
                  <a:lnTo>
                    <a:pt x="2726" y="600"/>
                  </a:lnTo>
                  <a:lnTo>
                    <a:pt x="2720" y="604"/>
                  </a:lnTo>
                  <a:lnTo>
                    <a:pt x="2716" y="608"/>
                  </a:lnTo>
                  <a:lnTo>
                    <a:pt x="2720" y="614"/>
                  </a:lnTo>
                  <a:lnTo>
                    <a:pt x="2726" y="618"/>
                  </a:lnTo>
                  <a:lnTo>
                    <a:pt x="2740" y="626"/>
                  </a:lnTo>
                  <a:close/>
                  <a:moveTo>
                    <a:pt x="162" y="3354"/>
                  </a:moveTo>
                  <a:lnTo>
                    <a:pt x="162" y="3354"/>
                  </a:lnTo>
                  <a:lnTo>
                    <a:pt x="160" y="3358"/>
                  </a:lnTo>
                  <a:lnTo>
                    <a:pt x="162" y="3364"/>
                  </a:lnTo>
                  <a:lnTo>
                    <a:pt x="164" y="3366"/>
                  </a:lnTo>
                  <a:lnTo>
                    <a:pt x="166" y="3368"/>
                  </a:lnTo>
                  <a:lnTo>
                    <a:pt x="168" y="3366"/>
                  </a:lnTo>
                  <a:lnTo>
                    <a:pt x="168" y="3362"/>
                  </a:lnTo>
                  <a:lnTo>
                    <a:pt x="166" y="3356"/>
                  </a:lnTo>
                  <a:lnTo>
                    <a:pt x="164" y="3352"/>
                  </a:lnTo>
                  <a:lnTo>
                    <a:pt x="162" y="3352"/>
                  </a:lnTo>
                  <a:lnTo>
                    <a:pt x="162" y="3354"/>
                  </a:lnTo>
                  <a:close/>
                  <a:moveTo>
                    <a:pt x="3766" y="1952"/>
                  </a:moveTo>
                  <a:lnTo>
                    <a:pt x="3766" y="1952"/>
                  </a:lnTo>
                  <a:lnTo>
                    <a:pt x="3772" y="1954"/>
                  </a:lnTo>
                  <a:lnTo>
                    <a:pt x="3776" y="1954"/>
                  </a:lnTo>
                  <a:lnTo>
                    <a:pt x="3780" y="1950"/>
                  </a:lnTo>
                  <a:lnTo>
                    <a:pt x="3782" y="1944"/>
                  </a:lnTo>
                  <a:lnTo>
                    <a:pt x="3784" y="1940"/>
                  </a:lnTo>
                  <a:lnTo>
                    <a:pt x="3782" y="1934"/>
                  </a:lnTo>
                  <a:lnTo>
                    <a:pt x="3780" y="1930"/>
                  </a:lnTo>
                  <a:lnTo>
                    <a:pt x="3774" y="1928"/>
                  </a:lnTo>
                  <a:lnTo>
                    <a:pt x="3768" y="1928"/>
                  </a:lnTo>
                  <a:lnTo>
                    <a:pt x="3764" y="1930"/>
                  </a:lnTo>
                  <a:lnTo>
                    <a:pt x="3760" y="1932"/>
                  </a:lnTo>
                  <a:lnTo>
                    <a:pt x="3758" y="1936"/>
                  </a:lnTo>
                  <a:lnTo>
                    <a:pt x="3758" y="1938"/>
                  </a:lnTo>
                  <a:lnTo>
                    <a:pt x="3760" y="1944"/>
                  </a:lnTo>
                  <a:lnTo>
                    <a:pt x="3762" y="1948"/>
                  </a:lnTo>
                  <a:lnTo>
                    <a:pt x="3766" y="1952"/>
                  </a:lnTo>
                  <a:close/>
                  <a:moveTo>
                    <a:pt x="3314" y="2942"/>
                  </a:moveTo>
                  <a:lnTo>
                    <a:pt x="3314" y="2942"/>
                  </a:lnTo>
                  <a:lnTo>
                    <a:pt x="3316" y="2940"/>
                  </a:lnTo>
                  <a:lnTo>
                    <a:pt x="3318" y="2936"/>
                  </a:lnTo>
                  <a:lnTo>
                    <a:pt x="3316" y="2932"/>
                  </a:lnTo>
                  <a:lnTo>
                    <a:pt x="3312" y="2930"/>
                  </a:lnTo>
                  <a:lnTo>
                    <a:pt x="3310" y="2930"/>
                  </a:lnTo>
                  <a:lnTo>
                    <a:pt x="3310" y="2932"/>
                  </a:lnTo>
                  <a:lnTo>
                    <a:pt x="3310" y="2936"/>
                  </a:lnTo>
                  <a:lnTo>
                    <a:pt x="3312" y="2940"/>
                  </a:lnTo>
                  <a:lnTo>
                    <a:pt x="3314" y="2942"/>
                  </a:lnTo>
                  <a:close/>
                  <a:moveTo>
                    <a:pt x="3310" y="2998"/>
                  </a:moveTo>
                  <a:lnTo>
                    <a:pt x="3310" y="2998"/>
                  </a:lnTo>
                  <a:lnTo>
                    <a:pt x="3308" y="2998"/>
                  </a:lnTo>
                  <a:lnTo>
                    <a:pt x="3308" y="3002"/>
                  </a:lnTo>
                  <a:lnTo>
                    <a:pt x="3310" y="3004"/>
                  </a:lnTo>
                  <a:lnTo>
                    <a:pt x="3312" y="3006"/>
                  </a:lnTo>
                  <a:lnTo>
                    <a:pt x="3314" y="3006"/>
                  </a:lnTo>
                  <a:lnTo>
                    <a:pt x="3314" y="3002"/>
                  </a:lnTo>
                  <a:lnTo>
                    <a:pt x="3312" y="2998"/>
                  </a:lnTo>
                  <a:lnTo>
                    <a:pt x="3310" y="2998"/>
                  </a:lnTo>
                  <a:close/>
                  <a:moveTo>
                    <a:pt x="468" y="3506"/>
                  </a:moveTo>
                  <a:lnTo>
                    <a:pt x="468" y="3506"/>
                  </a:lnTo>
                  <a:lnTo>
                    <a:pt x="468" y="3508"/>
                  </a:lnTo>
                  <a:lnTo>
                    <a:pt x="466" y="3510"/>
                  </a:lnTo>
                  <a:lnTo>
                    <a:pt x="458" y="3514"/>
                  </a:lnTo>
                  <a:lnTo>
                    <a:pt x="452" y="3518"/>
                  </a:lnTo>
                  <a:lnTo>
                    <a:pt x="450" y="3520"/>
                  </a:lnTo>
                  <a:lnTo>
                    <a:pt x="450" y="3522"/>
                  </a:lnTo>
                  <a:lnTo>
                    <a:pt x="452" y="3524"/>
                  </a:lnTo>
                  <a:lnTo>
                    <a:pt x="456" y="3524"/>
                  </a:lnTo>
                  <a:lnTo>
                    <a:pt x="464" y="3520"/>
                  </a:lnTo>
                  <a:lnTo>
                    <a:pt x="476" y="3514"/>
                  </a:lnTo>
                  <a:lnTo>
                    <a:pt x="484" y="3504"/>
                  </a:lnTo>
                  <a:lnTo>
                    <a:pt x="486" y="3502"/>
                  </a:lnTo>
                  <a:lnTo>
                    <a:pt x="486" y="3500"/>
                  </a:lnTo>
                  <a:lnTo>
                    <a:pt x="480" y="3502"/>
                  </a:lnTo>
                  <a:lnTo>
                    <a:pt x="468" y="3506"/>
                  </a:lnTo>
                  <a:close/>
                  <a:moveTo>
                    <a:pt x="1966" y="4176"/>
                  </a:moveTo>
                  <a:lnTo>
                    <a:pt x="1966" y="4176"/>
                  </a:lnTo>
                  <a:lnTo>
                    <a:pt x="1964" y="4176"/>
                  </a:lnTo>
                  <a:lnTo>
                    <a:pt x="1960" y="4184"/>
                  </a:lnTo>
                  <a:lnTo>
                    <a:pt x="1958" y="4200"/>
                  </a:lnTo>
                  <a:lnTo>
                    <a:pt x="1956" y="4222"/>
                  </a:lnTo>
                  <a:lnTo>
                    <a:pt x="1954" y="4242"/>
                  </a:lnTo>
                  <a:lnTo>
                    <a:pt x="1952" y="4252"/>
                  </a:lnTo>
                  <a:lnTo>
                    <a:pt x="1950" y="4260"/>
                  </a:lnTo>
                  <a:lnTo>
                    <a:pt x="1952" y="4272"/>
                  </a:lnTo>
                  <a:lnTo>
                    <a:pt x="1954" y="4278"/>
                  </a:lnTo>
                  <a:lnTo>
                    <a:pt x="1956" y="4280"/>
                  </a:lnTo>
                  <a:lnTo>
                    <a:pt x="1958" y="4274"/>
                  </a:lnTo>
                  <a:lnTo>
                    <a:pt x="1962" y="4248"/>
                  </a:lnTo>
                  <a:lnTo>
                    <a:pt x="1962" y="4240"/>
                  </a:lnTo>
                  <a:lnTo>
                    <a:pt x="1962" y="4236"/>
                  </a:lnTo>
                  <a:lnTo>
                    <a:pt x="1962" y="4234"/>
                  </a:lnTo>
                  <a:lnTo>
                    <a:pt x="1964" y="4232"/>
                  </a:lnTo>
                  <a:lnTo>
                    <a:pt x="1966" y="4228"/>
                  </a:lnTo>
                  <a:lnTo>
                    <a:pt x="1966" y="4226"/>
                  </a:lnTo>
                  <a:lnTo>
                    <a:pt x="1964" y="4218"/>
                  </a:lnTo>
                  <a:lnTo>
                    <a:pt x="1964" y="4210"/>
                  </a:lnTo>
                  <a:lnTo>
                    <a:pt x="1964" y="4206"/>
                  </a:lnTo>
                  <a:lnTo>
                    <a:pt x="1964" y="4204"/>
                  </a:lnTo>
                  <a:lnTo>
                    <a:pt x="1968" y="4200"/>
                  </a:lnTo>
                  <a:lnTo>
                    <a:pt x="1970" y="4192"/>
                  </a:lnTo>
                  <a:lnTo>
                    <a:pt x="1970" y="4182"/>
                  </a:lnTo>
                  <a:lnTo>
                    <a:pt x="1966" y="4176"/>
                  </a:lnTo>
                  <a:close/>
                  <a:moveTo>
                    <a:pt x="1508" y="4454"/>
                  </a:moveTo>
                  <a:lnTo>
                    <a:pt x="1508" y="4454"/>
                  </a:lnTo>
                  <a:lnTo>
                    <a:pt x="1504" y="4444"/>
                  </a:lnTo>
                  <a:lnTo>
                    <a:pt x="1498" y="4430"/>
                  </a:lnTo>
                  <a:lnTo>
                    <a:pt x="1492" y="4416"/>
                  </a:lnTo>
                  <a:lnTo>
                    <a:pt x="1484" y="4404"/>
                  </a:lnTo>
                  <a:lnTo>
                    <a:pt x="1478" y="4396"/>
                  </a:lnTo>
                  <a:lnTo>
                    <a:pt x="1474" y="4388"/>
                  </a:lnTo>
                  <a:lnTo>
                    <a:pt x="1472" y="4380"/>
                  </a:lnTo>
                  <a:lnTo>
                    <a:pt x="1464" y="4372"/>
                  </a:lnTo>
                  <a:lnTo>
                    <a:pt x="1456" y="4364"/>
                  </a:lnTo>
                  <a:lnTo>
                    <a:pt x="1448" y="4360"/>
                  </a:lnTo>
                  <a:lnTo>
                    <a:pt x="1442" y="4360"/>
                  </a:lnTo>
                  <a:lnTo>
                    <a:pt x="1438" y="4362"/>
                  </a:lnTo>
                  <a:lnTo>
                    <a:pt x="1438" y="4364"/>
                  </a:lnTo>
                  <a:lnTo>
                    <a:pt x="1440" y="4368"/>
                  </a:lnTo>
                  <a:lnTo>
                    <a:pt x="1444" y="4372"/>
                  </a:lnTo>
                  <a:lnTo>
                    <a:pt x="1446" y="4382"/>
                  </a:lnTo>
                  <a:lnTo>
                    <a:pt x="1446" y="4392"/>
                  </a:lnTo>
                  <a:lnTo>
                    <a:pt x="1444" y="4398"/>
                  </a:lnTo>
                  <a:lnTo>
                    <a:pt x="1440" y="4404"/>
                  </a:lnTo>
                  <a:lnTo>
                    <a:pt x="1440" y="4410"/>
                  </a:lnTo>
                  <a:lnTo>
                    <a:pt x="1440" y="4420"/>
                  </a:lnTo>
                  <a:lnTo>
                    <a:pt x="1438" y="4430"/>
                  </a:lnTo>
                  <a:lnTo>
                    <a:pt x="1436" y="4438"/>
                  </a:lnTo>
                  <a:lnTo>
                    <a:pt x="1436" y="4436"/>
                  </a:lnTo>
                  <a:lnTo>
                    <a:pt x="1434" y="4432"/>
                  </a:lnTo>
                  <a:lnTo>
                    <a:pt x="1432" y="4432"/>
                  </a:lnTo>
                  <a:lnTo>
                    <a:pt x="1430" y="4440"/>
                  </a:lnTo>
                  <a:lnTo>
                    <a:pt x="1432" y="4456"/>
                  </a:lnTo>
                  <a:lnTo>
                    <a:pt x="1434" y="4476"/>
                  </a:lnTo>
                  <a:lnTo>
                    <a:pt x="1434" y="4500"/>
                  </a:lnTo>
                  <a:lnTo>
                    <a:pt x="1436" y="4512"/>
                  </a:lnTo>
                  <a:lnTo>
                    <a:pt x="1438" y="4524"/>
                  </a:lnTo>
                  <a:lnTo>
                    <a:pt x="1442" y="4534"/>
                  </a:lnTo>
                  <a:lnTo>
                    <a:pt x="1450" y="4544"/>
                  </a:lnTo>
                  <a:lnTo>
                    <a:pt x="1458" y="4548"/>
                  </a:lnTo>
                  <a:lnTo>
                    <a:pt x="1464" y="4550"/>
                  </a:lnTo>
                  <a:lnTo>
                    <a:pt x="1470" y="4550"/>
                  </a:lnTo>
                  <a:lnTo>
                    <a:pt x="1476" y="4548"/>
                  </a:lnTo>
                  <a:lnTo>
                    <a:pt x="1488" y="4540"/>
                  </a:lnTo>
                  <a:lnTo>
                    <a:pt x="1502" y="4532"/>
                  </a:lnTo>
                  <a:lnTo>
                    <a:pt x="1508" y="4526"/>
                  </a:lnTo>
                  <a:lnTo>
                    <a:pt x="1512" y="4520"/>
                  </a:lnTo>
                  <a:lnTo>
                    <a:pt x="1516" y="4510"/>
                  </a:lnTo>
                  <a:lnTo>
                    <a:pt x="1518" y="4502"/>
                  </a:lnTo>
                  <a:lnTo>
                    <a:pt x="1518" y="4484"/>
                  </a:lnTo>
                  <a:lnTo>
                    <a:pt x="1516" y="4476"/>
                  </a:lnTo>
                  <a:lnTo>
                    <a:pt x="1514" y="4472"/>
                  </a:lnTo>
                  <a:lnTo>
                    <a:pt x="1512" y="4466"/>
                  </a:lnTo>
                  <a:lnTo>
                    <a:pt x="1512" y="4462"/>
                  </a:lnTo>
                  <a:lnTo>
                    <a:pt x="1510" y="4458"/>
                  </a:lnTo>
                  <a:lnTo>
                    <a:pt x="1508" y="4454"/>
                  </a:lnTo>
                  <a:close/>
                  <a:moveTo>
                    <a:pt x="1946" y="4308"/>
                  </a:moveTo>
                  <a:lnTo>
                    <a:pt x="1946" y="4308"/>
                  </a:lnTo>
                  <a:lnTo>
                    <a:pt x="1942" y="4310"/>
                  </a:lnTo>
                  <a:lnTo>
                    <a:pt x="1940" y="4316"/>
                  </a:lnTo>
                  <a:lnTo>
                    <a:pt x="1940" y="4322"/>
                  </a:lnTo>
                  <a:lnTo>
                    <a:pt x="1942" y="4328"/>
                  </a:lnTo>
                  <a:lnTo>
                    <a:pt x="1944" y="4328"/>
                  </a:lnTo>
                  <a:lnTo>
                    <a:pt x="1946" y="4326"/>
                  </a:lnTo>
                  <a:lnTo>
                    <a:pt x="1948" y="4320"/>
                  </a:lnTo>
                  <a:lnTo>
                    <a:pt x="1950" y="4312"/>
                  </a:lnTo>
                  <a:lnTo>
                    <a:pt x="1948" y="4310"/>
                  </a:lnTo>
                  <a:lnTo>
                    <a:pt x="1946" y="4308"/>
                  </a:lnTo>
                  <a:close/>
                  <a:moveTo>
                    <a:pt x="1996" y="4488"/>
                  </a:moveTo>
                  <a:lnTo>
                    <a:pt x="1996" y="4488"/>
                  </a:lnTo>
                  <a:lnTo>
                    <a:pt x="1994" y="4492"/>
                  </a:lnTo>
                  <a:lnTo>
                    <a:pt x="1994" y="4496"/>
                  </a:lnTo>
                  <a:lnTo>
                    <a:pt x="1994" y="4504"/>
                  </a:lnTo>
                  <a:lnTo>
                    <a:pt x="1998" y="4508"/>
                  </a:lnTo>
                  <a:lnTo>
                    <a:pt x="2000" y="4510"/>
                  </a:lnTo>
                  <a:lnTo>
                    <a:pt x="2002" y="4508"/>
                  </a:lnTo>
                  <a:lnTo>
                    <a:pt x="2004" y="4506"/>
                  </a:lnTo>
                  <a:lnTo>
                    <a:pt x="2004" y="4502"/>
                  </a:lnTo>
                  <a:lnTo>
                    <a:pt x="2004" y="4494"/>
                  </a:lnTo>
                  <a:lnTo>
                    <a:pt x="2000" y="4488"/>
                  </a:lnTo>
                  <a:lnTo>
                    <a:pt x="1998" y="4488"/>
                  </a:lnTo>
                  <a:lnTo>
                    <a:pt x="1996" y="4488"/>
                  </a:lnTo>
                  <a:close/>
                  <a:moveTo>
                    <a:pt x="1980" y="4454"/>
                  </a:moveTo>
                  <a:lnTo>
                    <a:pt x="1980" y="4454"/>
                  </a:lnTo>
                  <a:lnTo>
                    <a:pt x="1982" y="4454"/>
                  </a:lnTo>
                  <a:lnTo>
                    <a:pt x="1984" y="4454"/>
                  </a:lnTo>
                  <a:lnTo>
                    <a:pt x="1982" y="4448"/>
                  </a:lnTo>
                  <a:lnTo>
                    <a:pt x="1980" y="4448"/>
                  </a:lnTo>
                  <a:lnTo>
                    <a:pt x="1978" y="4448"/>
                  </a:lnTo>
                  <a:lnTo>
                    <a:pt x="1978" y="4450"/>
                  </a:lnTo>
                  <a:lnTo>
                    <a:pt x="1980" y="4454"/>
                  </a:lnTo>
                  <a:close/>
                  <a:moveTo>
                    <a:pt x="1954" y="4386"/>
                  </a:moveTo>
                  <a:lnTo>
                    <a:pt x="1954" y="4386"/>
                  </a:lnTo>
                  <a:lnTo>
                    <a:pt x="1952" y="4390"/>
                  </a:lnTo>
                  <a:lnTo>
                    <a:pt x="1952" y="4394"/>
                  </a:lnTo>
                  <a:lnTo>
                    <a:pt x="1954" y="4396"/>
                  </a:lnTo>
                  <a:lnTo>
                    <a:pt x="1958" y="4396"/>
                  </a:lnTo>
                  <a:lnTo>
                    <a:pt x="1960" y="4394"/>
                  </a:lnTo>
                  <a:lnTo>
                    <a:pt x="1958" y="4390"/>
                  </a:lnTo>
                  <a:lnTo>
                    <a:pt x="1958" y="4386"/>
                  </a:lnTo>
                  <a:lnTo>
                    <a:pt x="1956" y="4386"/>
                  </a:lnTo>
                  <a:lnTo>
                    <a:pt x="1954" y="4386"/>
                  </a:lnTo>
                  <a:close/>
                  <a:moveTo>
                    <a:pt x="2078" y="4702"/>
                  </a:moveTo>
                  <a:lnTo>
                    <a:pt x="2078" y="4702"/>
                  </a:lnTo>
                  <a:lnTo>
                    <a:pt x="2078" y="4706"/>
                  </a:lnTo>
                  <a:lnTo>
                    <a:pt x="2080" y="4710"/>
                  </a:lnTo>
                  <a:lnTo>
                    <a:pt x="2084" y="4714"/>
                  </a:lnTo>
                  <a:lnTo>
                    <a:pt x="2090" y="4720"/>
                  </a:lnTo>
                  <a:lnTo>
                    <a:pt x="2102" y="4728"/>
                  </a:lnTo>
                  <a:lnTo>
                    <a:pt x="2106" y="4730"/>
                  </a:lnTo>
                  <a:lnTo>
                    <a:pt x="2106" y="4726"/>
                  </a:lnTo>
                  <a:lnTo>
                    <a:pt x="2102" y="4716"/>
                  </a:lnTo>
                  <a:lnTo>
                    <a:pt x="2094" y="4706"/>
                  </a:lnTo>
                  <a:lnTo>
                    <a:pt x="2084" y="4700"/>
                  </a:lnTo>
                  <a:lnTo>
                    <a:pt x="2080" y="4700"/>
                  </a:lnTo>
                  <a:lnTo>
                    <a:pt x="2078" y="4702"/>
                  </a:lnTo>
                  <a:close/>
                  <a:moveTo>
                    <a:pt x="2508" y="4960"/>
                  </a:moveTo>
                  <a:lnTo>
                    <a:pt x="2508" y="4960"/>
                  </a:lnTo>
                  <a:lnTo>
                    <a:pt x="2502" y="4956"/>
                  </a:lnTo>
                  <a:lnTo>
                    <a:pt x="2500" y="4950"/>
                  </a:lnTo>
                  <a:lnTo>
                    <a:pt x="2496" y="4932"/>
                  </a:lnTo>
                  <a:lnTo>
                    <a:pt x="2494" y="4924"/>
                  </a:lnTo>
                  <a:lnTo>
                    <a:pt x="2490" y="4918"/>
                  </a:lnTo>
                  <a:lnTo>
                    <a:pt x="2484" y="4914"/>
                  </a:lnTo>
                  <a:lnTo>
                    <a:pt x="2476" y="4912"/>
                  </a:lnTo>
                  <a:lnTo>
                    <a:pt x="2466" y="4916"/>
                  </a:lnTo>
                  <a:lnTo>
                    <a:pt x="2464" y="4920"/>
                  </a:lnTo>
                  <a:lnTo>
                    <a:pt x="2464" y="4926"/>
                  </a:lnTo>
                  <a:lnTo>
                    <a:pt x="2462" y="4928"/>
                  </a:lnTo>
                  <a:lnTo>
                    <a:pt x="2460" y="4932"/>
                  </a:lnTo>
                  <a:lnTo>
                    <a:pt x="2456" y="4936"/>
                  </a:lnTo>
                  <a:lnTo>
                    <a:pt x="2454" y="4938"/>
                  </a:lnTo>
                  <a:lnTo>
                    <a:pt x="2454" y="4940"/>
                  </a:lnTo>
                  <a:lnTo>
                    <a:pt x="2456" y="4942"/>
                  </a:lnTo>
                  <a:lnTo>
                    <a:pt x="2464" y="4944"/>
                  </a:lnTo>
                  <a:lnTo>
                    <a:pt x="2474" y="4942"/>
                  </a:lnTo>
                  <a:lnTo>
                    <a:pt x="2478" y="4944"/>
                  </a:lnTo>
                  <a:lnTo>
                    <a:pt x="2480" y="4948"/>
                  </a:lnTo>
                  <a:lnTo>
                    <a:pt x="2484" y="4958"/>
                  </a:lnTo>
                  <a:lnTo>
                    <a:pt x="2488" y="4972"/>
                  </a:lnTo>
                  <a:lnTo>
                    <a:pt x="2490" y="4976"/>
                  </a:lnTo>
                  <a:lnTo>
                    <a:pt x="2494" y="4978"/>
                  </a:lnTo>
                  <a:lnTo>
                    <a:pt x="2502" y="4984"/>
                  </a:lnTo>
                  <a:lnTo>
                    <a:pt x="2508" y="4988"/>
                  </a:lnTo>
                  <a:lnTo>
                    <a:pt x="2512" y="4990"/>
                  </a:lnTo>
                  <a:lnTo>
                    <a:pt x="2516" y="4990"/>
                  </a:lnTo>
                  <a:lnTo>
                    <a:pt x="2518" y="4990"/>
                  </a:lnTo>
                  <a:lnTo>
                    <a:pt x="2520" y="4988"/>
                  </a:lnTo>
                  <a:lnTo>
                    <a:pt x="2518" y="4984"/>
                  </a:lnTo>
                  <a:lnTo>
                    <a:pt x="2516" y="4978"/>
                  </a:lnTo>
                  <a:lnTo>
                    <a:pt x="2514" y="4976"/>
                  </a:lnTo>
                  <a:lnTo>
                    <a:pt x="2516" y="4974"/>
                  </a:lnTo>
                  <a:lnTo>
                    <a:pt x="2518" y="4970"/>
                  </a:lnTo>
                  <a:lnTo>
                    <a:pt x="2518" y="4966"/>
                  </a:lnTo>
                  <a:lnTo>
                    <a:pt x="2514" y="4964"/>
                  </a:lnTo>
                  <a:lnTo>
                    <a:pt x="2508" y="4960"/>
                  </a:lnTo>
                  <a:close/>
                  <a:moveTo>
                    <a:pt x="2428" y="4870"/>
                  </a:moveTo>
                  <a:lnTo>
                    <a:pt x="2428" y="4870"/>
                  </a:lnTo>
                  <a:lnTo>
                    <a:pt x="2432" y="4868"/>
                  </a:lnTo>
                  <a:lnTo>
                    <a:pt x="2434" y="4862"/>
                  </a:lnTo>
                  <a:lnTo>
                    <a:pt x="2434" y="4858"/>
                  </a:lnTo>
                  <a:lnTo>
                    <a:pt x="2432" y="4856"/>
                  </a:lnTo>
                  <a:lnTo>
                    <a:pt x="2430" y="4856"/>
                  </a:lnTo>
                  <a:lnTo>
                    <a:pt x="2426" y="4858"/>
                  </a:lnTo>
                  <a:lnTo>
                    <a:pt x="2424" y="4860"/>
                  </a:lnTo>
                  <a:lnTo>
                    <a:pt x="2420" y="4866"/>
                  </a:lnTo>
                  <a:lnTo>
                    <a:pt x="2420" y="4868"/>
                  </a:lnTo>
                  <a:lnTo>
                    <a:pt x="2420" y="4872"/>
                  </a:lnTo>
                  <a:lnTo>
                    <a:pt x="2424" y="4872"/>
                  </a:lnTo>
                  <a:lnTo>
                    <a:pt x="2428" y="4870"/>
                  </a:lnTo>
                  <a:close/>
                  <a:moveTo>
                    <a:pt x="2450" y="4852"/>
                  </a:moveTo>
                  <a:lnTo>
                    <a:pt x="2450" y="4852"/>
                  </a:lnTo>
                  <a:lnTo>
                    <a:pt x="2444" y="4848"/>
                  </a:lnTo>
                  <a:lnTo>
                    <a:pt x="2434" y="4840"/>
                  </a:lnTo>
                  <a:lnTo>
                    <a:pt x="2430" y="4836"/>
                  </a:lnTo>
                  <a:lnTo>
                    <a:pt x="2428" y="4838"/>
                  </a:lnTo>
                  <a:lnTo>
                    <a:pt x="2428" y="4846"/>
                  </a:lnTo>
                  <a:lnTo>
                    <a:pt x="2430" y="4848"/>
                  </a:lnTo>
                  <a:lnTo>
                    <a:pt x="2432" y="4850"/>
                  </a:lnTo>
                  <a:lnTo>
                    <a:pt x="2438" y="4854"/>
                  </a:lnTo>
                  <a:lnTo>
                    <a:pt x="2446" y="4854"/>
                  </a:lnTo>
                  <a:lnTo>
                    <a:pt x="2450" y="4852"/>
                  </a:lnTo>
                  <a:close/>
                  <a:moveTo>
                    <a:pt x="2378" y="4806"/>
                  </a:moveTo>
                  <a:lnTo>
                    <a:pt x="2378" y="4806"/>
                  </a:lnTo>
                  <a:lnTo>
                    <a:pt x="2376" y="4806"/>
                  </a:lnTo>
                  <a:lnTo>
                    <a:pt x="2376" y="4810"/>
                  </a:lnTo>
                  <a:lnTo>
                    <a:pt x="2376" y="4812"/>
                  </a:lnTo>
                  <a:lnTo>
                    <a:pt x="2378" y="4814"/>
                  </a:lnTo>
                  <a:lnTo>
                    <a:pt x="2382" y="4814"/>
                  </a:lnTo>
                  <a:lnTo>
                    <a:pt x="2382" y="4810"/>
                  </a:lnTo>
                  <a:lnTo>
                    <a:pt x="2380" y="4806"/>
                  </a:lnTo>
                  <a:lnTo>
                    <a:pt x="2378" y="4806"/>
                  </a:lnTo>
                  <a:close/>
                  <a:moveTo>
                    <a:pt x="2422" y="4774"/>
                  </a:moveTo>
                  <a:lnTo>
                    <a:pt x="2422" y="4774"/>
                  </a:lnTo>
                  <a:lnTo>
                    <a:pt x="2414" y="4778"/>
                  </a:lnTo>
                  <a:lnTo>
                    <a:pt x="2412" y="4782"/>
                  </a:lnTo>
                  <a:lnTo>
                    <a:pt x="2410" y="4784"/>
                  </a:lnTo>
                  <a:lnTo>
                    <a:pt x="2406" y="4788"/>
                  </a:lnTo>
                  <a:lnTo>
                    <a:pt x="2406" y="4790"/>
                  </a:lnTo>
                  <a:lnTo>
                    <a:pt x="2410" y="4792"/>
                  </a:lnTo>
                  <a:lnTo>
                    <a:pt x="2414" y="4790"/>
                  </a:lnTo>
                  <a:lnTo>
                    <a:pt x="2420" y="4796"/>
                  </a:lnTo>
                  <a:lnTo>
                    <a:pt x="2416" y="4796"/>
                  </a:lnTo>
                  <a:lnTo>
                    <a:pt x="2414" y="4796"/>
                  </a:lnTo>
                  <a:lnTo>
                    <a:pt x="2414" y="4798"/>
                  </a:lnTo>
                  <a:lnTo>
                    <a:pt x="2414" y="4800"/>
                  </a:lnTo>
                  <a:lnTo>
                    <a:pt x="2418" y="4804"/>
                  </a:lnTo>
                  <a:lnTo>
                    <a:pt x="2420" y="4804"/>
                  </a:lnTo>
                  <a:lnTo>
                    <a:pt x="2422" y="4802"/>
                  </a:lnTo>
                  <a:lnTo>
                    <a:pt x="2420" y="4798"/>
                  </a:lnTo>
                  <a:lnTo>
                    <a:pt x="2432" y="4808"/>
                  </a:lnTo>
                  <a:lnTo>
                    <a:pt x="2436" y="4808"/>
                  </a:lnTo>
                  <a:lnTo>
                    <a:pt x="2438" y="4804"/>
                  </a:lnTo>
                  <a:lnTo>
                    <a:pt x="2438" y="4798"/>
                  </a:lnTo>
                  <a:lnTo>
                    <a:pt x="2438" y="4790"/>
                  </a:lnTo>
                  <a:lnTo>
                    <a:pt x="2436" y="4782"/>
                  </a:lnTo>
                  <a:lnTo>
                    <a:pt x="2434" y="4776"/>
                  </a:lnTo>
                  <a:lnTo>
                    <a:pt x="2428" y="4774"/>
                  </a:lnTo>
                  <a:lnTo>
                    <a:pt x="2422" y="4774"/>
                  </a:lnTo>
                  <a:close/>
                  <a:moveTo>
                    <a:pt x="2384" y="4796"/>
                  </a:moveTo>
                  <a:lnTo>
                    <a:pt x="2384" y="4796"/>
                  </a:lnTo>
                  <a:lnTo>
                    <a:pt x="2384" y="4798"/>
                  </a:lnTo>
                  <a:lnTo>
                    <a:pt x="2384" y="4802"/>
                  </a:lnTo>
                  <a:lnTo>
                    <a:pt x="2386" y="4806"/>
                  </a:lnTo>
                  <a:lnTo>
                    <a:pt x="2390" y="4806"/>
                  </a:lnTo>
                  <a:lnTo>
                    <a:pt x="2392" y="4806"/>
                  </a:lnTo>
                  <a:lnTo>
                    <a:pt x="2390" y="4802"/>
                  </a:lnTo>
                  <a:lnTo>
                    <a:pt x="2388" y="4798"/>
                  </a:lnTo>
                  <a:lnTo>
                    <a:pt x="2384" y="4796"/>
                  </a:lnTo>
                  <a:close/>
                  <a:moveTo>
                    <a:pt x="2578" y="4662"/>
                  </a:moveTo>
                  <a:lnTo>
                    <a:pt x="2578" y="4662"/>
                  </a:lnTo>
                  <a:lnTo>
                    <a:pt x="2580" y="4662"/>
                  </a:lnTo>
                  <a:lnTo>
                    <a:pt x="2584" y="4660"/>
                  </a:lnTo>
                  <a:lnTo>
                    <a:pt x="2584" y="4650"/>
                  </a:lnTo>
                  <a:lnTo>
                    <a:pt x="2584" y="4640"/>
                  </a:lnTo>
                  <a:lnTo>
                    <a:pt x="2582" y="4634"/>
                  </a:lnTo>
                  <a:lnTo>
                    <a:pt x="2578" y="4634"/>
                  </a:lnTo>
                  <a:lnTo>
                    <a:pt x="2574" y="4640"/>
                  </a:lnTo>
                  <a:lnTo>
                    <a:pt x="2570" y="4646"/>
                  </a:lnTo>
                  <a:lnTo>
                    <a:pt x="2572" y="4650"/>
                  </a:lnTo>
                  <a:lnTo>
                    <a:pt x="2574" y="4652"/>
                  </a:lnTo>
                  <a:lnTo>
                    <a:pt x="2578" y="4656"/>
                  </a:lnTo>
                  <a:lnTo>
                    <a:pt x="2576" y="4658"/>
                  </a:lnTo>
                  <a:lnTo>
                    <a:pt x="2574" y="4660"/>
                  </a:lnTo>
                  <a:lnTo>
                    <a:pt x="2578" y="4662"/>
                  </a:lnTo>
                  <a:close/>
                  <a:moveTo>
                    <a:pt x="2136" y="4766"/>
                  </a:moveTo>
                  <a:lnTo>
                    <a:pt x="2136" y="4766"/>
                  </a:lnTo>
                  <a:lnTo>
                    <a:pt x="2134" y="4768"/>
                  </a:lnTo>
                  <a:lnTo>
                    <a:pt x="2134" y="4772"/>
                  </a:lnTo>
                  <a:lnTo>
                    <a:pt x="2138" y="4782"/>
                  </a:lnTo>
                  <a:lnTo>
                    <a:pt x="2154" y="4806"/>
                  </a:lnTo>
                  <a:lnTo>
                    <a:pt x="2158" y="4812"/>
                  </a:lnTo>
                  <a:lnTo>
                    <a:pt x="2162" y="4812"/>
                  </a:lnTo>
                  <a:lnTo>
                    <a:pt x="2164" y="4810"/>
                  </a:lnTo>
                  <a:lnTo>
                    <a:pt x="2166" y="4806"/>
                  </a:lnTo>
                  <a:lnTo>
                    <a:pt x="2166" y="4794"/>
                  </a:lnTo>
                  <a:lnTo>
                    <a:pt x="2164" y="4790"/>
                  </a:lnTo>
                  <a:lnTo>
                    <a:pt x="2160" y="4786"/>
                  </a:lnTo>
                  <a:lnTo>
                    <a:pt x="2154" y="4780"/>
                  </a:lnTo>
                  <a:lnTo>
                    <a:pt x="2150" y="4772"/>
                  </a:lnTo>
                  <a:lnTo>
                    <a:pt x="2144" y="4768"/>
                  </a:lnTo>
                  <a:lnTo>
                    <a:pt x="2140" y="4766"/>
                  </a:lnTo>
                  <a:lnTo>
                    <a:pt x="2136" y="4766"/>
                  </a:lnTo>
                  <a:close/>
                  <a:moveTo>
                    <a:pt x="2832" y="5258"/>
                  </a:moveTo>
                  <a:lnTo>
                    <a:pt x="2832" y="5258"/>
                  </a:lnTo>
                  <a:lnTo>
                    <a:pt x="2828" y="5254"/>
                  </a:lnTo>
                  <a:lnTo>
                    <a:pt x="2828" y="5248"/>
                  </a:lnTo>
                  <a:lnTo>
                    <a:pt x="2832" y="5234"/>
                  </a:lnTo>
                  <a:lnTo>
                    <a:pt x="2832" y="5226"/>
                  </a:lnTo>
                  <a:lnTo>
                    <a:pt x="2832" y="5220"/>
                  </a:lnTo>
                  <a:lnTo>
                    <a:pt x="2828" y="5214"/>
                  </a:lnTo>
                  <a:lnTo>
                    <a:pt x="2820" y="5212"/>
                  </a:lnTo>
                  <a:lnTo>
                    <a:pt x="2808" y="5212"/>
                  </a:lnTo>
                  <a:lnTo>
                    <a:pt x="2798" y="5214"/>
                  </a:lnTo>
                  <a:lnTo>
                    <a:pt x="2786" y="5216"/>
                  </a:lnTo>
                  <a:lnTo>
                    <a:pt x="2780" y="5216"/>
                  </a:lnTo>
                  <a:lnTo>
                    <a:pt x="2772" y="5212"/>
                  </a:lnTo>
                  <a:lnTo>
                    <a:pt x="2762" y="5208"/>
                  </a:lnTo>
                  <a:lnTo>
                    <a:pt x="2762" y="5206"/>
                  </a:lnTo>
                  <a:lnTo>
                    <a:pt x="2762" y="5204"/>
                  </a:lnTo>
                  <a:lnTo>
                    <a:pt x="2762" y="5196"/>
                  </a:lnTo>
                  <a:lnTo>
                    <a:pt x="2762" y="5190"/>
                  </a:lnTo>
                  <a:lnTo>
                    <a:pt x="2758" y="5184"/>
                  </a:lnTo>
                  <a:lnTo>
                    <a:pt x="2754" y="5178"/>
                  </a:lnTo>
                  <a:lnTo>
                    <a:pt x="2752" y="5174"/>
                  </a:lnTo>
                  <a:lnTo>
                    <a:pt x="2748" y="5174"/>
                  </a:lnTo>
                  <a:lnTo>
                    <a:pt x="2746" y="5176"/>
                  </a:lnTo>
                  <a:lnTo>
                    <a:pt x="2740" y="5178"/>
                  </a:lnTo>
                  <a:lnTo>
                    <a:pt x="2738" y="5178"/>
                  </a:lnTo>
                  <a:lnTo>
                    <a:pt x="2734" y="5174"/>
                  </a:lnTo>
                  <a:lnTo>
                    <a:pt x="2730" y="5168"/>
                  </a:lnTo>
                  <a:lnTo>
                    <a:pt x="2728" y="5170"/>
                  </a:lnTo>
                  <a:lnTo>
                    <a:pt x="2726" y="5170"/>
                  </a:lnTo>
                  <a:lnTo>
                    <a:pt x="2720" y="5166"/>
                  </a:lnTo>
                  <a:lnTo>
                    <a:pt x="2718" y="5164"/>
                  </a:lnTo>
                  <a:lnTo>
                    <a:pt x="2714" y="5162"/>
                  </a:lnTo>
                  <a:lnTo>
                    <a:pt x="2708" y="5164"/>
                  </a:lnTo>
                  <a:lnTo>
                    <a:pt x="2704" y="5166"/>
                  </a:lnTo>
                  <a:lnTo>
                    <a:pt x="2700" y="5166"/>
                  </a:lnTo>
                  <a:lnTo>
                    <a:pt x="2698" y="5162"/>
                  </a:lnTo>
                  <a:lnTo>
                    <a:pt x="2694" y="5154"/>
                  </a:lnTo>
                  <a:lnTo>
                    <a:pt x="2692" y="5150"/>
                  </a:lnTo>
                  <a:lnTo>
                    <a:pt x="2688" y="5148"/>
                  </a:lnTo>
                  <a:lnTo>
                    <a:pt x="2686" y="5150"/>
                  </a:lnTo>
                  <a:lnTo>
                    <a:pt x="2682" y="5152"/>
                  </a:lnTo>
                  <a:lnTo>
                    <a:pt x="2680" y="5156"/>
                  </a:lnTo>
                  <a:lnTo>
                    <a:pt x="2676" y="5166"/>
                  </a:lnTo>
                  <a:lnTo>
                    <a:pt x="2670" y="5178"/>
                  </a:lnTo>
                  <a:lnTo>
                    <a:pt x="2668" y="5180"/>
                  </a:lnTo>
                  <a:lnTo>
                    <a:pt x="2666" y="5180"/>
                  </a:lnTo>
                  <a:lnTo>
                    <a:pt x="2660" y="5176"/>
                  </a:lnTo>
                  <a:lnTo>
                    <a:pt x="2654" y="5174"/>
                  </a:lnTo>
                  <a:lnTo>
                    <a:pt x="2646" y="5172"/>
                  </a:lnTo>
                  <a:lnTo>
                    <a:pt x="2634" y="5174"/>
                  </a:lnTo>
                  <a:lnTo>
                    <a:pt x="2630" y="5174"/>
                  </a:lnTo>
                  <a:lnTo>
                    <a:pt x="2626" y="5176"/>
                  </a:lnTo>
                  <a:lnTo>
                    <a:pt x="2620" y="5174"/>
                  </a:lnTo>
                  <a:lnTo>
                    <a:pt x="2612" y="5172"/>
                  </a:lnTo>
                  <a:lnTo>
                    <a:pt x="2604" y="5172"/>
                  </a:lnTo>
                  <a:lnTo>
                    <a:pt x="2600" y="5170"/>
                  </a:lnTo>
                  <a:lnTo>
                    <a:pt x="2596" y="5168"/>
                  </a:lnTo>
                  <a:lnTo>
                    <a:pt x="2594" y="5162"/>
                  </a:lnTo>
                  <a:lnTo>
                    <a:pt x="2590" y="5154"/>
                  </a:lnTo>
                  <a:lnTo>
                    <a:pt x="2588" y="5148"/>
                  </a:lnTo>
                  <a:lnTo>
                    <a:pt x="2586" y="5144"/>
                  </a:lnTo>
                  <a:lnTo>
                    <a:pt x="2584" y="5144"/>
                  </a:lnTo>
                  <a:lnTo>
                    <a:pt x="2582" y="5144"/>
                  </a:lnTo>
                  <a:lnTo>
                    <a:pt x="2576" y="5146"/>
                  </a:lnTo>
                  <a:lnTo>
                    <a:pt x="2574" y="5146"/>
                  </a:lnTo>
                  <a:lnTo>
                    <a:pt x="2570" y="5142"/>
                  </a:lnTo>
                  <a:lnTo>
                    <a:pt x="2566" y="5140"/>
                  </a:lnTo>
                  <a:lnTo>
                    <a:pt x="2564" y="5140"/>
                  </a:lnTo>
                  <a:lnTo>
                    <a:pt x="2558" y="5140"/>
                  </a:lnTo>
                  <a:lnTo>
                    <a:pt x="2554" y="5142"/>
                  </a:lnTo>
                  <a:lnTo>
                    <a:pt x="2552" y="5140"/>
                  </a:lnTo>
                  <a:lnTo>
                    <a:pt x="2550" y="5138"/>
                  </a:lnTo>
                  <a:lnTo>
                    <a:pt x="2544" y="5132"/>
                  </a:lnTo>
                  <a:lnTo>
                    <a:pt x="2538" y="5128"/>
                  </a:lnTo>
                  <a:lnTo>
                    <a:pt x="2532" y="5128"/>
                  </a:lnTo>
                  <a:lnTo>
                    <a:pt x="2530" y="5130"/>
                  </a:lnTo>
                  <a:lnTo>
                    <a:pt x="2530" y="5132"/>
                  </a:lnTo>
                  <a:lnTo>
                    <a:pt x="2528" y="5136"/>
                  </a:lnTo>
                  <a:lnTo>
                    <a:pt x="2526" y="5136"/>
                  </a:lnTo>
                  <a:lnTo>
                    <a:pt x="2520" y="5136"/>
                  </a:lnTo>
                  <a:lnTo>
                    <a:pt x="2512" y="5132"/>
                  </a:lnTo>
                  <a:lnTo>
                    <a:pt x="2498" y="5130"/>
                  </a:lnTo>
                  <a:lnTo>
                    <a:pt x="2492" y="5130"/>
                  </a:lnTo>
                  <a:lnTo>
                    <a:pt x="2488" y="5132"/>
                  </a:lnTo>
                  <a:lnTo>
                    <a:pt x="2486" y="5136"/>
                  </a:lnTo>
                  <a:lnTo>
                    <a:pt x="2484" y="5140"/>
                  </a:lnTo>
                  <a:lnTo>
                    <a:pt x="2482" y="5150"/>
                  </a:lnTo>
                  <a:lnTo>
                    <a:pt x="2480" y="5152"/>
                  </a:lnTo>
                  <a:lnTo>
                    <a:pt x="2478" y="5154"/>
                  </a:lnTo>
                  <a:lnTo>
                    <a:pt x="2474" y="5156"/>
                  </a:lnTo>
                  <a:lnTo>
                    <a:pt x="2472" y="5160"/>
                  </a:lnTo>
                  <a:lnTo>
                    <a:pt x="2472" y="5164"/>
                  </a:lnTo>
                  <a:lnTo>
                    <a:pt x="2464" y="5164"/>
                  </a:lnTo>
                  <a:lnTo>
                    <a:pt x="2460" y="5166"/>
                  </a:lnTo>
                  <a:lnTo>
                    <a:pt x="2458" y="5168"/>
                  </a:lnTo>
                  <a:lnTo>
                    <a:pt x="2460" y="5172"/>
                  </a:lnTo>
                  <a:lnTo>
                    <a:pt x="2464" y="5174"/>
                  </a:lnTo>
                  <a:lnTo>
                    <a:pt x="2474" y="5174"/>
                  </a:lnTo>
                  <a:lnTo>
                    <a:pt x="2482" y="5174"/>
                  </a:lnTo>
                  <a:lnTo>
                    <a:pt x="2490" y="5174"/>
                  </a:lnTo>
                  <a:lnTo>
                    <a:pt x="2494" y="5174"/>
                  </a:lnTo>
                  <a:lnTo>
                    <a:pt x="2496" y="5178"/>
                  </a:lnTo>
                  <a:lnTo>
                    <a:pt x="2500" y="5180"/>
                  </a:lnTo>
                  <a:lnTo>
                    <a:pt x="2504" y="5180"/>
                  </a:lnTo>
                  <a:lnTo>
                    <a:pt x="2510" y="5180"/>
                  </a:lnTo>
                  <a:lnTo>
                    <a:pt x="2512" y="5180"/>
                  </a:lnTo>
                  <a:lnTo>
                    <a:pt x="2508" y="5188"/>
                  </a:lnTo>
                  <a:lnTo>
                    <a:pt x="2506" y="5194"/>
                  </a:lnTo>
                  <a:lnTo>
                    <a:pt x="2508" y="5198"/>
                  </a:lnTo>
                  <a:lnTo>
                    <a:pt x="2510" y="5200"/>
                  </a:lnTo>
                  <a:lnTo>
                    <a:pt x="2516" y="5200"/>
                  </a:lnTo>
                  <a:lnTo>
                    <a:pt x="2536" y="5204"/>
                  </a:lnTo>
                  <a:lnTo>
                    <a:pt x="2550" y="5210"/>
                  </a:lnTo>
                  <a:lnTo>
                    <a:pt x="2570" y="5218"/>
                  </a:lnTo>
                  <a:lnTo>
                    <a:pt x="2576" y="5220"/>
                  </a:lnTo>
                  <a:lnTo>
                    <a:pt x="2584" y="5220"/>
                  </a:lnTo>
                  <a:lnTo>
                    <a:pt x="2588" y="5220"/>
                  </a:lnTo>
                  <a:lnTo>
                    <a:pt x="2594" y="5218"/>
                  </a:lnTo>
                  <a:lnTo>
                    <a:pt x="2602" y="5214"/>
                  </a:lnTo>
                  <a:lnTo>
                    <a:pt x="2606" y="5214"/>
                  </a:lnTo>
                  <a:lnTo>
                    <a:pt x="2608" y="5214"/>
                  </a:lnTo>
                  <a:lnTo>
                    <a:pt x="2614" y="5218"/>
                  </a:lnTo>
                  <a:lnTo>
                    <a:pt x="2620" y="5216"/>
                  </a:lnTo>
                  <a:lnTo>
                    <a:pt x="2628" y="5216"/>
                  </a:lnTo>
                  <a:lnTo>
                    <a:pt x="2642" y="5218"/>
                  </a:lnTo>
                  <a:lnTo>
                    <a:pt x="2648" y="5220"/>
                  </a:lnTo>
                  <a:lnTo>
                    <a:pt x="2654" y="5224"/>
                  </a:lnTo>
                  <a:lnTo>
                    <a:pt x="2662" y="5230"/>
                  </a:lnTo>
                  <a:lnTo>
                    <a:pt x="2668" y="5234"/>
                  </a:lnTo>
                  <a:lnTo>
                    <a:pt x="2676" y="5238"/>
                  </a:lnTo>
                  <a:lnTo>
                    <a:pt x="2690" y="5242"/>
                  </a:lnTo>
                  <a:lnTo>
                    <a:pt x="2706" y="5246"/>
                  </a:lnTo>
                  <a:lnTo>
                    <a:pt x="2722" y="5248"/>
                  </a:lnTo>
                  <a:lnTo>
                    <a:pt x="2726" y="5246"/>
                  </a:lnTo>
                  <a:lnTo>
                    <a:pt x="2728" y="5244"/>
                  </a:lnTo>
                  <a:lnTo>
                    <a:pt x="2732" y="5244"/>
                  </a:lnTo>
                  <a:lnTo>
                    <a:pt x="2752" y="5248"/>
                  </a:lnTo>
                  <a:lnTo>
                    <a:pt x="2764" y="5250"/>
                  </a:lnTo>
                  <a:lnTo>
                    <a:pt x="2770" y="5248"/>
                  </a:lnTo>
                  <a:lnTo>
                    <a:pt x="2772" y="5246"/>
                  </a:lnTo>
                  <a:lnTo>
                    <a:pt x="2774" y="5244"/>
                  </a:lnTo>
                  <a:lnTo>
                    <a:pt x="2774" y="5242"/>
                  </a:lnTo>
                  <a:lnTo>
                    <a:pt x="2776" y="5242"/>
                  </a:lnTo>
                  <a:lnTo>
                    <a:pt x="2794" y="5250"/>
                  </a:lnTo>
                  <a:lnTo>
                    <a:pt x="2806" y="5256"/>
                  </a:lnTo>
                  <a:lnTo>
                    <a:pt x="2814" y="5258"/>
                  </a:lnTo>
                  <a:lnTo>
                    <a:pt x="2820" y="5260"/>
                  </a:lnTo>
                  <a:lnTo>
                    <a:pt x="2828" y="5264"/>
                  </a:lnTo>
                  <a:lnTo>
                    <a:pt x="2834" y="5268"/>
                  </a:lnTo>
                  <a:lnTo>
                    <a:pt x="2836" y="5268"/>
                  </a:lnTo>
                  <a:lnTo>
                    <a:pt x="2836" y="5266"/>
                  </a:lnTo>
                  <a:lnTo>
                    <a:pt x="2836" y="5262"/>
                  </a:lnTo>
                  <a:lnTo>
                    <a:pt x="2832" y="5258"/>
                  </a:lnTo>
                  <a:close/>
                  <a:moveTo>
                    <a:pt x="2398" y="4778"/>
                  </a:moveTo>
                  <a:lnTo>
                    <a:pt x="2398" y="4778"/>
                  </a:lnTo>
                  <a:lnTo>
                    <a:pt x="2400" y="4780"/>
                  </a:lnTo>
                  <a:lnTo>
                    <a:pt x="2402" y="4780"/>
                  </a:lnTo>
                  <a:lnTo>
                    <a:pt x="2406" y="4780"/>
                  </a:lnTo>
                  <a:lnTo>
                    <a:pt x="2410" y="4776"/>
                  </a:lnTo>
                  <a:lnTo>
                    <a:pt x="2410" y="4774"/>
                  </a:lnTo>
                  <a:lnTo>
                    <a:pt x="2408" y="4772"/>
                  </a:lnTo>
                  <a:lnTo>
                    <a:pt x="2402" y="4772"/>
                  </a:lnTo>
                  <a:lnTo>
                    <a:pt x="2398" y="4774"/>
                  </a:lnTo>
                  <a:lnTo>
                    <a:pt x="2398" y="4776"/>
                  </a:lnTo>
                  <a:lnTo>
                    <a:pt x="2398" y="4778"/>
                  </a:lnTo>
                  <a:close/>
                  <a:moveTo>
                    <a:pt x="2330" y="4760"/>
                  </a:moveTo>
                  <a:lnTo>
                    <a:pt x="2330" y="4760"/>
                  </a:lnTo>
                  <a:lnTo>
                    <a:pt x="2330" y="4762"/>
                  </a:lnTo>
                  <a:lnTo>
                    <a:pt x="2332" y="4764"/>
                  </a:lnTo>
                  <a:lnTo>
                    <a:pt x="2340" y="4770"/>
                  </a:lnTo>
                  <a:lnTo>
                    <a:pt x="2348" y="4774"/>
                  </a:lnTo>
                  <a:lnTo>
                    <a:pt x="2350" y="4774"/>
                  </a:lnTo>
                  <a:lnTo>
                    <a:pt x="2350" y="4770"/>
                  </a:lnTo>
                  <a:lnTo>
                    <a:pt x="2350" y="4768"/>
                  </a:lnTo>
                  <a:lnTo>
                    <a:pt x="2346" y="4764"/>
                  </a:lnTo>
                  <a:lnTo>
                    <a:pt x="2340" y="4760"/>
                  </a:lnTo>
                  <a:lnTo>
                    <a:pt x="2334" y="4758"/>
                  </a:lnTo>
                  <a:lnTo>
                    <a:pt x="2332" y="4758"/>
                  </a:lnTo>
                  <a:lnTo>
                    <a:pt x="2330" y="4760"/>
                  </a:lnTo>
                  <a:close/>
                  <a:moveTo>
                    <a:pt x="2230" y="4942"/>
                  </a:moveTo>
                  <a:lnTo>
                    <a:pt x="2230" y="4942"/>
                  </a:lnTo>
                  <a:lnTo>
                    <a:pt x="2230" y="4944"/>
                  </a:lnTo>
                  <a:lnTo>
                    <a:pt x="2230" y="4946"/>
                  </a:lnTo>
                  <a:lnTo>
                    <a:pt x="2234" y="4952"/>
                  </a:lnTo>
                  <a:lnTo>
                    <a:pt x="2238" y="4956"/>
                  </a:lnTo>
                  <a:lnTo>
                    <a:pt x="2242" y="4956"/>
                  </a:lnTo>
                  <a:lnTo>
                    <a:pt x="2244" y="4954"/>
                  </a:lnTo>
                  <a:lnTo>
                    <a:pt x="2244" y="4952"/>
                  </a:lnTo>
                  <a:lnTo>
                    <a:pt x="2244" y="4950"/>
                  </a:lnTo>
                  <a:lnTo>
                    <a:pt x="2240" y="4944"/>
                  </a:lnTo>
                  <a:lnTo>
                    <a:pt x="2236" y="4940"/>
                  </a:lnTo>
                  <a:lnTo>
                    <a:pt x="2232" y="4940"/>
                  </a:lnTo>
                  <a:lnTo>
                    <a:pt x="2230" y="4942"/>
                  </a:lnTo>
                  <a:close/>
                  <a:moveTo>
                    <a:pt x="2194" y="4886"/>
                  </a:moveTo>
                  <a:lnTo>
                    <a:pt x="2194" y="4886"/>
                  </a:lnTo>
                  <a:lnTo>
                    <a:pt x="2192" y="4890"/>
                  </a:lnTo>
                  <a:lnTo>
                    <a:pt x="2192" y="4896"/>
                  </a:lnTo>
                  <a:lnTo>
                    <a:pt x="2194" y="4904"/>
                  </a:lnTo>
                  <a:lnTo>
                    <a:pt x="2198" y="4910"/>
                  </a:lnTo>
                  <a:lnTo>
                    <a:pt x="2208" y="4920"/>
                  </a:lnTo>
                  <a:lnTo>
                    <a:pt x="2214" y="4924"/>
                  </a:lnTo>
                  <a:lnTo>
                    <a:pt x="2218" y="4924"/>
                  </a:lnTo>
                  <a:lnTo>
                    <a:pt x="2220" y="4920"/>
                  </a:lnTo>
                  <a:lnTo>
                    <a:pt x="2220" y="4914"/>
                  </a:lnTo>
                  <a:lnTo>
                    <a:pt x="2214" y="4900"/>
                  </a:lnTo>
                  <a:lnTo>
                    <a:pt x="2210" y="4894"/>
                  </a:lnTo>
                  <a:lnTo>
                    <a:pt x="2204" y="4888"/>
                  </a:lnTo>
                  <a:lnTo>
                    <a:pt x="2200" y="4886"/>
                  </a:lnTo>
                  <a:lnTo>
                    <a:pt x="2194" y="4886"/>
                  </a:lnTo>
                  <a:close/>
                  <a:moveTo>
                    <a:pt x="2182" y="4866"/>
                  </a:moveTo>
                  <a:lnTo>
                    <a:pt x="2182" y="4866"/>
                  </a:lnTo>
                  <a:lnTo>
                    <a:pt x="2184" y="4868"/>
                  </a:lnTo>
                  <a:lnTo>
                    <a:pt x="2186" y="4866"/>
                  </a:lnTo>
                  <a:lnTo>
                    <a:pt x="2188" y="4862"/>
                  </a:lnTo>
                  <a:lnTo>
                    <a:pt x="2188" y="4856"/>
                  </a:lnTo>
                  <a:lnTo>
                    <a:pt x="2186" y="4850"/>
                  </a:lnTo>
                  <a:lnTo>
                    <a:pt x="2184" y="4850"/>
                  </a:lnTo>
                  <a:lnTo>
                    <a:pt x="2182" y="4850"/>
                  </a:lnTo>
                  <a:lnTo>
                    <a:pt x="2180" y="4854"/>
                  </a:lnTo>
                  <a:lnTo>
                    <a:pt x="2180" y="4860"/>
                  </a:lnTo>
                  <a:lnTo>
                    <a:pt x="2180" y="4864"/>
                  </a:lnTo>
                  <a:lnTo>
                    <a:pt x="2182" y="4866"/>
                  </a:lnTo>
                  <a:close/>
                  <a:moveTo>
                    <a:pt x="2248" y="4964"/>
                  </a:moveTo>
                  <a:lnTo>
                    <a:pt x="2248" y="4964"/>
                  </a:lnTo>
                  <a:lnTo>
                    <a:pt x="2246" y="4968"/>
                  </a:lnTo>
                  <a:lnTo>
                    <a:pt x="2246" y="4974"/>
                  </a:lnTo>
                  <a:lnTo>
                    <a:pt x="2248" y="4976"/>
                  </a:lnTo>
                  <a:lnTo>
                    <a:pt x="2252" y="4978"/>
                  </a:lnTo>
                  <a:lnTo>
                    <a:pt x="2254" y="4978"/>
                  </a:lnTo>
                  <a:lnTo>
                    <a:pt x="2256" y="4980"/>
                  </a:lnTo>
                  <a:lnTo>
                    <a:pt x="2260" y="4990"/>
                  </a:lnTo>
                  <a:lnTo>
                    <a:pt x="2262" y="4996"/>
                  </a:lnTo>
                  <a:lnTo>
                    <a:pt x="2264" y="4996"/>
                  </a:lnTo>
                  <a:lnTo>
                    <a:pt x="2266" y="4994"/>
                  </a:lnTo>
                  <a:lnTo>
                    <a:pt x="2266" y="4990"/>
                  </a:lnTo>
                  <a:lnTo>
                    <a:pt x="2266" y="4984"/>
                  </a:lnTo>
                  <a:lnTo>
                    <a:pt x="2260" y="4974"/>
                  </a:lnTo>
                  <a:lnTo>
                    <a:pt x="2254" y="4964"/>
                  </a:lnTo>
                  <a:lnTo>
                    <a:pt x="2250" y="4964"/>
                  </a:lnTo>
                  <a:lnTo>
                    <a:pt x="2248" y="4964"/>
                  </a:lnTo>
                  <a:close/>
                  <a:moveTo>
                    <a:pt x="2354" y="4788"/>
                  </a:moveTo>
                  <a:lnTo>
                    <a:pt x="2354" y="4788"/>
                  </a:lnTo>
                  <a:lnTo>
                    <a:pt x="2352" y="4784"/>
                  </a:lnTo>
                  <a:lnTo>
                    <a:pt x="2350" y="4792"/>
                  </a:lnTo>
                  <a:lnTo>
                    <a:pt x="2348" y="4796"/>
                  </a:lnTo>
                  <a:lnTo>
                    <a:pt x="2348" y="4800"/>
                  </a:lnTo>
                  <a:lnTo>
                    <a:pt x="2352" y="4800"/>
                  </a:lnTo>
                  <a:lnTo>
                    <a:pt x="2358" y="4802"/>
                  </a:lnTo>
                  <a:lnTo>
                    <a:pt x="2364" y="4802"/>
                  </a:lnTo>
                  <a:lnTo>
                    <a:pt x="2370" y="4804"/>
                  </a:lnTo>
                  <a:lnTo>
                    <a:pt x="2372" y="4804"/>
                  </a:lnTo>
                  <a:lnTo>
                    <a:pt x="2372" y="4800"/>
                  </a:lnTo>
                  <a:lnTo>
                    <a:pt x="2372" y="4798"/>
                  </a:lnTo>
                  <a:lnTo>
                    <a:pt x="2370" y="4796"/>
                  </a:lnTo>
                  <a:lnTo>
                    <a:pt x="2364" y="4794"/>
                  </a:lnTo>
                  <a:lnTo>
                    <a:pt x="2358" y="4792"/>
                  </a:lnTo>
                  <a:lnTo>
                    <a:pt x="2354" y="4788"/>
                  </a:lnTo>
                  <a:close/>
                  <a:moveTo>
                    <a:pt x="2484" y="5128"/>
                  </a:moveTo>
                  <a:lnTo>
                    <a:pt x="2484" y="5128"/>
                  </a:lnTo>
                  <a:lnTo>
                    <a:pt x="2486" y="5124"/>
                  </a:lnTo>
                  <a:lnTo>
                    <a:pt x="2486" y="5120"/>
                  </a:lnTo>
                  <a:lnTo>
                    <a:pt x="2488" y="5108"/>
                  </a:lnTo>
                  <a:lnTo>
                    <a:pt x="2486" y="5092"/>
                  </a:lnTo>
                  <a:lnTo>
                    <a:pt x="2488" y="5076"/>
                  </a:lnTo>
                  <a:lnTo>
                    <a:pt x="2488" y="5062"/>
                  </a:lnTo>
                  <a:lnTo>
                    <a:pt x="2486" y="5056"/>
                  </a:lnTo>
                  <a:lnTo>
                    <a:pt x="2484" y="5050"/>
                  </a:lnTo>
                  <a:lnTo>
                    <a:pt x="2486" y="5038"/>
                  </a:lnTo>
                  <a:lnTo>
                    <a:pt x="2488" y="5028"/>
                  </a:lnTo>
                  <a:lnTo>
                    <a:pt x="2488" y="5020"/>
                  </a:lnTo>
                  <a:lnTo>
                    <a:pt x="2486" y="5014"/>
                  </a:lnTo>
                  <a:lnTo>
                    <a:pt x="2492" y="5004"/>
                  </a:lnTo>
                  <a:lnTo>
                    <a:pt x="2494" y="4998"/>
                  </a:lnTo>
                  <a:lnTo>
                    <a:pt x="2496" y="4994"/>
                  </a:lnTo>
                  <a:lnTo>
                    <a:pt x="2494" y="4990"/>
                  </a:lnTo>
                  <a:lnTo>
                    <a:pt x="2492" y="4988"/>
                  </a:lnTo>
                  <a:lnTo>
                    <a:pt x="2486" y="4982"/>
                  </a:lnTo>
                  <a:lnTo>
                    <a:pt x="2482" y="4978"/>
                  </a:lnTo>
                  <a:lnTo>
                    <a:pt x="2480" y="4972"/>
                  </a:lnTo>
                  <a:lnTo>
                    <a:pt x="2476" y="4962"/>
                  </a:lnTo>
                  <a:lnTo>
                    <a:pt x="2472" y="4956"/>
                  </a:lnTo>
                  <a:lnTo>
                    <a:pt x="2468" y="4954"/>
                  </a:lnTo>
                  <a:lnTo>
                    <a:pt x="2460" y="4956"/>
                  </a:lnTo>
                  <a:lnTo>
                    <a:pt x="2456" y="4958"/>
                  </a:lnTo>
                  <a:lnTo>
                    <a:pt x="2452" y="4956"/>
                  </a:lnTo>
                  <a:lnTo>
                    <a:pt x="2450" y="4956"/>
                  </a:lnTo>
                  <a:lnTo>
                    <a:pt x="2446" y="4958"/>
                  </a:lnTo>
                  <a:lnTo>
                    <a:pt x="2440" y="4962"/>
                  </a:lnTo>
                  <a:lnTo>
                    <a:pt x="2442" y="4956"/>
                  </a:lnTo>
                  <a:lnTo>
                    <a:pt x="2446" y="4946"/>
                  </a:lnTo>
                  <a:lnTo>
                    <a:pt x="2446" y="4942"/>
                  </a:lnTo>
                  <a:lnTo>
                    <a:pt x="2442" y="4940"/>
                  </a:lnTo>
                  <a:lnTo>
                    <a:pt x="2438" y="4938"/>
                  </a:lnTo>
                  <a:lnTo>
                    <a:pt x="2436" y="4932"/>
                  </a:lnTo>
                  <a:lnTo>
                    <a:pt x="2430" y="4914"/>
                  </a:lnTo>
                  <a:lnTo>
                    <a:pt x="2428" y="4904"/>
                  </a:lnTo>
                  <a:lnTo>
                    <a:pt x="2426" y="4898"/>
                  </a:lnTo>
                  <a:lnTo>
                    <a:pt x="2422" y="4892"/>
                  </a:lnTo>
                  <a:lnTo>
                    <a:pt x="2420" y="4890"/>
                  </a:lnTo>
                  <a:lnTo>
                    <a:pt x="2416" y="4890"/>
                  </a:lnTo>
                  <a:lnTo>
                    <a:pt x="2410" y="4890"/>
                  </a:lnTo>
                  <a:lnTo>
                    <a:pt x="2404" y="4890"/>
                  </a:lnTo>
                  <a:lnTo>
                    <a:pt x="2394" y="4884"/>
                  </a:lnTo>
                  <a:lnTo>
                    <a:pt x="2390" y="4880"/>
                  </a:lnTo>
                  <a:lnTo>
                    <a:pt x="2388" y="4876"/>
                  </a:lnTo>
                  <a:lnTo>
                    <a:pt x="2388" y="4872"/>
                  </a:lnTo>
                  <a:lnTo>
                    <a:pt x="2388" y="4868"/>
                  </a:lnTo>
                  <a:lnTo>
                    <a:pt x="2390" y="4862"/>
                  </a:lnTo>
                  <a:lnTo>
                    <a:pt x="2392" y="4858"/>
                  </a:lnTo>
                  <a:lnTo>
                    <a:pt x="2390" y="4852"/>
                  </a:lnTo>
                  <a:lnTo>
                    <a:pt x="2390" y="4848"/>
                  </a:lnTo>
                  <a:lnTo>
                    <a:pt x="2392" y="4846"/>
                  </a:lnTo>
                  <a:lnTo>
                    <a:pt x="2396" y="4844"/>
                  </a:lnTo>
                  <a:lnTo>
                    <a:pt x="2400" y="4842"/>
                  </a:lnTo>
                  <a:lnTo>
                    <a:pt x="2402" y="4836"/>
                  </a:lnTo>
                  <a:lnTo>
                    <a:pt x="2402" y="4832"/>
                  </a:lnTo>
                  <a:lnTo>
                    <a:pt x="2400" y="4826"/>
                  </a:lnTo>
                  <a:lnTo>
                    <a:pt x="2396" y="4822"/>
                  </a:lnTo>
                  <a:lnTo>
                    <a:pt x="2392" y="4818"/>
                  </a:lnTo>
                  <a:lnTo>
                    <a:pt x="2386" y="4816"/>
                  </a:lnTo>
                  <a:lnTo>
                    <a:pt x="2380" y="4818"/>
                  </a:lnTo>
                  <a:lnTo>
                    <a:pt x="2376" y="4820"/>
                  </a:lnTo>
                  <a:lnTo>
                    <a:pt x="2374" y="4820"/>
                  </a:lnTo>
                  <a:lnTo>
                    <a:pt x="2372" y="4814"/>
                  </a:lnTo>
                  <a:lnTo>
                    <a:pt x="2372" y="4812"/>
                  </a:lnTo>
                  <a:lnTo>
                    <a:pt x="2368" y="4808"/>
                  </a:lnTo>
                  <a:lnTo>
                    <a:pt x="2364" y="4806"/>
                  </a:lnTo>
                  <a:lnTo>
                    <a:pt x="2356" y="4804"/>
                  </a:lnTo>
                  <a:lnTo>
                    <a:pt x="2348" y="4802"/>
                  </a:lnTo>
                  <a:lnTo>
                    <a:pt x="2342" y="4796"/>
                  </a:lnTo>
                  <a:lnTo>
                    <a:pt x="2340" y="4790"/>
                  </a:lnTo>
                  <a:lnTo>
                    <a:pt x="2338" y="4784"/>
                  </a:lnTo>
                  <a:lnTo>
                    <a:pt x="2336" y="4776"/>
                  </a:lnTo>
                  <a:lnTo>
                    <a:pt x="2332" y="4768"/>
                  </a:lnTo>
                  <a:lnTo>
                    <a:pt x="2324" y="4762"/>
                  </a:lnTo>
                  <a:lnTo>
                    <a:pt x="2314" y="4758"/>
                  </a:lnTo>
                  <a:lnTo>
                    <a:pt x="2308" y="4756"/>
                  </a:lnTo>
                  <a:lnTo>
                    <a:pt x="2304" y="4754"/>
                  </a:lnTo>
                  <a:lnTo>
                    <a:pt x="2302" y="4748"/>
                  </a:lnTo>
                  <a:lnTo>
                    <a:pt x="2300" y="4740"/>
                  </a:lnTo>
                  <a:lnTo>
                    <a:pt x="2298" y="4738"/>
                  </a:lnTo>
                  <a:lnTo>
                    <a:pt x="2296" y="4734"/>
                  </a:lnTo>
                  <a:lnTo>
                    <a:pt x="2288" y="4728"/>
                  </a:lnTo>
                  <a:lnTo>
                    <a:pt x="2284" y="4728"/>
                  </a:lnTo>
                  <a:lnTo>
                    <a:pt x="2282" y="4730"/>
                  </a:lnTo>
                  <a:lnTo>
                    <a:pt x="2282" y="4732"/>
                  </a:lnTo>
                  <a:lnTo>
                    <a:pt x="2282" y="4740"/>
                  </a:lnTo>
                  <a:lnTo>
                    <a:pt x="2282" y="4742"/>
                  </a:lnTo>
                  <a:lnTo>
                    <a:pt x="2280" y="4740"/>
                  </a:lnTo>
                  <a:lnTo>
                    <a:pt x="2274" y="4736"/>
                  </a:lnTo>
                  <a:lnTo>
                    <a:pt x="2270" y="4732"/>
                  </a:lnTo>
                  <a:lnTo>
                    <a:pt x="2266" y="4728"/>
                  </a:lnTo>
                  <a:lnTo>
                    <a:pt x="2262" y="4718"/>
                  </a:lnTo>
                  <a:lnTo>
                    <a:pt x="2258" y="4710"/>
                  </a:lnTo>
                  <a:lnTo>
                    <a:pt x="2254" y="4708"/>
                  </a:lnTo>
                  <a:lnTo>
                    <a:pt x="2252" y="4708"/>
                  </a:lnTo>
                  <a:lnTo>
                    <a:pt x="2248" y="4702"/>
                  </a:lnTo>
                  <a:lnTo>
                    <a:pt x="2242" y="4692"/>
                  </a:lnTo>
                  <a:lnTo>
                    <a:pt x="2234" y="4680"/>
                  </a:lnTo>
                  <a:lnTo>
                    <a:pt x="2222" y="4670"/>
                  </a:lnTo>
                  <a:lnTo>
                    <a:pt x="2214" y="4666"/>
                  </a:lnTo>
                  <a:lnTo>
                    <a:pt x="2208" y="4664"/>
                  </a:lnTo>
                  <a:lnTo>
                    <a:pt x="2204" y="4662"/>
                  </a:lnTo>
                  <a:lnTo>
                    <a:pt x="2200" y="4658"/>
                  </a:lnTo>
                  <a:lnTo>
                    <a:pt x="2196" y="4652"/>
                  </a:lnTo>
                  <a:lnTo>
                    <a:pt x="2192" y="4646"/>
                  </a:lnTo>
                  <a:lnTo>
                    <a:pt x="2190" y="4644"/>
                  </a:lnTo>
                  <a:lnTo>
                    <a:pt x="2186" y="4642"/>
                  </a:lnTo>
                  <a:lnTo>
                    <a:pt x="2182" y="4640"/>
                  </a:lnTo>
                  <a:lnTo>
                    <a:pt x="2180" y="4638"/>
                  </a:lnTo>
                  <a:lnTo>
                    <a:pt x="2180" y="4632"/>
                  </a:lnTo>
                  <a:lnTo>
                    <a:pt x="2178" y="4626"/>
                  </a:lnTo>
                  <a:lnTo>
                    <a:pt x="2176" y="4624"/>
                  </a:lnTo>
                  <a:lnTo>
                    <a:pt x="2174" y="4622"/>
                  </a:lnTo>
                  <a:lnTo>
                    <a:pt x="2170" y="4620"/>
                  </a:lnTo>
                  <a:lnTo>
                    <a:pt x="2168" y="4618"/>
                  </a:lnTo>
                  <a:lnTo>
                    <a:pt x="2166" y="4612"/>
                  </a:lnTo>
                  <a:lnTo>
                    <a:pt x="2166" y="4604"/>
                  </a:lnTo>
                  <a:lnTo>
                    <a:pt x="2162" y="4598"/>
                  </a:lnTo>
                  <a:lnTo>
                    <a:pt x="2158" y="4592"/>
                  </a:lnTo>
                  <a:lnTo>
                    <a:pt x="2150" y="4582"/>
                  </a:lnTo>
                  <a:lnTo>
                    <a:pt x="2146" y="4582"/>
                  </a:lnTo>
                  <a:lnTo>
                    <a:pt x="2146" y="4584"/>
                  </a:lnTo>
                  <a:lnTo>
                    <a:pt x="2142" y="4586"/>
                  </a:lnTo>
                  <a:lnTo>
                    <a:pt x="2138" y="4586"/>
                  </a:lnTo>
                  <a:lnTo>
                    <a:pt x="2134" y="4584"/>
                  </a:lnTo>
                  <a:lnTo>
                    <a:pt x="2130" y="4582"/>
                  </a:lnTo>
                  <a:lnTo>
                    <a:pt x="2128" y="4580"/>
                  </a:lnTo>
                  <a:lnTo>
                    <a:pt x="2122" y="4582"/>
                  </a:lnTo>
                  <a:lnTo>
                    <a:pt x="2114" y="4584"/>
                  </a:lnTo>
                  <a:lnTo>
                    <a:pt x="2108" y="4584"/>
                  </a:lnTo>
                  <a:lnTo>
                    <a:pt x="2098" y="4584"/>
                  </a:lnTo>
                  <a:lnTo>
                    <a:pt x="2088" y="4580"/>
                  </a:lnTo>
                  <a:lnTo>
                    <a:pt x="2086" y="4578"/>
                  </a:lnTo>
                  <a:lnTo>
                    <a:pt x="2084" y="4576"/>
                  </a:lnTo>
                  <a:lnTo>
                    <a:pt x="2082" y="4572"/>
                  </a:lnTo>
                  <a:lnTo>
                    <a:pt x="2078" y="4568"/>
                  </a:lnTo>
                  <a:lnTo>
                    <a:pt x="2070" y="4566"/>
                  </a:lnTo>
                  <a:lnTo>
                    <a:pt x="2062" y="4564"/>
                  </a:lnTo>
                  <a:lnTo>
                    <a:pt x="2058" y="4566"/>
                  </a:lnTo>
                  <a:lnTo>
                    <a:pt x="2056" y="4570"/>
                  </a:lnTo>
                  <a:lnTo>
                    <a:pt x="2056" y="4576"/>
                  </a:lnTo>
                  <a:lnTo>
                    <a:pt x="2058" y="4584"/>
                  </a:lnTo>
                  <a:lnTo>
                    <a:pt x="2060" y="4594"/>
                  </a:lnTo>
                  <a:lnTo>
                    <a:pt x="2070" y="4612"/>
                  </a:lnTo>
                  <a:lnTo>
                    <a:pt x="2080" y="4626"/>
                  </a:lnTo>
                  <a:lnTo>
                    <a:pt x="2086" y="4634"/>
                  </a:lnTo>
                  <a:lnTo>
                    <a:pt x="2094" y="4640"/>
                  </a:lnTo>
                  <a:lnTo>
                    <a:pt x="2102" y="4650"/>
                  </a:lnTo>
                  <a:lnTo>
                    <a:pt x="2104" y="4654"/>
                  </a:lnTo>
                  <a:lnTo>
                    <a:pt x="2108" y="4658"/>
                  </a:lnTo>
                  <a:lnTo>
                    <a:pt x="2114" y="4658"/>
                  </a:lnTo>
                  <a:lnTo>
                    <a:pt x="2116" y="4658"/>
                  </a:lnTo>
                  <a:lnTo>
                    <a:pt x="2120" y="4660"/>
                  </a:lnTo>
                  <a:lnTo>
                    <a:pt x="2124" y="4664"/>
                  </a:lnTo>
                  <a:lnTo>
                    <a:pt x="2130" y="4672"/>
                  </a:lnTo>
                  <a:lnTo>
                    <a:pt x="2138" y="4686"/>
                  </a:lnTo>
                  <a:lnTo>
                    <a:pt x="2138" y="4690"/>
                  </a:lnTo>
                  <a:lnTo>
                    <a:pt x="2138" y="4692"/>
                  </a:lnTo>
                  <a:lnTo>
                    <a:pt x="2146" y="4698"/>
                  </a:lnTo>
                  <a:lnTo>
                    <a:pt x="2152" y="4702"/>
                  </a:lnTo>
                  <a:lnTo>
                    <a:pt x="2154" y="4706"/>
                  </a:lnTo>
                  <a:lnTo>
                    <a:pt x="2154" y="4716"/>
                  </a:lnTo>
                  <a:lnTo>
                    <a:pt x="2156" y="4720"/>
                  </a:lnTo>
                  <a:lnTo>
                    <a:pt x="2158" y="4724"/>
                  </a:lnTo>
                  <a:lnTo>
                    <a:pt x="2162" y="4730"/>
                  </a:lnTo>
                  <a:lnTo>
                    <a:pt x="2172" y="4736"/>
                  </a:lnTo>
                  <a:lnTo>
                    <a:pt x="2182" y="4742"/>
                  </a:lnTo>
                  <a:lnTo>
                    <a:pt x="2192" y="4748"/>
                  </a:lnTo>
                  <a:lnTo>
                    <a:pt x="2198" y="4756"/>
                  </a:lnTo>
                  <a:lnTo>
                    <a:pt x="2200" y="4760"/>
                  </a:lnTo>
                  <a:lnTo>
                    <a:pt x="2200" y="4762"/>
                  </a:lnTo>
                  <a:lnTo>
                    <a:pt x="2198" y="4766"/>
                  </a:lnTo>
                  <a:lnTo>
                    <a:pt x="2198" y="4772"/>
                  </a:lnTo>
                  <a:lnTo>
                    <a:pt x="2206" y="4794"/>
                  </a:lnTo>
                  <a:lnTo>
                    <a:pt x="2214" y="4820"/>
                  </a:lnTo>
                  <a:lnTo>
                    <a:pt x="2218" y="4828"/>
                  </a:lnTo>
                  <a:lnTo>
                    <a:pt x="2226" y="4834"/>
                  </a:lnTo>
                  <a:lnTo>
                    <a:pt x="2234" y="4838"/>
                  </a:lnTo>
                  <a:lnTo>
                    <a:pt x="2236" y="4844"/>
                  </a:lnTo>
                  <a:lnTo>
                    <a:pt x="2240" y="4854"/>
                  </a:lnTo>
                  <a:lnTo>
                    <a:pt x="2254" y="4870"/>
                  </a:lnTo>
                  <a:lnTo>
                    <a:pt x="2260" y="4876"/>
                  </a:lnTo>
                  <a:lnTo>
                    <a:pt x="2262" y="4882"/>
                  </a:lnTo>
                  <a:lnTo>
                    <a:pt x="2264" y="4886"/>
                  </a:lnTo>
                  <a:lnTo>
                    <a:pt x="2264" y="4890"/>
                  </a:lnTo>
                  <a:lnTo>
                    <a:pt x="2262" y="4898"/>
                  </a:lnTo>
                  <a:lnTo>
                    <a:pt x="2264" y="4900"/>
                  </a:lnTo>
                  <a:lnTo>
                    <a:pt x="2266" y="4904"/>
                  </a:lnTo>
                  <a:lnTo>
                    <a:pt x="2274" y="4912"/>
                  </a:lnTo>
                  <a:lnTo>
                    <a:pt x="2278" y="4922"/>
                  </a:lnTo>
                  <a:lnTo>
                    <a:pt x="2282" y="4934"/>
                  </a:lnTo>
                  <a:lnTo>
                    <a:pt x="2284" y="4946"/>
                  </a:lnTo>
                  <a:lnTo>
                    <a:pt x="2290" y="4960"/>
                  </a:lnTo>
                  <a:lnTo>
                    <a:pt x="2300" y="4976"/>
                  </a:lnTo>
                  <a:lnTo>
                    <a:pt x="2312" y="4992"/>
                  </a:lnTo>
                  <a:lnTo>
                    <a:pt x="2326" y="5008"/>
                  </a:lnTo>
                  <a:lnTo>
                    <a:pt x="2336" y="5018"/>
                  </a:lnTo>
                  <a:lnTo>
                    <a:pt x="2342" y="5028"/>
                  </a:lnTo>
                  <a:lnTo>
                    <a:pt x="2350" y="5038"/>
                  </a:lnTo>
                  <a:lnTo>
                    <a:pt x="2364" y="5054"/>
                  </a:lnTo>
                  <a:lnTo>
                    <a:pt x="2380" y="5072"/>
                  </a:lnTo>
                  <a:lnTo>
                    <a:pt x="2394" y="5084"/>
                  </a:lnTo>
                  <a:lnTo>
                    <a:pt x="2404" y="5094"/>
                  </a:lnTo>
                  <a:lnTo>
                    <a:pt x="2416" y="5108"/>
                  </a:lnTo>
                  <a:lnTo>
                    <a:pt x="2426" y="5122"/>
                  </a:lnTo>
                  <a:lnTo>
                    <a:pt x="2434" y="5132"/>
                  </a:lnTo>
                  <a:lnTo>
                    <a:pt x="2436" y="5134"/>
                  </a:lnTo>
                  <a:lnTo>
                    <a:pt x="2438" y="5134"/>
                  </a:lnTo>
                  <a:lnTo>
                    <a:pt x="2434" y="5120"/>
                  </a:lnTo>
                  <a:lnTo>
                    <a:pt x="2434" y="5112"/>
                  </a:lnTo>
                  <a:lnTo>
                    <a:pt x="2434" y="5110"/>
                  </a:lnTo>
                  <a:lnTo>
                    <a:pt x="2438" y="5112"/>
                  </a:lnTo>
                  <a:lnTo>
                    <a:pt x="2444" y="5114"/>
                  </a:lnTo>
                  <a:lnTo>
                    <a:pt x="2450" y="5118"/>
                  </a:lnTo>
                  <a:lnTo>
                    <a:pt x="2454" y="5120"/>
                  </a:lnTo>
                  <a:lnTo>
                    <a:pt x="2458" y="5118"/>
                  </a:lnTo>
                  <a:lnTo>
                    <a:pt x="2460" y="5114"/>
                  </a:lnTo>
                  <a:lnTo>
                    <a:pt x="2462" y="5108"/>
                  </a:lnTo>
                  <a:lnTo>
                    <a:pt x="2464" y="5108"/>
                  </a:lnTo>
                  <a:lnTo>
                    <a:pt x="2470" y="5116"/>
                  </a:lnTo>
                  <a:lnTo>
                    <a:pt x="2476" y="5126"/>
                  </a:lnTo>
                  <a:lnTo>
                    <a:pt x="2480" y="5128"/>
                  </a:lnTo>
                  <a:lnTo>
                    <a:pt x="2484" y="5128"/>
                  </a:lnTo>
                  <a:close/>
                  <a:moveTo>
                    <a:pt x="2344" y="4774"/>
                  </a:moveTo>
                  <a:lnTo>
                    <a:pt x="2344" y="4774"/>
                  </a:lnTo>
                  <a:lnTo>
                    <a:pt x="2340" y="4772"/>
                  </a:lnTo>
                  <a:lnTo>
                    <a:pt x="2338" y="4772"/>
                  </a:lnTo>
                  <a:lnTo>
                    <a:pt x="2338" y="4774"/>
                  </a:lnTo>
                  <a:lnTo>
                    <a:pt x="2338" y="4776"/>
                  </a:lnTo>
                  <a:lnTo>
                    <a:pt x="2340" y="4784"/>
                  </a:lnTo>
                  <a:lnTo>
                    <a:pt x="2344" y="4792"/>
                  </a:lnTo>
                  <a:lnTo>
                    <a:pt x="2346" y="4792"/>
                  </a:lnTo>
                  <a:lnTo>
                    <a:pt x="2348" y="4788"/>
                  </a:lnTo>
                  <a:lnTo>
                    <a:pt x="2348" y="4780"/>
                  </a:lnTo>
                  <a:lnTo>
                    <a:pt x="2346" y="4776"/>
                  </a:lnTo>
                  <a:lnTo>
                    <a:pt x="2344" y="4774"/>
                  </a:lnTo>
                  <a:close/>
                  <a:moveTo>
                    <a:pt x="2374" y="4792"/>
                  </a:moveTo>
                  <a:lnTo>
                    <a:pt x="2374" y="4792"/>
                  </a:lnTo>
                  <a:lnTo>
                    <a:pt x="2372" y="4786"/>
                  </a:lnTo>
                  <a:lnTo>
                    <a:pt x="2366" y="4784"/>
                  </a:lnTo>
                  <a:lnTo>
                    <a:pt x="2360" y="4782"/>
                  </a:lnTo>
                  <a:lnTo>
                    <a:pt x="2358" y="4782"/>
                  </a:lnTo>
                  <a:lnTo>
                    <a:pt x="2358" y="4784"/>
                  </a:lnTo>
                  <a:lnTo>
                    <a:pt x="2358" y="4788"/>
                  </a:lnTo>
                  <a:lnTo>
                    <a:pt x="2364" y="4790"/>
                  </a:lnTo>
                  <a:lnTo>
                    <a:pt x="2372" y="4794"/>
                  </a:lnTo>
                  <a:lnTo>
                    <a:pt x="2374" y="4794"/>
                  </a:lnTo>
                  <a:lnTo>
                    <a:pt x="2374" y="4792"/>
                  </a:lnTo>
                  <a:close/>
                  <a:moveTo>
                    <a:pt x="2316" y="4736"/>
                  </a:moveTo>
                  <a:lnTo>
                    <a:pt x="2316" y="4736"/>
                  </a:lnTo>
                  <a:lnTo>
                    <a:pt x="2312" y="4736"/>
                  </a:lnTo>
                  <a:lnTo>
                    <a:pt x="2310" y="4736"/>
                  </a:lnTo>
                  <a:lnTo>
                    <a:pt x="2306" y="4740"/>
                  </a:lnTo>
                  <a:lnTo>
                    <a:pt x="2306" y="4746"/>
                  </a:lnTo>
                  <a:lnTo>
                    <a:pt x="2308" y="4750"/>
                  </a:lnTo>
                  <a:lnTo>
                    <a:pt x="2310" y="4752"/>
                  </a:lnTo>
                  <a:lnTo>
                    <a:pt x="2312" y="4752"/>
                  </a:lnTo>
                  <a:lnTo>
                    <a:pt x="2314" y="4752"/>
                  </a:lnTo>
                  <a:lnTo>
                    <a:pt x="2318" y="4746"/>
                  </a:lnTo>
                  <a:lnTo>
                    <a:pt x="2318" y="4740"/>
                  </a:lnTo>
                  <a:lnTo>
                    <a:pt x="2318" y="4736"/>
                  </a:lnTo>
                  <a:lnTo>
                    <a:pt x="2316" y="4736"/>
                  </a:lnTo>
                  <a:close/>
                  <a:moveTo>
                    <a:pt x="36" y="5458"/>
                  </a:moveTo>
                  <a:lnTo>
                    <a:pt x="36" y="5458"/>
                  </a:lnTo>
                  <a:lnTo>
                    <a:pt x="32" y="5458"/>
                  </a:lnTo>
                  <a:lnTo>
                    <a:pt x="30" y="5460"/>
                  </a:lnTo>
                  <a:lnTo>
                    <a:pt x="32" y="5464"/>
                  </a:lnTo>
                  <a:lnTo>
                    <a:pt x="36" y="5470"/>
                  </a:lnTo>
                  <a:lnTo>
                    <a:pt x="38" y="5472"/>
                  </a:lnTo>
                  <a:lnTo>
                    <a:pt x="40" y="5472"/>
                  </a:lnTo>
                  <a:lnTo>
                    <a:pt x="40" y="5468"/>
                  </a:lnTo>
                  <a:lnTo>
                    <a:pt x="40" y="5462"/>
                  </a:lnTo>
                  <a:lnTo>
                    <a:pt x="36" y="5458"/>
                  </a:lnTo>
                  <a:close/>
                  <a:moveTo>
                    <a:pt x="2554" y="4992"/>
                  </a:moveTo>
                  <a:lnTo>
                    <a:pt x="2554" y="4992"/>
                  </a:lnTo>
                  <a:lnTo>
                    <a:pt x="2558" y="4998"/>
                  </a:lnTo>
                  <a:lnTo>
                    <a:pt x="2560" y="4998"/>
                  </a:lnTo>
                  <a:lnTo>
                    <a:pt x="2562" y="4996"/>
                  </a:lnTo>
                  <a:lnTo>
                    <a:pt x="2564" y="4994"/>
                  </a:lnTo>
                  <a:lnTo>
                    <a:pt x="2566" y="4994"/>
                  </a:lnTo>
                  <a:lnTo>
                    <a:pt x="2570" y="4994"/>
                  </a:lnTo>
                  <a:lnTo>
                    <a:pt x="2574" y="4994"/>
                  </a:lnTo>
                  <a:lnTo>
                    <a:pt x="2578" y="4988"/>
                  </a:lnTo>
                  <a:lnTo>
                    <a:pt x="2582" y="4980"/>
                  </a:lnTo>
                  <a:lnTo>
                    <a:pt x="2582" y="4976"/>
                  </a:lnTo>
                  <a:lnTo>
                    <a:pt x="2580" y="4974"/>
                  </a:lnTo>
                  <a:lnTo>
                    <a:pt x="2576" y="4968"/>
                  </a:lnTo>
                  <a:lnTo>
                    <a:pt x="2568" y="4964"/>
                  </a:lnTo>
                  <a:lnTo>
                    <a:pt x="2562" y="4962"/>
                  </a:lnTo>
                  <a:lnTo>
                    <a:pt x="2558" y="4964"/>
                  </a:lnTo>
                  <a:lnTo>
                    <a:pt x="2556" y="4968"/>
                  </a:lnTo>
                  <a:lnTo>
                    <a:pt x="2554" y="4972"/>
                  </a:lnTo>
                  <a:lnTo>
                    <a:pt x="2552" y="4982"/>
                  </a:lnTo>
                  <a:lnTo>
                    <a:pt x="2552" y="4988"/>
                  </a:lnTo>
                  <a:lnTo>
                    <a:pt x="2554" y="4992"/>
                  </a:lnTo>
                  <a:close/>
                  <a:moveTo>
                    <a:pt x="8" y="5430"/>
                  </a:moveTo>
                  <a:lnTo>
                    <a:pt x="8" y="5430"/>
                  </a:lnTo>
                  <a:lnTo>
                    <a:pt x="6" y="5434"/>
                  </a:lnTo>
                  <a:lnTo>
                    <a:pt x="6" y="5436"/>
                  </a:lnTo>
                  <a:lnTo>
                    <a:pt x="6" y="5440"/>
                  </a:lnTo>
                  <a:lnTo>
                    <a:pt x="10" y="5444"/>
                  </a:lnTo>
                  <a:lnTo>
                    <a:pt x="14" y="5442"/>
                  </a:lnTo>
                  <a:lnTo>
                    <a:pt x="14" y="5438"/>
                  </a:lnTo>
                  <a:lnTo>
                    <a:pt x="14" y="5434"/>
                  </a:lnTo>
                  <a:lnTo>
                    <a:pt x="12" y="5430"/>
                  </a:lnTo>
                  <a:lnTo>
                    <a:pt x="10" y="5430"/>
                  </a:lnTo>
                  <a:lnTo>
                    <a:pt x="8" y="5430"/>
                  </a:lnTo>
                  <a:close/>
                  <a:moveTo>
                    <a:pt x="3222" y="4178"/>
                  </a:moveTo>
                  <a:lnTo>
                    <a:pt x="3222" y="4178"/>
                  </a:lnTo>
                  <a:lnTo>
                    <a:pt x="3224" y="4178"/>
                  </a:lnTo>
                  <a:lnTo>
                    <a:pt x="3228" y="4176"/>
                  </a:lnTo>
                  <a:lnTo>
                    <a:pt x="3232" y="4172"/>
                  </a:lnTo>
                  <a:lnTo>
                    <a:pt x="3234" y="4166"/>
                  </a:lnTo>
                  <a:lnTo>
                    <a:pt x="3232" y="4162"/>
                  </a:lnTo>
                  <a:lnTo>
                    <a:pt x="3232" y="4160"/>
                  </a:lnTo>
                  <a:lnTo>
                    <a:pt x="3230" y="4160"/>
                  </a:lnTo>
                  <a:lnTo>
                    <a:pt x="3228" y="4156"/>
                  </a:lnTo>
                  <a:lnTo>
                    <a:pt x="3226" y="4152"/>
                  </a:lnTo>
                  <a:lnTo>
                    <a:pt x="3224" y="4150"/>
                  </a:lnTo>
                  <a:lnTo>
                    <a:pt x="3222" y="4154"/>
                  </a:lnTo>
                  <a:lnTo>
                    <a:pt x="3222" y="4160"/>
                  </a:lnTo>
                  <a:lnTo>
                    <a:pt x="3222" y="4168"/>
                  </a:lnTo>
                  <a:lnTo>
                    <a:pt x="3220" y="4172"/>
                  </a:lnTo>
                  <a:lnTo>
                    <a:pt x="3218" y="4174"/>
                  </a:lnTo>
                  <a:lnTo>
                    <a:pt x="3222" y="4178"/>
                  </a:lnTo>
                  <a:close/>
                  <a:moveTo>
                    <a:pt x="3526" y="3176"/>
                  </a:moveTo>
                  <a:lnTo>
                    <a:pt x="3526" y="3176"/>
                  </a:lnTo>
                  <a:lnTo>
                    <a:pt x="3522" y="3176"/>
                  </a:lnTo>
                  <a:lnTo>
                    <a:pt x="3520" y="3174"/>
                  </a:lnTo>
                  <a:lnTo>
                    <a:pt x="3522" y="3168"/>
                  </a:lnTo>
                  <a:lnTo>
                    <a:pt x="3526" y="3162"/>
                  </a:lnTo>
                  <a:lnTo>
                    <a:pt x="3526" y="3158"/>
                  </a:lnTo>
                  <a:lnTo>
                    <a:pt x="3526" y="3154"/>
                  </a:lnTo>
                  <a:lnTo>
                    <a:pt x="3522" y="3152"/>
                  </a:lnTo>
                  <a:lnTo>
                    <a:pt x="3518" y="3152"/>
                  </a:lnTo>
                  <a:lnTo>
                    <a:pt x="3510" y="3156"/>
                  </a:lnTo>
                  <a:lnTo>
                    <a:pt x="3506" y="3156"/>
                  </a:lnTo>
                  <a:lnTo>
                    <a:pt x="3504" y="3156"/>
                  </a:lnTo>
                  <a:lnTo>
                    <a:pt x="3500" y="3154"/>
                  </a:lnTo>
                  <a:lnTo>
                    <a:pt x="3500" y="3148"/>
                  </a:lnTo>
                  <a:lnTo>
                    <a:pt x="3498" y="3146"/>
                  </a:lnTo>
                  <a:lnTo>
                    <a:pt x="3496" y="3142"/>
                  </a:lnTo>
                  <a:lnTo>
                    <a:pt x="3490" y="3140"/>
                  </a:lnTo>
                  <a:lnTo>
                    <a:pt x="3486" y="3140"/>
                  </a:lnTo>
                  <a:lnTo>
                    <a:pt x="3482" y="3140"/>
                  </a:lnTo>
                  <a:lnTo>
                    <a:pt x="3478" y="3144"/>
                  </a:lnTo>
                  <a:lnTo>
                    <a:pt x="3476" y="3148"/>
                  </a:lnTo>
                  <a:lnTo>
                    <a:pt x="3474" y="3154"/>
                  </a:lnTo>
                  <a:lnTo>
                    <a:pt x="3470" y="3154"/>
                  </a:lnTo>
                  <a:lnTo>
                    <a:pt x="3466" y="3154"/>
                  </a:lnTo>
                  <a:lnTo>
                    <a:pt x="3464" y="3160"/>
                  </a:lnTo>
                  <a:lnTo>
                    <a:pt x="3462" y="3164"/>
                  </a:lnTo>
                  <a:lnTo>
                    <a:pt x="3460" y="3164"/>
                  </a:lnTo>
                  <a:lnTo>
                    <a:pt x="3456" y="3160"/>
                  </a:lnTo>
                  <a:lnTo>
                    <a:pt x="3454" y="3158"/>
                  </a:lnTo>
                  <a:lnTo>
                    <a:pt x="3452" y="3164"/>
                  </a:lnTo>
                  <a:lnTo>
                    <a:pt x="3452" y="3168"/>
                  </a:lnTo>
                  <a:lnTo>
                    <a:pt x="3448" y="3170"/>
                  </a:lnTo>
                  <a:lnTo>
                    <a:pt x="3444" y="3168"/>
                  </a:lnTo>
                  <a:lnTo>
                    <a:pt x="3440" y="3168"/>
                  </a:lnTo>
                  <a:lnTo>
                    <a:pt x="3442" y="3174"/>
                  </a:lnTo>
                  <a:lnTo>
                    <a:pt x="3444" y="3182"/>
                  </a:lnTo>
                  <a:lnTo>
                    <a:pt x="3444" y="3186"/>
                  </a:lnTo>
                  <a:lnTo>
                    <a:pt x="3444" y="3190"/>
                  </a:lnTo>
                  <a:lnTo>
                    <a:pt x="3446" y="3196"/>
                  </a:lnTo>
                  <a:lnTo>
                    <a:pt x="3448" y="3200"/>
                  </a:lnTo>
                  <a:lnTo>
                    <a:pt x="3450" y="3204"/>
                  </a:lnTo>
                  <a:lnTo>
                    <a:pt x="3450" y="3210"/>
                  </a:lnTo>
                  <a:lnTo>
                    <a:pt x="3456" y="3204"/>
                  </a:lnTo>
                  <a:lnTo>
                    <a:pt x="3460" y="3202"/>
                  </a:lnTo>
                  <a:lnTo>
                    <a:pt x="3464" y="3200"/>
                  </a:lnTo>
                  <a:lnTo>
                    <a:pt x="3464" y="3202"/>
                  </a:lnTo>
                  <a:lnTo>
                    <a:pt x="3464" y="3204"/>
                  </a:lnTo>
                  <a:lnTo>
                    <a:pt x="3466" y="3208"/>
                  </a:lnTo>
                  <a:lnTo>
                    <a:pt x="3468" y="3208"/>
                  </a:lnTo>
                  <a:lnTo>
                    <a:pt x="3472" y="3206"/>
                  </a:lnTo>
                  <a:lnTo>
                    <a:pt x="3474" y="3204"/>
                  </a:lnTo>
                  <a:lnTo>
                    <a:pt x="3474" y="3200"/>
                  </a:lnTo>
                  <a:lnTo>
                    <a:pt x="3472" y="3198"/>
                  </a:lnTo>
                  <a:lnTo>
                    <a:pt x="3468" y="3194"/>
                  </a:lnTo>
                  <a:lnTo>
                    <a:pt x="3466" y="3192"/>
                  </a:lnTo>
                  <a:lnTo>
                    <a:pt x="3464" y="3188"/>
                  </a:lnTo>
                  <a:lnTo>
                    <a:pt x="3466" y="3182"/>
                  </a:lnTo>
                  <a:lnTo>
                    <a:pt x="3466" y="3180"/>
                  </a:lnTo>
                  <a:lnTo>
                    <a:pt x="3468" y="3180"/>
                  </a:lnTo>
                  <a:lnTo>
                    <a:pt x="3470" y="3182"/>
                  </a:lnTo>
                  <a:lnTo>
                    <a:pt x="3474" y="3186"/>
                  </a:lnTo>
                  <a:lnTo>
                    <a:pt x="3480" y="3196"/>
                  </a:lnTo>
                  <a:lnTo>
                    <a:pt x="3482" y="3208"/>
                  </a:lnTo>
                  <a:lnTo>
                    <a:pt x="3480" y="3218"/>
                  </a:lnTo>
                  <a:lnTo>
                    <a:pt x="3474" y="3228"/>
                  </a:lnTo>
                  <a:lnTo>
                    <a:pt x="3468" y="3236"/>
                  </a:lnTo>
                  <a:lnTo>
                    <a:pt x="3466" y="3242"/>
                  </a:lnTo>
                  <a:lnTo>
                    <a:pt x="3470" y="3258"/>
                  </a:lnTo>
                  <a:lnTo>
                    <a:pt x="3470" y="3266"/>
                  </a:lnTo>
                  <a:lnTo>
                    <a:pt x="3468" y="3270"/>
                  </a:lnTo>
                  <a:lnTo>
                    <a:pt x="3466" y="3274"/>
                  </a:lnTo>
                  <a:lnTo>
                    <a:pt x="3466" y="3276"/>
                  </a:lnTo>
                  <a:lnTo>
                    <a:pt x="3476" y="3280"/>
                  </a:lnTo>
                  <a:lnTo>
                    <a:pt x="3482" y="3282"/>
                  </a:lnTo>
                  <a:lnTo>
                    <a:pt x="3486" y="3286"/>
                  </a:lnTo>
                  <a:lnTo>
                    <a:pt x="3486" y="3290"/>
                  </a:lnTo>
                  <a:lnTo>
                    <a:pt x="3486" y="3292"/>
                  </a:lnTo>
                  <a:lnTo>
                    <a:pt x="3488" y="3292"/>
                  </a:lnTo>
                  <a:lnTo>
                    <a:pt x="3496" y="3288"/>
                  </a:lnTo>
                  <a:lnTo>
                    <a:pt x="3500" y="3284"/>
                  </a:lnTo>
                  <a:lnTo>
                    <a:pt x="3502" y="3280"/>
                  </a:lnTo>
                  <a:lnTo>
                    <a:pt x="3502" y="3278"/>
                  </a:lnTo>
                  <a:lnTo>
                    <a:pt x="3502" y="3276"/>
                  </a:lnTo>
                  <a:lnTo>
                    <a:pt x="3500" y="3272"/>
                  </a:lnTo>
                  <a:lnTo>
                    <a:pt x="3502" y="3270"/>
                  </a:lnTo>
                  <a:lnTo>
                    <a:pt x="3506" y="3268"/>
                  </a:lnTo>
                  <a:lnTo>
                    <a:pt x="3508" y="3270"/>
                  </a:lnTo>
                  <a:lnTo>
                    <a:pt x="3510" y="3274"/>
                  </a:lnTo>
                  <a:lnTo>
                    <a:pt x="3514" y="3272"/>
                  </a:lnTo>
                  <a:lnTo>
                    <a:pt x="3516" y="3268"/>
                  </a:lnTo>
                  <a:lnTo>
                    <a:pt x="3518" y="3260"/>
                  </a:lnTo>
                  <a:lnTo>
                    <a:pt x="3522" y="3236"/>
                  </a:lnTo>
                  <a:lnTo>
                    <a:pt x="3528" y="3212"/>
                  </a:lnTo>
                  <a:lnTo>
                    <a:pt x="3532" y="3202"/>
                  </a:lnTo>
                  <a:lnTo>
                    <a:pt x="3534" y="3200"/>
                  </a:lnTo>
                  <a:lnTo>
                    <a:pt x="3538" y="3198"/>
                  </a:lnTo>
                  <a:lnTo>
                    <a:pt x="3540" y="3196"/>
                  </a:lnTo>
                  <a:lnTo>
                    <a:pt x="3542" y="3194"/>
                  </a:lnTo>
                  <a:lnTo>
                    <a:pt x="3540" y="3186"/>
                  </a:lnTo>
                  <a:lnTo>
                    <a:pt x="3534" y="3180"/>
                  </a:lnTo>
                  <a:lnTo>
                    <a:pt x="3530" y="3178"/>
                  </a:lnTo>
                  <a:lnTo>
                    <a:pt x="3526" y="3176"/>
                  </a:lnTo>
                  <a:close/>
                  <a:moveTo>
                    <a:pt x="3432" y="3438"/>
                  </a:moveTo>
                  <a:lnTo>
                    <a:pt x="3432" y="3438"/>
                  </a:lnTo>
                  <a:lnTo>
                    <a:pt x="3432" y="3442"/>
                  </a:lnTo>
                  <a:lnTo>
                    <a:pt x="3434" y="3442"/>
                  </a:lnTo>
                  <a:lnTo>
                    <a:pt x="3440" y="3436"/>
                  </a:lnTo>
                  <a:lnTo>
                    <a:pt x="3446" y="3428"/>
                  </a:lnTo>
                  <a:lnTo>
                    <a:pt x="3448" y="3424"/>
                  </a:lnTo>
                  <a:lnTo>
                    <a:pt x="3448" y="3422"/>
                  </a:lnTo>
                  <a:lnTo>
                    <a:pt x="3444" y="3422"/>
                  </a:lnTo>
                  <a:lnTo>
                    <a:pt x="3438" y="3424"/>
                  </a:lnTo>
                  <a:lnTo>
                    <a:pt x="3434" y="3430"/>
                  </a:lnTo>
                  <a:lnTo>
                    <a:pt x="3432" y="3434"/>
                  </a:lnTo>
                  <a:lnTo>
                    <a:pt x="3432" y="3438"/>
                  </a:lnTo>
                  <a:close/>
                  <a:moveTo>
                    <a:pt x="3434" y="3100"/>
                  </a:moveTo>
                  <a:lnTo>
                    <a:pt x="3434" y="3100"/>
                  </a:lnTo>
                  <a:lnTo>
                    <a:pt x="3432" y="3102"/>
                  </a:lnTo>
                  <a:lnTo>
                    <a:pt x="3430" y="3106"/>
                  </a:lnTo>
                  <a:lnTo>
                    <a:pt x="3430" y="3110"/>
                  </a:lnTo>
                  <a:lnTo>
                    <a:pt x="3428" y="3116"/>
                  </a:lnTo>
                  <a:lnTo>
                    <a:pt x="3426" y="3126"/>
                  </a:lnTo>
                  <a:lnTo>
                    <a:pt x="3426" y="3130"/>
                  </a:lnTo>
                  <a:lnTo>
                    <a:pt x="3428" y="3128"/>
                  </a:lnTo>
                  <a:lnTo>
                    <a:pt x="3430" y="3124"/>
                  </a:lnTo>
                  <a:lnTo>
                    <a:pt x="3432" y="3120"/>
                  </a:lnTo>
                  <a:lnTo>
                    <a:pt x="3434" y="3114"/>
                  </a:lnTo>
                  <a:lnTo>
                    <a:pt x="3436" y="3110"/>
                  </a:lnTo>
                  <a:lnTo>
                    <a:pt x="3438" y="3104"/>
                  </a:lnTo>
                  <a:lnTo>
                    <a:pt x="3438" y="3100"/>
                  </a:lnTo>
                  <a:lnTo>
                    <a:pt x="3436" y="3100"/>
                  </a:lnTo>
                  <a:lnTo>
                    <a:pt x="3434" y="3100"/>
                  </a:lnTo>
                  <a:close/>
                  <a:moveTo>
                    <a:pt x="4106" y="2564"/>
                  </a:moveTo>
                  <a:lnTo>
                    <a:pt x="4106" y="2564"/>
                  </a:lnTo>
                  <a:lnTo>
                    <a:pt x="4098" y="2576"/>
                  </a:lnTo>
                  <a:lnTo>
                    <a:pt x="4088" y="2586"/>
                  </a:lnTo>
                  <a:lnTo>
                    <a:pt x="4084" y="2594"/>
                  </a:lnTo>
                  <a:lnTo>
                    <a:pt x="4082" y="2598"/>
                  </a:lnTo>
                  <a:lnTo>
                    <a:pt x="4084" y="2604"/>
                  </a:lnTo>
                  <a:lnTo>
                    <a:pt x="4086" y="2604"/>
                  </a:lnTo>
                  <a:lnTo>
                    <a:pt x="4088" y="2602"/>
                  </a:lnTo>
                  <a:lnTo>
                    <a:pt x="4094" y="2592"/>
                  </a:lnTo>
                  <a:lnTo>
                    <a:pt x="4098" y="2586"/>
                  </a:lnTo>
                  <a:lnTo>
                    <a:pt x="4104" y="2580"/>
                  </a:lnTo>
                  <a:lnTo>
                    <a:pt x="4112" y="2574"/>
                  </a:lnTo>
                  <a:lnTo>
                    <a:pt x="4122" y="2570"/>
                  </a:lnTo>
                  <a:lnTo>
                    <a:pt x="4126" y="2568"/>
                  </a:lnTo>
                  <a:lnTo>
                    <a:pt x="4126" y="2566"/>
                  </a:lnTo>
                  <a:lnTo>
                    <a:pt x="4120" y="2562"/>
                  </a:lnTo>
                  <a:lnTo>
                    <a:pt x="4112" y="2562"/>
                  </a:lnTo>
                  <a:lnTo>
                    <a:pt x="4108" y="2562"/>
                  </a:lnTo>
                  <a:lnTo>
                    <a:pt x="4106" y="2564"/>
                  </a:lnTo>
                  <a:close/>
                  <a:moveTo>
                    <a:pt x="3472" y="4884"/>
                  </a:moveTo>
                  <a:lnTo>
                    <a:pt x="3472" y="4884"/>
                  </a:lnTo>
                  <a:lnTo>
                    <a:pt x="3474" y="4884"/>
                  </a:lnTo>
                  <a:lnTo>
                    <a:pt x="3476" y="4884"/>
                  </a:lnTo>
                  <a:lnTo>
                    <a:pt x="3484" y="4882"/>
                  </a:lnTo>
                  <a:lnTo>
                    <a:pt x="3488" y="4880"/>
                  </a:lnTo>
                  <a:lnTo>
                    <a:pt x="3490" y="4878"/>
                  </a:lnTo>
                  <a:lnTo>
                    <a:pt x="3488" y="4878"/>
                  </a:lnTo>
                  <a:lnTo>
                    <a:pt x="3478" y="4878"/>
                  </a:lnTo>
                  <a:lnTo>
                    <a:pt x="3472" y="4880"/>
                  </a:lnTo>
                  <a:lnTo>
                    <a:pt x="3472" y="4882"/>
                  </a:lnTo>
                  <a:lnTo>
                    <a:pt x="3472" y="4884"/>
                  </a:lnTo>
                  <a:close/>
                  <a:moveTo>
                    <a:pt x="3468" y="3214"/>
                  </a:moveTo>
                  <a:lnTo>
                    <a:pt x="3468" y="3214"/>
                  </a:lnTo>
                  <a:lnTo>
                    <a:pt x="3468" y="3212"/>
                  </a:lnTo>
                  <a:lnTo>
                    <a:pt x="3466" y="3212"/>
                  </a:lnTo>
                  <a:lnTo>
                    <a:pt x="3462" y="3212"/>
                  </a:lnTo>
                  <a:lnTo>
                    <a:pt x="3460" y="3218"/>
                  </a:lnTo>
                  <a:lnTo>
                    <a:pt x="3460" y="3224"/>
                  </a:lnTo>
                  <a:lnTo>
                    <a:pt x="3460" y="3226"/>
                  </a:lnTo>
                  <a:lnTo>
                    <a:pt x="3462" y="3226"/>
                  </a:lnTo>
                  <a:lnTo>
                    <a:pt x="3464" y="3224"/>
                  </a:lnTo>
                  <a:lnTo>
                    <a:pt x="3468" y="3220"/>
                  </a:lnTo>
                  <a:lnTo>
                    <a:pt x="3468" y="3214"/>
                  </a:lnTo>
                  <a:close/>
                  <a:moveTo>
                    <a:pt x="3482" y="3322"/>
                  </a:moveTo>
                  <a:lnTo>
                    <a:pt x="3482" y="3322"/>
                  </a:lnTo>
                  <a:lnTo>
                    <a:pt x="3478" y="3322"/>
                  </a:lnTo>
                  <a:lnTo>
                    <a:pt x="3476" y="3326"/>
                  </a:lnTo>
                  <a:lnTo>
                    <a:pt x="3478" y="3330"/>
                  </a:lnTo>
                  <a:lnTo>
                    <a:pt x="3482" y="3332"/>
                  </a:lnTo>
                  <a:lnTo>
                    <a:pt x="3486" y="3332"/>
                  </a:lnTo>
                  <a:lnTo>
                    <a:pt x="3486" y="3328"/>
                  </a:lnTo>
                  <a:lnTo>
                    <a:pt x="3484" y="3324"/>
                  </a:lnTo>
                  <a:lnTo>
                    <a:pt x="3482" y="3322"/>
                  </a:lnTo>
                  <a:close/>
                  <a:moveTo>
                    <a:pt x="3652" y="3124"/>
                  </a:moveTo>
                  <a:lnTo>
                    <a:pt x="3652" y="3124"/>
                  </a:lnTo>
                  <a:lnTo>
                    <a:pt x="3654" y="3126"/>
                  </a:lnTo>
                  <a:lnTo>
                    <a:pt x="3656" y="3124"/>
                  </a:lnTo>
                  <a:lnTo>
                    <a:pt x="3658" y="3118"/>
                  </a:lnTo>
                  <a:lnTo>
                    <a:pt x="3662" y="3112"/>
                  </a:lnTo>
                  <a:lnTo>
                    <a:pt x="3662" y="3106"/>
                  </a:lnTo>
                  <a:lnTo>
                    <a:pt x="3662" y="3104"/>
                  </a:lnTo>
                  <a:lnTo>
                    <a:pt x="3660" y="3104"/>
                  </a:lnTo>
                  <a:lnTo>
                    <a:pt x="3656" y="3110"/>
                  </a:lnTo>
                  <a:lnTo>
                    <a:pt x="3652" y="3116"/>
                  </a:lnTo>
                  <a:lnTo>
                    <a:pt x="3652" y="3120"/>
                  </a:lnTo>
                  <a:lnTo>
                    <a:pt x="3652" y="3124"/>
                  </a:lnTo>
                  <a:close/>
                  <a:moveTo>
                    <a:pt x="3482" y="4890"/>
                  </a:moveTo>
                  <a:lnTo>
                    <a:pt x="3482" y="4890"/>
                  </a:lnTo>
                  <a:lnTo>
                    <a:pt x="3486" y="4896"/>
                  </a:lnTo>
                  <a:lnTo>
                    <a:pt x="3492" y="4904"/>
                  </a:lnTo>
                  <a:lnTo>
                    <a:pt x="3494" y="4904"/>
                  </a:lnTo>
                  <a:lnTo>
                    <a:pt x="3498" y="4898"/>
                  </a:lnTo>
                  <a:lnTo>
                    <a:pt x="3498" y="4890"/>
                  </a:lnTo>
                  <a:lnTo>
                    <a:pt x="3498" y="4888"/>
                  </a:lnTo>
                  <a:lnTo>
                    <a:pt x="3496" y="4886"/>
                  </a:lnTo>
                  <a:lnTo>
                    <a:pt x="3492" y="4884"/>
                  </a:lnTo>
                  <a:lnTo>
                    <a:pt x="3486" y="4884"/>
                  </a:lnTo>
                  <a:lnTo>
                    <a:pt x="3482" y="4886"/>
                  </a:lnTo>
                  <a:lnTo>
                    <a:pt x="3482" y="4888"/>
                  </a:lnTo>
                  <a:lnTo>
                    <a:pt x="3482" y="4890"/>
                  </a:lnTo>
                  <a:close/>
                  <a:moveTo>
                    <a:pt x="3640" y="3122"/>
                  </a:moveTo>
                  <a:lnTo>
                    <a:pt x="3640" y="3122"/>
                  </a:lnTo>
                  <a:lnTo>
                    <a:pt x="3634" y="3120"/>
                  </a:lnTo>
                  <a:lnTo>
                    <a:pt x="3628" y="3116"/>
                  </a:lnTo>
                  <a:lnTo>
                    <a:pt x="3620" y="3116"/>
                  </a:lnTo>
                  <a:lnTo>
                    <a:pt x="3612" y="3120"/>
                  </a:lnTo>
                  <a:lnTo>
                    <a:pt x="3608" y="3122"/>
                  </a:lnTo>
                  <a:lnTo>
                    <a:pt x="3604" y="3126"/>
                  </a:lnTo>
                  <a:lnTo>
                    <a:pt x="3602" y="3132"/>
                  </a:lnTo>
                  <a:lnTo>
                    <a:pt x="3600" y="3136"/>
                  </a:lnTo>
                  <a:lnTo>
                    <a:pt x="3598" y="3138"/>
                  </a:lnTo>
                  <a:lnTo>
                    <a:pt x="3596" y="3136"/>
                  </a:lnTo>
                  <a:lnTo>
                    <a:pt x="3592" y="3136"/>
                  </a:lnTo>
                  <a:lnTo>
                    <a:pt x="3590" y="3136"/>
                  </a:lnTo>
                  <a:lnTo>
                    <a:pt x="3586" y="3138"/>
                  </a:lnTo>
                  <a:lnTo>
                    <a:pt x="3582" y="3140"/>
                  </a:lnTo>
                  <a:lnTo>
                    <a:pt x="3580" y="3136"/>
                  </a:lnTo>
                  <a:lnTo>
                    <a:pt x="3580" y="3130"/>
                  </a:lnTo>
                  <a:lnTo>
                    <a:pt x="3578" y="3128"/>
                  </a:lnTo>
                  <a:lnTo>
                    <a:pt x="3576" y="3128"/>
                  </a:lnTo>
                  <a:lnTo>
                    <a:pt x="3574" y="3132"/>
                  </a:lnTo>
                  <a:lnTo>
                    <a:pt x="3568" y="3144"/>
                  </a:lnTo>
                  <a:lnTo>
                    <a:pt x="3564" y="3150"/>
                  </a:lnTo>
                  <a:lnTo>
                    <a:pt x="3560" y="3156"/>
                  </a:lnTo>
                  <a:lnTo>
                    <a:pt x="3550" y="3164"/>
                  </a:lnTo>
                  <a:lnTo>
                    <a:pt x="3544" y="3168"/>
                  </a:lnTo>
                  <a:lnTo>
                    <a:pt x="3548" y="3168"/>
                  </a:lnTo>
                  <a:lnTo>
                    <a:pt x="3554" y="3168"/>
                  </a:lnTo>
                  <a:lnTo>
                    <a:pt x="3556" y="3170"/>
                  </a:lnTo>
                  <a:lnTo>
                    <a:pt x="3558" y="3172"/>
                  </a:lnTo>
                  <a:lnTo>
                    <a:pt x="3558" y="3174"/>
                  </a:lnTo>
                  <a:lnTo>
                    <a:pt x="3558" y="3182"/>
                  </a:lnTo>
                  <a:lnTo>
                    <a:pt x="3558" y="3186"/>
                  </a:lnTo>
                  <a:lnTo>
                    <a:pt x="3562" y="3190"/>
                  </a:lnTo>
                  <a:lnTo>
                    <a:pt x="3564" y="3192"/>
                  </a:lnTo>
                  <a:lnTo>
                    <a:pt x="3564" y="3196"/>
                  </a:lnTo>
                  <a:lnTo>
                    <a:pt x="3564" y="3198"/>
                  </a:lnTo>
                  <a:lnTo>
                    <a:pt x="3562" y="3200"/>
                  </a:lnTo>
                  <a:lnTo>
                    <a:pt x="3564" y="3200"/>
                  </a:lnTo>
                  <a:lnTo>
                    <a:pt x="3574" y="3202"/>
                  </a:lnTo>
                  <a:lnTo>
                    <a:pt x="3578" y="3202"/>
                  </a:lnTo>
                  <a:lnTo>
                    <a:pt x="3580" y="3198"/>
                  </a:lnTo>
                  <a:lnTo>
                    <a:pt x="3584" y="3186"/>
                  </a:lnTo>
                  <a:lnTo>
                    <a:pt x="3588" y="3178"/>
                  </a:lnTo>
                  <a:lnTo>
                    <a:pt x="3590" y="3172"/>
                  </a:lnTo>
                  <a:lnTo>
                    <a:pt x="3594" y="3166"/>
                  </a:lnTo>
                  <a:lnTo>
                    <a:pt x="3602" y="3164"/>
                  </a:lnTo>
                  <a:lnTo>
                    <a:pt x="3608" y="3162"/>
                  </a:lnTo>
                  <a:lnTo>
                    <a:pt x="3614" y="3164"/>
                  </a:lnTo>
                  <a:lnTo>
                    <a:pt x="3620" y="3170"/>
                  </a:lnTo>
                  <a:lnTo>
                    <a:pt x="3624" y="3172"/>
                  </a:lnTo>
                  <a:lnTo>
                    <a:pt x="3626" y="3172"/>
                  </a:lnTo>
                  <a:lnTo>
                    <a:pt x="3628" y="3170"/>
                  </a:lnTo>
                  <a:lnTo>
                    <a:pt x="3630" y="3166"/>
                  </a:lnTo>
                  <a:lnTo>
                    <a:pt x="3632" y="3160"/>
                  </a:lnTo>
                  <a:lnTo>
                    <a:pt x="3636" y="3156"/>
                  </a:lnTo>
                  <a:lnTo>
                    <a:pt x="3642" y="3150"/>
                  </a:lnTo>
                  <a:lnTo>
                    <a:pt x="3646" y="3148"/>
                  </a:lnTo>
                  <a:lnTo>
                    <a:pt x="3648" y="3144"/>
                  </a:lnTo>
                  <a:lnTo>
                    <a:pt x="3646" y="3140"/>
                  </a:lnTo>
                  <a:lnTo>
                    <a:pt x="3644" y="3132"/>
                  </a:lnTo>
                  <a:lnTo>
                    <a:pt x="3644" y="3128"/>
                  </a:lnTo>
                  <a:lnTo>
                    <a:pt x="3644" y="3126"/>
                  </a:lnTo>
                  <a:lnTo>
                    <a:pt x="3640" y="3122"/>
                  </a:lnTo>
                  <a:close/>
                  <a:moveTo>
                    <a:pt x="3450" y="4936"/>
                  </a:moveTo>
                  <a:lnTo>
                    <a:pt x="3450" y="4936"/>
                  </a:lnTo>
                  <a:lnTo>
                    <a:pt x="3456" y="4938"/>
                  </a:lnTo>
                  <a:lnTo>
                    <a:pt x="3462" y="4940"/>
                  </a:lnTo>
                  <a:lnTo>
                    <a:pt x="3468" y="4940"/>
                  </a:lnTo>
                  <a:lnTo>
                    <a:pt x="3470" y="4938"/>
                  </a:lnTo>
                  <a:lnTo>
                    <a:pt x="3472" y="4934"/>
                  </a:lnTo>
                  <a:lnTo>
                    <a:pt x="3474" y="4926"/>
                  </a:lnTo>
                  <a:lnTo>
                    <a:pt x="3472" y="4922"/>
                  </a:lnTo>
                  <a:lnTo>
                    <a:pt x="3466" y="4922"/>
                  </a:lnTo>
                  <a:lnTo>
                    <a:pt x="3458" y="4924"/>
                  </a:lnTo>
                  <a:lnTo>
                    <a:pt x="3448" y="4930"/>
                  </a:lnTo>
                  <a:lnTo>
                    <a:pt x="3448" y="4932"/>
                  </a:lnTo>
                  <a:lnTo>
                    <a:pt x="3450" y="4936"/>
                  </a:lnTo>
                  <a:close/>
                  <a:moveTo>
                    <a:pt x="3012" y="5270"/>
                  </a:moveTo>
                  <a:lnTo>
                    <a:pt x="3012" y="5270"/>
                  </a:lnTo>
                  <a:lnTo>
                    <a:pt x="3008" y="5266"/>
                  </a:lnTo>
                  <a:lnTo>
                    <a:pt x="3006" y="5264"/>
                  </a:lnTo>
                  <a:lnTo>
                    <a:pt x="3008" y="5262"/>
                  </a:lnTo>
                  <a:lnTo>
                    <a:pt x="3012" y="5264"/>
                  </a:lnTo>
                  <a:lnTo>
                    <a:pt x="3020" y="5266"/>
                  </a:lnTo>
                  <a:lnTo>
                    <a:pt x="3022" y="5266"/>
                  </a:lnTo>
                  <a:lnTo>
                    <a:pt x="3022" y="5264"/>
                  </a:lnTo>
                  <a:lnTo>
                    <a:pt x="3022" y="5258"/>
                  </a:lnTo>
                  <a:lnTo>
                    <a:pt x="3020" y="5250"/>
                  </a:lnTo>
                  <a:lnTo>
                    <a:pt x="3014" y="5244"/>
                  </a:lnTo>
                  <a:lnTo>
                    <a:pt x="3010" y="5242"/>
                  </a:lnTo>
                  <a:lnTo>
                    <a:pt x="3008" y="5244"/>
                  </a:lnTo>
                  <a:lnTo>
                    <a:pt x="3006" y="5246"/>
                  </a:lnTo>
                  <a:lnTo>
                    <a:pt x="3004" y="5246"/>
                  </a:lnTo>
                  <a:lnTo>
                    <a:pt x="3000" y="5242"/>
                  </a:lnTo>
                  <a:lnTo>
                    <a:pt x="2998" y="5240"/>
                  </a:lnTo>
                  <a:lnTo>
                    <a:pt x="2994" y="5240"/>
                  </a:lnTo>
                  <a:lnTo>
                    <a:pt x="2992" y="5242"/>
                  </a:lnTo>
                  <a:lnTo>
                    <a:pt x="2988" y="5244"/>
                  </a:lnTo>
                  <a:lnTo>
                    <a:pt x="2986" y="5244"/>
                  </a:lnTo>
                  <a:lnTo>
                    <a:pt x="2982" y="5240"/>
                  </a:lnTo>
                  <a:lnTo>
                    <a:pt x="2978" y="5236"/>
                  </a:lnTo>
                  <a:lnTo>
                    <a:pt x="2974" y="5234"/>
                  </a:lnTo>
                  <a:lnTo>
                    <a:pt x="2970" y="5234"/>
                  </a:lnTo>
                  <a:lnTo>
                    <a:pt x="2966" y="5236"/>
                  </a:lnTo>
                  <a:lnTo>
                    <a:pt x="2964" y="5238"/>
                  </a:lnTo>
                  <a:lnTo>
                    <a:pt x="2964" y="5240"/>
                  </a:lnTo>
                  <a:lnTo>
                    <a:pt x="2966" y="5244"/>
                  </a:lnTo>
                  <a:lnTo>
                    <a:pt x="2970" y="5250"/>
                  </a:lnTo>
                  <a:lnTo>
                    <a:pt x="2974" y="5252"/>
                  </a:lnTo>
                  <a:lnTo>
                    <a:pt x="2978" y="5252"/>
                  </a:lnTo>
                  <a:lnTo>
                    <a:pt x="2984" y="5256"/>
                  </a:lnTo>
                  <a:lnTo>
                    <a:pt x="2986" y="5260"/>
                  </a:lnTo>
                  <a:lnTo>
                    <a:pt x="2984" y="5260"/>
                  </a:lnTo>
                  <a:lnTo>
                    <a:pt x="2982" y="5260"/>
                  </a:lnTo>
                  <a:lnTo>
                    <a:pt x="2976" y="5262"/>
                  </a:lnTo>
                  <a:lnTo>
                    <a:pt x="2972" y="5264"/>
                  </a:lnTo>
                  <a:lnTo>
                    <a:pt x="2970" y="5264"/>
                  </a:lnTo>
                  <a:lnTo>
                    <a:pt x="2966" y="5260"/>
                  </a:lnTo>
                  <a:lnTo>
                    <a:pt x="2960" y="5252"/>
                  </a:lnTo>
                  <a:lnTo>
                    <a:pt x="2956" y="5252"/>
                  </a:lnTo>
                  <a:lnTo>
                    <a:pt x="2954" y="5252"/>
                  </a:lnTo>
                  <a:lnTo>
                    <a:pt x="2948" y="5250"/>
                  </a:lnTo>
                  <a:lnTo>
                    <a:pt x="2944" y="5248"/>
                  </a:lnTo>
                  <a:lnTo>
                    <a:pt x="2940" y="5246"/>
                  </a:lnTo>
                  <a:lnTo>
                    <a:pt x="2938" y="5248"/>
                  </a:lnTo>
                  <a:lnTo>
                    <a:pt x="2936" y="5250"/>
                  </a:lnTo>
                  <a:lnTo>
                    <a:pt x="2932" y="5254"/>
                  </a:lnTo>
                  <a:lnTo>
                    <a:pt x="2928" y="5256"/>
                  </a:lnTo>
                  <a:lnTo>
                    <a:pt x="2926" y="5258"/>
                  </a:lnTo>
                  <a:lnTo>
                    <a:pt x="2926" y="5266"/>
                  </a:lnTo>
                  <a:lnTo>
                    <a:pt x="2926" y="5270"/>
                  </a:lnTo>
                  <a:lnTo>
                    <a:pt x="2926" y="5276"/>
                  </a:lnTo>
                  <a:lnTo>
                    <a:pt x="2926" y="5278"/>
                  </a:lnTo>
                  <a:lnTo>
                    <a:pt x="2928" y="5280"/>
                  </a:lnTo>
                  <a:lnTo>
                    <a:pt x="2938" y="5282"/>
                  </a:lnTo>
                  <a:lnTo>
                    <a:pt x="2948" y="5282"/>
                  </a:lnTo>
                  <a:lnTo>
                    <a:pt x="2960" y="5278"/>
                  </a:lnTo>
                  <a:lnTo>
                    <a:pt x="2970" y="5274"/>
                  </a:lnTo>
                  <a:lnTo>
                    <a:pt x="2978" y="5272"/>
                  </a:lnTo>
                  <a:lnTo>
                    <a:pt x="2984" y="5272"/>
                  </a:lnTo>
                  <a:lnTo>
                    <a:pt x="2986" y="5268"/>
                  </a:lnTo>
                  <a:lnTo>
                    <a:pt x="2988" y="5268"/>
                  </a:lnTo>
                  <a:lnTo>
                    <a:pt x="2990" y="5270"/>
                  </a:lnTo>
                  <a:lnTo>
                    <a:pt x="2992" y="5272"/>
                  </a:lnTo>
                  <a:lnTo>
                    <a:pt x="2994" y="5270"/>
                  </a:lnTo>
                  <a:lnTo>
                    <a:pt x="2998" y="5270"/>
                  </a:lnTo>
                  <a:lnTo>
                    <a:pt x="3004" y="5270"/>
                  </a:lnTo>
                  <a:lnTo>
                    <a:pt x="3014" y="5272"/>
                  </a:lnTo>
                  <a:lnTo>
                    <a:pt x="3016" y="5272"/>
                  </a:lnTo>
                  <a:lnTo>
                    <a:pt x="3012" y="5270"/>
                  </a:lnTo>
                  <a:close/>
                  <a:moveTo>
                    <a:pt x="3240" y="4810"/>
                  </a:moveTo>
                  <a:lnTo>
                    <a:pt x="3240" y="4810"/>
                  </a:lnTo>
                  <a:lnTo>
                    <a:pt x="3258" y="4782"/>
                  </a:lnTo>
                  <a:lnTo>
                    <a:pt x="3262" y="4776"/>
                  </a:lnTo>
                  <a:lnTo>
                    <a:pt x="3264" y="4770"/>
                  </a:lnTo>
                  <a:lnTo>
                    <a:pt x="3264" y="4764"/>
                  </a:lnTo>
                  <a:lnTo>
                    <a:pt x="3262" y="4760"/>
                  </a:lnTo>
                  <a:lnTo>
                    <a:pt x="3258" y="4756"/>
                  </a:lnTo>
                  <a:lnTo>
                    <a:pt x="3254" y="4756"/>
                  </a:lnTo>
                  <a:lnTo>
                    <a:pt x="3250" y="4758"/>
                  </a:lnTo>
                  <a:lnTo>
                    <a:pt x="3246" y="4764"/>
                  </a:lnTo>
                  <a:lnTo>
                    <a:pt x="3236" y="4776"/>
                  </a:lnTo>
                  <a:lnTo>
                    <a:pt x="3228" y="4792"/>
                  </a:lnTo>
                  <a:lnTo>
                    <a:pt x="3222" y="4796"/>
                  </a:lnTo>
                  <a:lnTo>
                    <a:pt x="3216" y="4798"/>
                  </a:lnTo>
                  <a:lnTo>
                    <a:pt x="3208" y="4798"/>
                  </a:lnTo>
                  <a:lnTo>
                    <a:pt x="3198" y="4798"/>
                  </a:lnTo>
                  <a:lnTo>
                    <a:pt x="3182" y="4794"/>
                  </a:lnTo>
                  <a:lnTo>
                    <a:pt x="3176" y="4794"/>
                  </a:lnTo>
                  <a:lnTo>
                    <a:pt x="3174" y="4796"/>
                  </a:lnTo>
                  <a:lnTo>
                    <a:pt x="3170" y="4798"/>
                  </a:lnTo>
                  <a:lnTo>
                    <a:pt x="3168" y="4798"/>
                  </a:lnTo>
                  <a:lnTo>
                    <a:pt x="3158" y="4794"/>
                  </a:lnTo>
                  <a:lnTo>
                    <a:pt x="3146" y="4792"/>
                  </a:lnTo>
                  <a:lnTo>
                    <a:pt x="3138" y="4790"/>
                  </a:lnTo>
                  <a:lnTo>
                    <a:pt x="3130" y="4790"/>
                  </a:lnTo>
                  <a:lnTo>
                    <a:pt x="3122" y="4790"/>
                  </a:lnTo>
                  <a:lnTo>
                    <a:pt x="3118" y="4788"/>
                  </a:lnTo>
                  <a:lnTo>
                    <a:pt x="3116" y="4786"/>
                  </a:lnTo>
                  <a:lnTo>
                    <a:pt x="3114" y="4784"/>
                  </a:lnTo>
                  <a:lnTo>
                    <a:pt x="3114" y="4780"/>
                  </a:lnTo>
                  <a:lnTo>
                    <a:pt x="3114" y="4778"/>
                  </a:lnTo>
                  <a:lnTo>
                    <a:pt x="3112" y="4778"/>
                  </a:lnTo>
                  <a:lnTo>
                    <a:pt x="3104" y="4778"/>
                  </a:lnTo>
                  <a:lnTo>
                    <a:pt x="3098" y="4776"/>
                  </a:lnTo>
                  <a:lnTo>
                    <a:pt x="3092" y="4776"/>
                  </a:lnTo>
                  <a:lnTo>
                    <a:pt x="3090" y="4778"/>
                  </a:lnTo>
                  <a:lnTo>
                    <a:pt x="3088" y="4780"/>
                  </a:lnTo>
                  <a:lnTo>
                    <a:pt x="3084" y="4788"/>
                  </a:lnTo>
                  <a:lnTo>
                    <a:pt x="3080" y="4796"/>
                  </a:lnTo>
                  <a:lnTo>
                    <a:pt x="3078" y="4800"/>
                  </a:lnTo>
                  <a:lnTo>
                    <a:pt x="3074" y="4800"/>
                  </a:lnTo>
                  <a:lnTo>
                    <a:pt x="3072" y="4800"/>
                  </a:lnTo>
                  <a:lnTo>
                    <a:pt x="3068" y="4796"/>
                  </a:lnTo>
                  <a:lnTo>
                    <a:pt x="3066" y="4792"/>
                  </a:lnTo>
                  <a:lnTo>
                    <a:pt x="3064" y="4792"/>
                  </a:lnTo>
                  <a:lnTo>
                    <a:pt x="3060" y="4798"/>
                  </a:lnTo>
                  <a:lnTo>
                    <a:pt x="3056" y="4810"/>
                  </a:lnTo>
                  <a:lnTo>
                    <a:pt x="3052" y="4820"/>
                  </a:lnTo>
                  <a:lnTo>
                    <a:pt x="3048" y="4824"/>
                  </a:lnTo>
                  <a:lnTo>
                    <a:pt x="3048" y="4828"/>
                  </a:lnTo>
                  <a:lnTo>
                    <a:pt x="3048" y="4834"/>
                  </a:lnTo>
                  <a:lnTo>
                    <a:pt x="3048" y="4838"/>
                  </a:lnTo>
                  <a:lnTo>
                    <a:pt x="3046" y="4840"/>
                  </a:lnTo>
                  <a:lnTo>
                    <a:pt x="3044" y="4842"/>
                  </a:lnTo>
                  <a:lnTo>
                    <a:pt x="3040" y="4844"/>
                  </a:lnTo>
                  <a:lnTo>
                    <a:pt x="3040" y="4848"/>
                  </a:lnTo>
                  <a:lnTo>
                    <a:pt x="3042" y="4854"/>
                  </a:lnTo>
                  <a:lnTo>
                    <a:pt x="3044" y="4864"/>
                  </a:lnTo>
                  <a:lnTo>
                    <a:pt x="3040" y="4876"/>
                  </a:lnTo>
                  <a:lnTo>
                    <a:pt x="3034" y="4886"/>
                  </a:lnTo>
                  <a:lnTo>
                    <a:pt x="3030" y="4900"/>
                  </a:lnTo>
                  <a:lnTo>
                    <a:pt x="3030" y="4908"/>
                  </a:lnTo>
                  <a:lnTo>
                    <a:pt x="3030" y="4918"/>
                  </a:lnTo>
                  <a:lnTo>
                    <a:pt x="3030" y="4932"/>
                  </a:lnTo>
                  <a:lnTo>
                    <a:pt x="3028" y="4934"/>
                  </a:lnTo>
                  <a:lnTo>
                    <a:pt x="3026" y="4936"/>
                  </a:lnTo>
                  <a:lnTo>
                    <a:pt x="3024" y="4936"/>
                  </a:lnTo>
                  <a:lnTo>
                    <a:pt x="3024" y="4938"/>
                  </a:lnTo>
                  <a:lnTo>
                    <a:pt x="3022" y="4944"/>
                  </a:lnTo>
                  <a:lnTo>
                    <a:pt x="3020" y="4952"/>
                  </a:lnTo>
                  <a:lnTo>
                    <a:pt x="3020" y="4960"/>
                  </a:lnTo>
                  <a:lnTo>
                    <a:pt x="3016" y="4964"/>
                  </a:lnTo>
                  <a:lnTo>
                    <a:pt x="3014" y="4968"/>
                  </a:lnTo>
                  <a:lnTo>
                    <a:pt x="3010" y="4968"/>
                  </a:lnTo>
                  <a:lnTo>
                    <a:pt x="3006" y="4970"/>
                  </a:lnTo>
                  <a:lnTo>
                    <a:pt x="3006" y="4972"/>
                  </a:lnTo>
                  <a:lnTo>
                    <a:pt x="3008" y="4976"/>
                  </a:lnTo>
                  <a:lnTo>
                    <a:pt x="3010" y="4984"/>
                  </a:lnTo>
                  <a:lnTo>
                    <a:pt x="3008" y="4986"/>
                  </a:lnTo>
                  <a:lnTo>
                    <a:pt x="3006" y="4990"/>
                  </a:lnTo>
                  <a:lnTo>
                    <a:pt x="3008" y="5002"/>
                  </a:lnTo>
                  <a:lnTo>
                    <a:pt x="3012" y="5008"/>
                  </a:lnTo>
                  <a:lnTo>
                    <a:pt x="3014" y="5010"/>
                  </a:lnTo>
                  <a:lnTo>
                    <a:pt x="3018" y="5010"/>
                  </a:lnTo>
                  <a:lnTo>
                    <a:pt x="3020" y="5010"/>
                  </a:lnTo>
                  <a:lnTo>
                    <a:pt x="3024" y="5010"/>
                  </a:lnTo>
                  <a:lnTo>
                    <a:pt x="3028" y="5010"/>
                  </a:lnTo>
                  <a:lnTo>
                    <a:pt x="3032" y="5014"/>
                  </a:lnTo>
                  <a:lnTo>
                    <a:pt x="3036" y="5022"/>
                  </a:lnTo>
                  <a:lnTo>
                    <a:pt x="3040" y="5034"/>
                  </a:lnTo>
                  <a:lnTo>
                    <a:pt x="3040" y="5046"/>
                  </a:lnTo>
                  <a:lnTo>
                    <a:pt x="3038" y="5058"/>
                  </a:lnTo>
                  <a:lnTo>
                    <a:pt x="3036" y="5070"/>
                  </a:lnTo>
                  <a:lnTo>
                    <a:pt x="3032" y="5082"/>
                  </a:lnTo>
                  <a:lnTo>
                    <a:pt x="3030" y="5092"/>
                  </a:lnTo>
                  <a:lnTo>
                    <a:pt x="3030" y="5102"/>
                  </a:lnTo>
                  <a:lnTo>
                    <a:pt x="3034" y="5112"/>
                  </a:lnTo>
                  <a:lnTo>
                    <a:pt x="3038" y="5116"/>
                  </a:lnTo>
                  <a:lnTo>
                    <a:pt x="3042" y="5118"/>
                  </a:lnTo>
                  <a:lnTo>
                    <a:pt x="3046" y="5118"/>
                  </a:lnTo>
                  <a:lnTo>
                    <a:pt x="3050" y="5116"/>
                  </a:lnTo>
                  <a:lnTo>
                    <a:pt x="3058" y="5114"/>
                  </a:lnTo>
                  <a:lnTo>
                    <a:pt x="3068" y="5112"/>
                  </a:lnTo>
                  <a:lnTo>
                    <a:pt x="3072" y="5112"/>
                  </a:lnTo>
                  <a:lnTo>
                    <a:pt x="3072" y="5110"/>
                  </a:lnTo>
                  <a:lnTo>
                    <a:pt x="3070" y="5100"/>
                  </a:lnTo>
                  <a:lnTo>
                    <a:pt x="3068" y="5088"/>
                  </a:lnTo>
                  <a:lnTo>
                    <a:pt x="3068" y="5082"/>
                  </a:lnTo>
                  <a:lnTo>
                    <a:pt x="3070" y="5076"/>
                  </a:lnTo>
                  <a:lnTo>
                    <a:pt x="3072" y="5070"/>
                  </a:lnTo>
                  <a:lnTo>
                    <a:pt x="3074" y="5064"/>
                  </a:lnTo>
                  <a:lnTo>
                    <a:pt x="3072" y="5050"/>
                  </a:lnTo>
                  <a:lnTo>
                    <a:pt x="3072" y="5034"/>
                  </a:lnTo>
                  <a:lnTo>
                    <a:pt x="3072" y="5014"/>
                  </a:lnTo>
                  <a:lnTo>
                    <a:pt x="3074" y="5004"/>
                  </a:lnTo>
                  <a:lnTo>
                    <a:pt x="3072" y="4998"/>
                  </a:lnTo>
                  <a:lnTo>
                    <a:pt x="3068" y="4990"/>
                  </a:lnTo>
                  <a:lnTo>
                    <a:pt x="3068" y="4988"/>
                  </a:lnTo>
                  <a:lnTo>
                    <a:pt x="3068" y="4984"/>
                  </a:lnTo>
                  <a:lnTo>
                    <a:pt x="3076" y="4974"/>
                  </a:lnTo>
                  <a:lnTo>
                    <a:pt x="3084" y="4970"/>
                  </a:lnTo>
                  <a:lnTo>
                    <a:pt x="3090" y="4968"/>
                  </a:lnTo>
                  <a:lnTo>
                    <a:pt x="3094" y="4968"/>
                  </a:lnTo>
                  <a:lnTo>
                    <a:pt x="3098" y="4972"/>
                  </a:lnTo>
                  <a:lnTo>
                    <a:pt x="3100" y="4976"/>
                  </a:lnTo>
                  <a:lnTo>
                    <a:pt x="3100" y="4982"/>
                  </a:lnTo>
                  <a:lnTo>
                    <a:pt x="3098" y="4990"/>
                  </a:lnTo>
                  <a:lnTo>
                    <a:pt x="3094" y="4996"/>
                  </a:lnTo>
                  <a:lnTo>
                    <a:pt x="3092" y="5002"/>
                  </a:lnTo>
                  <a:lnTo>
                    <a:pt x="3090" y="5008"/>
                  </a:lnTo>
                  <a:lnTo>
                    <a:pt x="3092" y="5012"/>
                  </a:lnTo>
                  <a:lnTo>
                    <a:pt x="3094" y="5016"/>
                  </a:lnTo>
                  <a:lnTo>
                    <a:pt x="3102" y="5024"/>
                  </a:lnTo>
                  <a:lnTo>
                    <a:pt x="3112" y="5034"/>
                  </a:lnTo>
                  <a:lnTo>
                    <a:pt x="3116" y="5040"/>
                  </a:lnTo>
                  <a:lnTo>
                    <a:pt x="3116" y="5046"/>
                  </a:lnTo>
                  <a:lnTo>
                    <a:pt x="3114" y="5062"/>
                  </a:lnTo>
                  <a:lnTo>
                    <a:pt x="3114" y="5068"/>
                  </a:lnTo>
                  <a:lnTo>
                    <a:pt x="3116" y="5074"/>
                  </a:lnTo>
                  <a:lnTo>
                    <a:pt x="3120" y="5076"/>
                  </a:lnTo>
                  <a:lnTo>
                    <a:pt x="3130" y="5078"/>
                  </a:lnTo>
                  <a:lnTo>
                    <a:pt x="3136" y="5076"/>
                  </a:lnTo>
                  <a:lnTo>
                    <a:pt x="3138" y="5076"/>
                  </a:lnTo>
                  <a:lnTo>
                    <a:pt x="3140" y="5072"/>
                  </a:lnTo>
                  <a:lnTo>
                    <a:pt x="3140" y="5070"/>
                  </a:lnTo>
                  <a:lnTo>
                    <a:pt x="3140" y="5062"/>
                  </a:lnTo>
                  <a:lnTo>
                    <a:pt x="3142" y="5060"/>
                  </a:lnTo>
                  <a:lnTo>
                    <a:pt x="3148" y="5056"/>
                  </a:lnTo>
                  <a:lnTo>
                    <a:pt x="3152" y="5056"/>
                  </a:lnTo>
                  <a:lnTo>
                    <a:pt x="3156" y="5054"/>
                  </a:lnTo>
                  <a:lnTo>
                    <a:pt x="3164" y="5056"/>
                  </a:lnTo>
                  <a:lnTo>
                    <a:pt x="3166" y="5056"/>
                  </a:lnTo>
                  <a:lnTo>
                    <a:pt x="3168" y="5056"/>
                  </a:lnTo>
                  <a:lnTo>
                    <a:pt x="3172" y="5048"/>
                  </a:lnTo>
                  <a:lnTo>
                    <a:pt x="3172" y="5042"/>
                  </a:lnTo>
                  <a:lnTo>
                    <a:pt x="3170" y="5036"/>
                  </a:lnTo>
                  <a:lnTo>
                    <a:pt x="3164" y="5032"/>
                  </a:lnTo>
                  <a:lnTo>
                    <a:pt x="3158" y="5028"/>
                  </a:lnTo>
                  <a:lnTo>
                    <a:pt x="3152" y="5026"/>
                  </a:lnTo>
                  <a:lnTo>
                    <a:pt x="3148" y="5022"/>
                  </a:lnTo>
                  <a:lnTo>
                    <a:pt x="3146" y="5016"/>
                  </a:lnTo>
                  <a:lnTo>
                    <a:pt x="3148" y="5012"/>
                  </a:lnTo>
                  <a:lnTo>
                    <a:pt x="3152" y="5006"/>
                  </a:lnTo>
                  <a:lnTo>
                    <a:pt x="3152" y="4998"/>
                  </a:lnTo>
                  <a:lnTo>
                    <a:pt x="3150" y="4990"/>
                  </a:lnTo>
                  <a:lnTo>
                    <a:pt x="3148" y="4980"/>
                  </a:lnTo>
                  <a:lnTo>
                    <a:pt x="3136" y="4962"/>
                  </a:lnTo>
                  <a:lnTo>
                    <a:pt x="3122" y="4946"/>
                  </a:lnTo>
                  <a:lnTo>
                    <a:pt x="3118" y="4940"/>
                  </a:lnTo>
                  <a:lnTo>
                    <a:pt x="3118" y="4934"/>
                  </a:lnTo>
                  <a:lnTo>
                    <a:pt x="3122" y="4930"/>
                  </a:lnTo>
                  <a:lnTo>
                    <a:pt x="3128" y="4926"/>
                  </a:lnTo>
                  <a:lnTo>
                    <a:pt x="3146" y="4916"/>
                  </a:lnTo>
                  <a:lnTo>
                    <a:pt x="3154" y="4908"/>
                  </a:lnTo>
                  <a:lnTo>
                    <a:pt x="3162" y="4898"/>
                  </a:lnTo>
                  <a:lnTo>
                    <a:pt x="3168" y="4888"/>
                  </a:lnTo>
                  <a:lnTo>
                    <a:pt x="3172" y="4884"/>
                  </a:lnTo>
                  <a:lnTo>
                    <a:pt x="3176" y="4884"/>
                  </a:lnTo>
                  <a:lnTo>
                    <a:pt x="3180" y="4886"/>
                  </a:lnTo>
                  <a:lnTo>
                    <a:pt x="3186" y="4890"/>
                  </a:lnTo>
                  <a:lnTo>
                    <a:pt x="3190" y="4890"/>
                  </a:lnTo>
                  <a:lnTo>
                    <a:pt x="3192" y="4888"/>
                  </a:lnTo>
                  <a:lnTo>
                    <a:pt x="3196" y="4880"/>
                  </a:lnTo>
                  <a:lnTo>
                    <a:pt x="3196" y="4876"/>
                  </a:lnTo>
                  <a:lnTo>
                    <a:pt x="3194" y="4874"/>
                  </a:lnTo>
                  <a:lnTo>
                    <a:pt x="3192" y="4872"/>
                  </a:lnTo>
                  <a:lnTo>
                    <a:pt x="3188" y="4870"/>
                  </a:lnTo>
                  <a:lnTo>
                    <a:pt x="3170" y="4870"/>
                  </a:lnTo>
                  <a:lnTo>
                    <a:pt x="3160" y="4872"/>
                  </a:lnTo>
                  <a:lnTo>
                    <a:pt x="3152" y="4874"/>
                  </a:lnTo>
                  <a:lnTo>
                    <a:pt x="3144" y="4880"/>
                  </a:lnTo>
                  <a:lnTo>
                    <a:pt x="3136" y="4884"/>
                  </a:lnTo>
                  <a:lnTo>
                    <a:pt x="3130" y="4884"/>
                  </a:lnTo>
                  <a:lnTo>
                    <a:pt x="3124" y="4884"/>
                  </a:lnTo>
                  <a:lnTo>
                    <a:pt x="3116" y="4882"/>
                  </a:lnTo>
                  <a:lnTo>
                    <a:pt x="3112" y="4886"/>
                  </a:lnTo>
                  <a:lnTo>
                    <a:pt x="3108" y="4890"/>
                  </a:lnTo>
                  <a:lnTo>
                    <a:pt x="3106" y="4894"/>
                  </a:lnTo>
                  <a:lnTo>
                    <a:pt x="3104" y="4900"/>
                  </a:lnTo>
                  <a:lnTo>
                    <a:pt x="3100" y="4904"/>
                  </a:lnTo>
                  <a:lnTo>
                    <a:pt x="3096" y="4908"/>
                  </a:lnTo>
                  <a:lnTo>
                    <a:pt x="3088" y="4908"/>
                  </a:lnTo>
                  <a:lnTo>
                    <a:pt x="3082" y="4906"/>
                  </a:lnTo>
                  <a:lnTo>
                    <a:pt x="3078" y="4904"/>
                  </a:lnTo>
                  <a:lnTo>
                    <a:pt x="3078" y="4902"/>
                  </a:lnTo>
                  <a:lnTo>
                    <a:pt x="3078" y="4898"/>
                  </a:lnTo>
                  <a:lnTo>
                    <a:pt x="3076" y="4892"/>
                  </a:lnTo>
                  <a:lnTo>
                    <a:pt x="3074" y="4888"/>
                  </a:lnTo>
                  <a:lnTo>
                    <a:pt x="3068" y="4882"/>
                  </a:lnTo>
                  <a:lnTo>
                    <a:pt x="3064" y="4880"/>
                  </a:lnTo>
                  <a:lnTo>
                    <a:pt x="3062" y="4876"/>
                  </a:lnTo>
                  <a:lnTo>
                    <a:pt x="3058" y="4866"/>
                  </a:lnTo>
                  <a:lnTo>
                    <a:pt x="3058" y="4852"/>
                  </a:lnTo>
                  <a:lnTo>
                    <a:pt x="3060" y="4840"/>
                  </a:lnTo>
                  <a:lnTo>
                    <a:pt x="3066" y="4828"/>
                  </a:lnTo>
                  <a:lnTo>
                    <a:pt x="3072" y="4818"/>
                  </a:lnTo>
                  <a:lnTo>
                    <a:pt x="3074" y="4816"/>
                  </a:lnTo>
                  <a:lnTo>
                    <a:pt x="3078" y="4814"/>
                  </a:lnTo>
                  <a:lnTo>
                    <a:pt x="3082" y="4814"/>
                  </a:lnTo>
                  <a:lnTo>
                    <a:pt x="3086" y="4816"/>
                  </a:lnTo>
                  <a:lnTo>
                    <a:pt x="3092" y="4818"/>
                  </a:lnTo>
                  <a:lnTo>
                    <a:pt x="3096" y="4820"/>
                  </a:lnTo>
                  <a:lnTo>
                    <a:pt x="3106" y="4818"/>
                  </a:lnTo>
                  <a:lnTo>
                    <a:pt x="3116" y="4818"/>
                  </a:lnTo>
                  <a:lnTo>
                    <a:pt x="3122" y="4818"/>
                  </a:lnTo>
                  <a:lnTo>
                    <a:pt x="3126" y="4818"/>
                  </a:lnTo>
                  <a:lnTo>
                    <a:pt x="3132" y="4820"/>
                  </a:lnTo>
                  <a:lnTo>
                    <a:pt x="3140" y="4820"/>
                  </a:lnTo>
                  <a:lnTo>
                    <a:pt x="3156" y="4818"/>
                  </a:lnTo>
                  <a:lnTo>
                    <a:pt x="3172" y="4816"/>
                  </a:lnTo>
                  <a:lnTo>
                    <a:pt x="3178" y="4818"/>
                  </a:lnTo>
                  <a:lnTo>
                    <a:pt x="3182" y="4820"/>
                  </a:lnTo>
                  <a:lnTo>
                    <a:pt x="3186" y="4822"/>
                  </a:lnTo>
                  <a:lnTo>
                    <a:pt x="3192" y="4824"/>
                  </a:lnTo>
                  <a:lnTo>
                    <a:pt x="3200" y="4826"/>
                  </a:lnTo>
                  <a:lnTo>
                    <a:pt x="3208" y="4826"/>
                  </a:lnTo>
                  <a:lnTo>
                    <a:pt x="3218" y="4824"/>
                  </a:lnTo>
                  <a:lnTo>
                    <a:pt x="3226" y="4822"/>
                  </a:lnTo>
                  <a:lnTo>
                    <a:pt x="3234" y="4816"/>
                  </a:lnTo>
                  <a:lnTo>
                    <a:pt x="3240" y="4810"/>
                  </a:lnTo>
                  <a:close/>
                  <a:moveTo>
                    <a:pt x="2954" y="5244"/>
                  </a:moveTo>
                  <a:lnTo>
                    <a:pt x="2954" y="5244"/>
                  </a:lnTo>
                  <a:lnTo>
                    <a:pt x="2954" y="5248"/>
                  </a:lnTo>
                  <a:lnTo>
                    <a:pt x="2956" y="5246"/>
                  </a:lnTo>
                  <a:lnTo>
                    <a:pt x="2960" y="5240"/>
                  </a:lnTo>
                  <a:lnTo>
                    <a:pt x="2962" y="5238"/>
                  </a:lnTo>
                  <a:lnTo>
                    <a:pt x="2960" y="5236"/>
                  </a:lnTo>
                  <a:lnTo>
                    <a:pt x="2958" y="5236"/>
                  </a:lnTo>
                  <a:lnTo>
                    <a:pt x="2954" y="5240"/>
                  </a:lnTo>
                  <a:lnTo>
                    <a:pt x="2954" y="5244"/>
                  </a:lnTo>
                  <a:close/>
                  <a:moveTo>
                    <a:pt x="3346" y="4878"/>
                  </a:moveTo>
                  <a:lnTo>
                    <a:pt x="3346" y="4878"/>
                  </a:lnTo>
                  <a:lnTo>
                    <a:pt x="3350" y="4878"/>
                  </a:lnTo>
                  <a:lnTo>
                    <a:pt x="3352" y="4876"/>
                  </a:lnTo>
                  <a:lnTo>
                    <a:pt x="3350" y="4874"/>
                  </a:lnTo>
                  <a:lnTo>
                    <a:pt x="3348" y="4872"/>
                  </a:lnTo>
                  <a:lnTo>
                    <a:pt x="3346" y="4872"/>
                  </a:lnTo>
                  <a:lnTo>
                    <a:pt x="3344" y="4874"/>
                  </a:lnTo>
                  <a:lnTo>
                    <a:pt x="3344" y="4876"/>
                  </a:lnTo>
                  <a:lnTo>
                    <a:pt x="3346" y="4878"/>
                  </a:lnTo>
                  <a:close/>
                  <a:moveTo>
                    <a:pt x="3352" y="4858"/>
                  </a:moveTo>
                  <a:lnTo>
                    <a:pt x="3352" y="4858"/>
                  </a:lnTo>
                  <a:lnTo>
                    <a:pt x="3350" y="4862"/>
                  </a:lnTo>
                  <a:lnTo>
                    <a:pt x="3354" y="4868"/>
                  </a:lnTo>
                  <a:lnTo>
                    <a:pt x="3358" y="4874"/>
                  </a:lnTo>
                  <a:lnTo>
                    <a:pt x="3360" y="4876"/>
                  </a:lnTo>
                  <a:lnTo>
                    <a:pt x="3364" y="4874"/>
                  </a:lnTo>
                  <a:lnTo>
                    <a:pt x="3364" y="4866"/>
                  </a:lnTo>
                  <a:lnTo>
                    <a:pt x="3362" y="4858"/>
                  </a:lnTo>
                  <a:lnTo>
                    <a:pt x="3360" y="4854"/>
                  </a:lnTo>
                  <a:lnTo>
                    <a:pt x="3356" y="4854"/>
                  </a:lnTo>
                  <a:lnTo>
                    <a:pt x="3352" y="4858"/>
                  </a:lnTo>
                  <a:close/>
                  <a:moveTo>
                    <a:pt x="3452" y="4980"/>
                  </a:moveTo>
                  <a:lnTo>
                    <a:pt x="3452" y="4980"/>
                  </a:lnTo>
                  <a:lnTo>
                    <a:pt x="3440" y="4974"/>
                  </a:lnTo>
                  <a:lnTo>
                    <a:pt x="3438" y="4974"/>
                  </a:lnTo>
                  <a:lnTo>
                    <a:pt x="3436" y="4976"/>
                  </a:lnTo>
                  <a:lnTo>
                    <a:pt x="3428" y="4978"/>
                  </a:lnTo>
                  <a:lnTo>
                    <a:pt x="3422" y="4980"/>
                  </a:lnTo>
                  <a:lnTo>
                    <a:pt x="3414" y="4978"/>
                  </a:lnTo>
                  <a:lnTo>
                    <a:pt x="3404" y="4978"/>
                  </a:lnTo>
                  <a:lnTo>
                    <a:pt x="3396" y="4978"/>
                  </a:lnTo>
                  <a:lnTo>
                    <a:pt x="3390" y="4980"/>
                  </a:lnTo>
                  <a:lnTo>
                    <a:pt x="3384" y="4982"/>
                  </a:lnTo>
                  <a:lnTo>
                    <a:pt x="3378" y="4986"/>
                  </a:lnTo>
                  <a:lnTo>
                    <a:pt x="3376" y="4990"/>
                  </a:lnTo>
                  <a:lnTo>
                    <a:pt x="3374" y="4996"/>
                  </a:lnTo>
                  <a:lnTo>
                    <a:pt x="3374" y="5002"/>
                  </a:lnTo>
                  <a:lnTo>
                    <a:pt x="3376" y="5010"/>
                  </a:lnTo>
                  <a:lnTo>
                    <a:pt x="3378" y="5006"/>
                  </a:lnTo>
                  <a:lnTo>
                    <a:pt x="3380" y="4998"/>
                  </a:lnTo>
                  <a:lnTo>
                    <a:pt x="3382" y="4994"/>
                  </a:lnTo>
                  <a:lnTo>
                    <a:pt x="3384" y="4992"/>
                  </a:lnTo>
                  <a:lnTo>
                    <a:pt x="3386" y="4992"/>
                  </a:lnTo>
                  <a:lnTo>
                    <a:pt x="3388" y="4994"/>
                  </a:lnTo>
                  <a:lnTo>
                    <a:pt x="3392" y="5000"/>
                  </a:lnTo>
                  <a:lnTo>
                    <a:pt x="3396" y="5002"/>
                  </a:lnTo>
                  <a:lnTo>
                    <a:pt x="3400" y="5004"/>
                  </a:lnTo>
                  <a:lnTo>
                    <a:pt x="3404" y="5004"/>
                  </a:lnTo>
                  <a:lnTo>
                    <a:pt x="3408" y="5000"/>
                  </a:lnTo>
                  <a:lnTo>
                    <a:pt x="3414" y="4998"/>
                  </a:lnTo>
                  <a:lnTo>
                    <a:pt x="3418" y="4998"/>
                  </a:lnTo>
                  <a:lnTo>
                    <a:pt x="3428" y="5002"/>
                  </a:lnTo>
                  <a:lnTo>
                    <a:pt x="3436" y="5006"/>
                  </a:lnTo>
                  <a:lnTo>
                    <a:pt x="3438" y="5008"/>
                  </a:lnTo>
                  <a:lnTo>
                    <a:pt x="3440" y="5006"/>
                  </a:lnTo>
                  <a:lnTo>
                    <a:pt x="3442" y="5002"/>
                  </a:lnTo>
                  <a:lnTo>
                    <a:pt x="3446" y="5002"/>
                  </a:lnTo>
                  <a:lnTo>
                    <a:pt x="3456" y="5006"/>
                  </a:lnTo>
                  <a:lnTo>
                    <a:pt x="3468" y="5014"/>
                  </a:lnTo>
                  <a:lnTo>
                    <a:pt x="3482" y="5022"/>
                  </a:lnTo>
                  <a:lnTo>
                    <a:pt x="3488" y="5026"/>
                  </a:lnTo>
                  <a:lnTo>
                    <a:pt x="3492" y="5028"/>
                  </a:lnTo>
                  <a:lnTo>
                    <a:pt x="3494" y="5026"/>
                  </a:lnTo>
                  <a:lnTo>
                    <a:pt x="3496" y="5024"/>
                  </a:lnTo>
                  <a:lnTo>
                    <a:pt x="3494" y="5012"/>
                  </a:lnTo>
                  <a:lnTo>
                    <a:pt x="3484" y="4994"/>
                  </a:lnTo>
                  <a:lnTo>
                    <a:pt x="3478" y="4988"/>
                  </a:lnTo>
                  <a:lnTo>
                    <a:pt x="3476" y="4984"/>
                  </a:lnTo>
                  <a:lnTo>
                    <a:pt x="3472" y="4982"/>
                  </a:lnTo>
                  <a:lnTo>
                    <a:pt x="3470" y="4984"/>
                  </a:lnTo>
                  <a:lnTo>
                    <a:pt x="3464" y="4984"/>
                  </a:lnTo>
                  <a:lnTo>
                    <a:pt x="3458" y="4984"/>
                  </a:lnTo>
                  <a:lnTo>
                    <a:pt x="3452" y="4980"/>
                  </a:lnTo>
                  <a:close/>
                  <a:moveTo>
                    <a:pt x="3092" y="4546"/>
                  </a:moveTo>
                  <a:lnTo>
                    <a:pt x="3092" y="4546"/>
                  </a:lnTo>
                  <a:lnTo>
                    <a:pt x="3090" y="4552"/>
                  </a:lnTo>
                  <a:lnTo>
                    <a:pt x="3092" y="4552"/>
                  </a:lnTo>
                  <a:lnTo>
                    <a:pt x="3094" y="4552"/>
                  </a:lnTo>
                  <a:lnTo>
                    <a:pt x="3098" y="4552"/>
                  </a:lnTo>
                  <a:lnTo>
                    <a:pt x="3104" y="4552"/>
                  </a:lnTo>
                  <a:lnTo>
                    <a:pt x="3108" y="4554"/>
                  </a:lnTo>
                  <a:lnTo>
                    <a:pt x="3112" y="4552"/>
                  </a:lnTo>
                  <a:lnTo>
                    <a:pt x="3112" y="4548"/>
                  </a:lnTo>
                  <a:lnTo>
                    <a:pt x="3110" y="4548"/>
                  </a:lnTo>
                  <a:lnTo>
                    <a:pt x="3106" y="4546"/>
                  </a:lnTo>
                  <a:lnTo>
                    <a:pt x="3102" y="4542"/>
                  </a:lnTo>
                  <a:lnTo>
                    <a:pt x="3100" y="4540"/>
                  </a:lnTo>
                  <a:lnTo>
                    <a:pt x="3098" y="4540"/>
                  </a:lnTo>
                  <a:lnTo>
                    <a:pt x="3096" y="4542"/>
                  </a:lnTo>
                  <a:lnTo>
                    <a:pt x="3092" y="4546"/>
                  </a:lnTo>
                  <a:close/>
                  <a:moveTo>
                    <a:pt x="3058" y="4324"/>
                  </a:moveTo>
                  <a:lnTo>
                    <a:pt x="3058" y="4324"/>
                  </a:lnTo>
                  <a:lnTo>
                    <a:pt x="3056" y="4322"/>
                  </a:lnTo>
                  <a:lnTo>
                    <a:pt x="3052" y="4322"/>
                  </a:lnTo>
                  <a:lnTo>
                    <a:pt x="3048" y="4326"/>
                  </a:lnTo>
                  <a:lnTo>
                    <a:pt x="3048" y="4330"/>
                  </a:lnTo>
                  <a:lnTo>
                    <a:pt x="3050" y="4330"/>
                  </a:lnTo>
                  <a:lnTo>
                    <a:pt x="3058" y="4324"/>
                  </a:lnTo>
                  <a:close/>
                  <a:moveTo>
                    <a:pt x="3358" y="4790"/>
                  </a:moveTo>
                  <a:lnTo>
                    <a:pt x="3358" y="4790"/>
                  </a:lnTo>
                  <a:lnTo>
                    <a:pt x="3360" y="4800"/>
                  </a:lnTo>
                  <a:lnTo>
                    <a:pt x="3358" y="4806"/>
                  </a:lnTo>
                  <a:lnTo>
                    <a:pt x="3358" y="4812"/>
                  </a:lnTo>
                  <a:lnTo>
                    <a:pt x="3358" y="4816"/>
                  </a:lnTo>
                  <a:lnTo>
                    <a:pt x="3362" y="4820"/>
                  </a:lnTo>
                  <a:lnTo>
                    <a:pt x="3364" y="4826"/>
                  </a:lnTo>
                  <a:lnTo>
                    <a:pt x="3364" y="4830"/>
                  </a:lnTo>
                  <a:lnTo>
                    <a:pt x="3364" y="4838"/>
                  </a:lnTo>
                  <a:lnTo>
                    <a:pt x="3364" y="4846"/>
                  </a:lnTo>
                  <a:lnTo>
                    <a:pt x="3364" y="4850"/>
                  </a:lnTo>
                  <a:lnTo>
                    <a:pt x="3368" y="4856"/>
                  </a:lnTo>
                  <a:lnTo>
                    <a:pt x="3382" y="4876"/>
                  </a:lnTo>
                  <a:lnTo>
                    <a:pt x="3388" y="4882"/>
                  </a:lnTo>
                  <a:lnTo>
                    <a:pt x="3390" y="4884"/>
                  </a:lnTo>
                  <a:lnTo>
                    <a:pt x="3394" y="4884"/>
                  </a:lnTo>
                  <a:lnTo>
                    <a:pt x="3394" y="4882"/>
                  </a:lnTo>
                  <a:lnTo>
                    <a:pt x="3394" y="4880"/>
                  </a:lnTo>
                  <a:lnTo>
                    <a:pt x="3390" y="4876"/>
                  </a:lnTo>
                  <a:lnTo>
                    <a:pt x="3384" y="4868"/>
                  </a:lnTo>
                  <a:lnTo>
                    <a:pt x="3380" y="4860"/>
                  </a:lnTo>
                  <a:lnTo>
                    <a:pt x="3376" y="4848"/>
                  </a:lnTo>
                  <a:lnTo>
                    <a:pt x="3374" y="4836"/>
                  </a:lnTo>
                  <a:lnTo>
                    <a:pt x="3374" y="4826"/>
                  </a:lnTo>
                  <a:lnTo>
                    <a:pt x="3376" y="4820"/>
                  </a:lnTo>
                  <a:lnTo>
                    <a:pt x="3380" y="4818"/>
                  </a:lnTo>
                  <a:lnTo>
                    <a:pt x="3382" y="4818"/>
                  </a:lnTo>
                  <a:lnTo>
                    <a:pt x="3390" y="4820"/>
                  </a:lnTo>
                  <a:lnTo>
                    <a:pt x="3402" y="4824"/>
                  </a:lnTo>
                  <a:lnTo>
                    <a:pt x="3406" y="4826"/>
                  </a:lnTo>
                  <a:lnTo>
                    <a:pt x="3410" y="4826"/>
                  </a:lnTo>
                  <a:lnTo>
                    <a:pt x="3410" y="4822"/>
                  </a:lnTo>
                  <a:lnTo>
                    <a:pt x="3406" y="4816"/>
                  </a:lnTo>
                  <a:lnTo>
                    <a:pt x="3400" y="4812"/>
                  </a:lnTo>
                  <a:lnTo>
                    <a:pt x="3394" y="4810"/>
                  </a:lnTo>
                  <a:lnTo>
                    <a:pt x="3390" y="4806"/>
                  </a:lnTo>
                  <a:lnTo>
                    <a:pt x="3386" y="4804"/>
                  </a:lnTo>
                  <a:lnTo>
                    <a:pt x="3386" y="4802"/>
                  </a:lnTo>
                  <a:lnTo>
                    <a:pt x="3388" y="4800"/>
                  </a:lnTo>
                  <a:lnTo>
                    <a:pt x="3394" y="4796"/>
                  </a:lnTo>
                  <a:lnTo>
                    <a:pt x="3400" y="4792"/>
                  </a:lnTo>
                  <a:lnTo>
                    <a:pt x="3404" y="4788"/>
                  </a:lnTo>
                  <a:lnTo>
                    <a:pt x="3406" y="4784"/>
                  </a:lnTo>
                  <a:lnTo>
                    <a:pt x="3408" y="4774"/>
                  </a:lnTo>
                  <a:lnTo>
                    <a:pt x="3406" y="4770"/>
                  </a:lnTo>
                  <a:lnTo>
                    <a:pt x="3404" y="4766"/>
                  </a:lnTo>
                  <a:lnTo>
                    <a:pt x="3400" y="4766"/>
                  </a:lnTo>
                  <a:lnTo>
                    <a:pt x="3396" y="4766"/>
                  </a:lnTo>
                  <a:lnTo>
                    <a:pt x="3390" y="4770"/>
                  </a:lnTo>
                  <a:lnTo>
                    <a:pt x="3386" y="4774"/>
                  </a:lnTo>
                  <a:lnTo>
                    <a:pt x="3378" y="4788"/>
                  </a:lnTo>
                  <a:lnTo>
                    <a:pt x="3372" y="4800"/>
                  </a:lnTo>
                  <a:lnTo>
                    <a:pt x="3370" y="4800"/>
                  </a:lnTo>
                  <a:lnTo>
                    <a:pt x="3368" y="4798"/>
                  </a:lnTo>
                  <a:lnTo>
                    <a:pt x="3366" y="4792"/>
                  </a:lnTo>
                  <a:lnTo>
                    <a:pt x="3368" y="4788"/>
                  </a:lnTo>
                  <a:lnTo>
                    <a:pt x="3372" y="4782"/>
                  </a:lnTo>
                  <a:lnTo>
                    <a:pt x="3378" y="4772"/>
                  </a:lnTo>
                  <a:lnTo>
                    <a:pt x="3378" y="4766"/>
                  </a:lnTo>
                  <a:lnTo>
                    <a:pt x="3378" y="4762"/>
                  </a:lnTo>
                  <a:lnTo>
                    <a:pt x="3376" y="4754"/>
                  </a:lnTo>
                  <a:lnTo>
                    <a:pt x="3374" y="4750"/>
                  </a:lnTo>
                  <a:lnTo>
                    <a:pt x="3374" y="4748"/>
                  </a:lnTo>
                  <a:lnTo>
                    <a:pt x="3374" y="4744"/>
                  </a:lnTo>
                  <a:lnTo>
                    <a:pt x="3378" y="4734"/>
                  </a:lnTo>
                  <a:lnTo>
                    <a:pt x="3378" y="4732"/>
                  </a:lnTo>
                  <a:lnTo>
                    <a:pt x="3376" y="4732"/>
                  </a:lnTo>
                  <a:lnTo>
                    <a:pt x="3370" y="4736"/>
                  </a:lnTo>
                  <a:lnTo>
                    <a:pt x="3366" y="4740"/>
                  </a:lnTo>
                  <a:lnTo>
                    <a:pt x="3362" y="4746"/>
                  </a:lnTo>
                  <a:lnTo>
                    <a:pt x="3356" y="4760"/>
                  </a:lnTo>
                  <a:lnTo>
                    <a:pt x="3356" y="4776"/>
                  </a:lnTo>
                  <a:lnTo>
                    <a:pt x="3356" y="4784"/>
                  </a:lnTo>
                  <a:lnTo>
                    <a:pt x="3358" y="4790"/>
                  </a:lnTo>
                  <a:close/>
                  <a:moveTo>
                    <a:pt x="3086" y="4178"/>
                  </a:moveTo>
                  <a:lnTo>
                    <a:pt x="3086" y="4178"/>
                  </a:lnTo>
                  <a:lnTo>
                    <a:pt x="3076" y="4178"/>
                  </a:lnTo>
                  <a:lnTo>
                    <a:pt x="3070" y="4180"/>
                  </a:lnTo>
                  <a:lnTo>
                    <a:pt x="3068" y="4184"/>
                  </a:lnTo>
                  <a:lnTo>
                    <a:pt x="3072" y="4186"/>
                  </a:lnTo>
                  <a:lnTo>
                    <a:pt x="3076" y="4188"/>
                  </a:lnTo>
                  <a:lnTo>
                    <a:pt x="3076" y="4190"/>
                  </a:lnTo>
                  <a:lnTo>
                    <a:pt x="3078" y="4194"/>
                  </a:lnTo>
                  <a:lnTo>
                    <a:pt x="3080" y="4196"/>
                  </a:lnTo>
                  <a:lnTo>
                    <a:pt x="3084" y="4202"/>
                  </a:lnTo>
                  <a:lnTo>
                    <a:pt x="3088" y="4212"/>
                  </a:lnTo>
                  <a:lnTo>
                    <a:pt x="3092" y="4224"/>
                  </a:lnTo>
                  <a:lnTo>
                    <a:pt x="3098" y="4238"/>
                  </a:lnTo>
                  <a:lnTo>
                    <a:pt x="3102" y="4244"/>
                  </a:lnTo>
                  <a:lnTo>
                    <a:pt x="3104" y="4244"/>
                  </a:lnTo>
                  <a:lnTo>
                    <a:pt x="3106" y="4244"/>
                  </a:lnTo>
                  <a:lnTo>
                    <a:pt x="3112" y="4240"/>
                  </a:lnTo>
                  <a:lnTo>
                    <a:pt x="3116" y="4232"/>
                  </a:lnTo>
                  <a:lnTo>
                    <a:pt x="3118" y="4224"/>
                  </a:lnTo>
                  <a:lnTo>
                    <a:pt x="3118" y="4220"/>
                  </a:lnTo>
                  <a:lnTo>
                    <a:pt x="3116" y="4216"/>
                  </a:lnTo>
                  <a:lnTo>
                    <a:pt x="3116" y="4208"/>
                  </a:lnTo>
                  <a:lnTo>
                    <a:pt x="3118" y="4204"/>
                  </a:lnTo>
                  <a:lnTo>
                    <a:pt x="3116" y="4198"/>
                  </a:lnTo>
                  <a:lnTo>
                    <a:pt x="3114" y="4194"/>
                  </a:lnTo>
                  <a:lnTo>
                    <a:pt x="3110" y="4190"/>
                  </a:lnTo>
                  <a:lnTo>
                    <a:pt x="3100" y="4184"/>
                  </a:lnTo>
                  <a:lnTo>
                    <a:pt x="3086" y="4178"/>
                  </a:lnTo>
                  <a:close/>
                  <a:moveTo>
                    <a:pt x="3138" y="4192"/>
                  </a:moveTo>
                  <a:lnTo>
                    <a:pt x="3138" y="4192"/>
                  </a:lnTo>
                  <a:lnTo>
                    <a:pt x="3140" y="4190"/>
                  </a:lnTo>
                  <a:lnTo>
                    <a:pt x="3142" y="4186"/>
                  </a:lnTo>
                  <a:lnTo>
                    <a:pt x="3140" y="4180"/>
                  </a:lnTo>
                  <a:lnTo>
                    <a:pt x="3138" y="4178"/>
                  </a:lnTo>
                  <a:lnTo>
                    <a:pt x="3134" y="4178"/>
                  </a:lnTo>
                  <a:lnTo>
                    <a:pt x="3132" y="4178"/>
                  </a:lnTo>
                  <a:lnTo>
                    <a:pt x="3130" y="4178"/>
                  </a:lnTo>
                  <a:lnTo>
                    <a:pt x="3130" y="4184"/>
                  </a:lnTo>
                  <a:lnTo>
                    <a:pt x="3130" y="4188"/>
                  </a:lnTo>
                  <a:lnTo>
                    <a:pt x="3132" y="4192"/>
                  </a:lnTo>
                  <a:lnTo>
                    <a:pt x="3134" y="4194"/>
                  </a:lnTo>
                  <a:lnTo>
                    <a:pt x="3138" y="4192"/>
                  </a:lnTo>
                  <a:close/>
                  <a:moveTo>
                    <a:pt x="3386" y="4736"/>
                  </a:moveTo>
                  <a:lnTo>
                    <a:pt x="3386" y="4736"/>
                  </a:lnTo>
                  <a:lnTo>
                    <a:pt x="3388" y="4742"/>
                  </a:lnTo>
                  <a:lnTo>
                    <a:pt x="3392" y="4742"/>
                  </a:lnTo>
                  <a:lnTo>
                    <a:pt x="3396" y="4740"/>
                  </a:lnTo>
                  <a:lnTo>
                    <a:pt x="3398" y="4736"/>
                  </a:lnTo>
                  <a:lnTo>
                    <a:pt x="3402" y="4732"/>
                  </a:lnTo>
                  <a:lnTo>
                    <a:pt x="3404" y="4726"/>
                  </a:lnTo>
                  <a:lnTo>
                    <a:pt x="3404" y="4720"/>
                  </a:lnTo>
                  <a:lnTo>
                    <a:pt x="3404" y="4714"/>
                  </a:lnTo>
                  <a:lnTo>
                    <a:pt x="3400" y="4712"/>
                  </a:lnTo>
                  <a:lnTo>
                    <a:pt x="3398" y="4712"/>
                  </a:lnTo>
                  <a:lnTo>
                    <a:pt x="3394" y="4714"/>
                  </a:lnTo>
                  <a:lnTo>
                    <a:pt x="3392" y="4718"/>
                  </a:lnTo>
                  <a:lnTo>
                    <a:pt x="3388" y="4726"/>
                  </a:lnTo>
                  <a:lnTo>
                    <a:pt x="3386" y="4736"/>
                  </a:lnTo>
                  <a:close/>
                  <a:moveTo>
                    <a:pt x="3378" y="4912"/>
                  </a:moveTo>
                  <a:lnTo>
                    <a:pt x="3378" y="4912"/>
                  </a:lnTo>
                  <a:lnTo>
                    <a:pt x="3374" y="4908"/>
                  </a:lnTo>
                  <a:lnTo>
                    <a:pt x="3370" y="4906"/>
                  </a:lnTo>
                  <a:lnTo>
                    <a:pt x="3364" y="4904"/>
                  </a:lnTo>
                  <a:lnTo>
                    <a:pt x="3362" y="4904"/>
                  </a:lnTo>
                  <a:lnTo>
                    <a:pt x="3358" y="4906"/>
                  </a:lnTo>
                  <a:lnTo>
                    <a:pt x="3356" y="4908"/>
                  </a:lnTo>
                  <a:lnTo>
                    <a:pt x="3354" y="4912"/>
                  </a:lnTo>
                  <a:lnTo>
                    <a:pt x="3354" y="4916"/>
                  </a:lnTo>
                  <a:lnTo>
                    <a:pt x="3354" y="4922"/>
                  </a:lnTo>
                  <a:lnTo>
                    <a:pt x="3358" y="4924"/>
                  </a:lnTo>
                  <a:lnTo>
                    <a:pt x="3366" y="4922"/>
                  </a:lnTo>
                  <a:lnTo>
                    <a:pt x="3382" y="4922"/>
                  </a:lnTo>
                  <a:lnTo>
                    <a:pt x="3384" y="4922"/>
                  </a:lnTo>
                  <a:lnTo>
                    <a:pt x="3384" y="4920"/>
                  </a:lnTo>
                  <a:lnTo>
                    <a:pt x="3378" y="4912"/>
                  </a:lnTo>
                  <a:close/>
                  <a:moveTo>
                    <a:pt x="3378" y="5236"/>
                  </a:moveTo>
                  <a:lnTo>
                    <a:pt x="3378" y="5236"/>
                  </a:lnTo>
                  <a:lnTo>
                    <a:pt x="3374" y="5234"/>
                  </a:lnTo>
                  <a:lnTo>
                    <a:pt x="3370" y="5234"/>
                  </a:lnTo>
                  <a:lnTo>
                    <a:pt x="3368" y="5236"/>
                  </a:lnTo>
                  <a:lnTo>
                    <a:pt x="3372" y="5240"/>
                  </a:lnTo>
                  <a:lnTo>
                    <a:pt x="3376" y="5242"/>
                  </a:lnTo>
                  <a:lnTo>
                    <a:pt x="3380" y="5240"/>
                  </a:lnTo>
                  <a:lnTo>
                    <a:pt x="3380" y="5238"/>
                  </a:lnTo>
                  <a:lnTo>
                    <a:pt x="3378" y="5236"/>
                  </a:lnTo>
                  <a:close/>
                  <a:moveTo>
                    <a:pt x="3444" y="5230"/>
                  </a:moveTo>
                  <a:lnTo>
                    <a:pt x="3444" y="5230"/>
                  </a:lnTo>
                  <a:lnTo>
                    <a:pt x="3448" y="5232"/>
                  </a:lnTo>
                  <a:lnTo>
                    <a:pt x="3450" y="5230"/>
                  </a:lnTo>
                  <a:lnTo>
                    <a:pt x="3452" y="5228"/>
                  </a:lnTo>
                  <a:lnTo>
                    <a:pt x="3452" y="5224"/>
                  </a:lnTo>
                  <a:lnTo>
                    <a:pt x="3448" y="5220"/>
                  </a:lnTo>
                  <a:lnTo>
                    <a:pt x="3442" y="5218"/>
                  </a:lnTo>
                  <a:lnTo>
                    <a:pt x="3440" y="5220"/>
                  </a:lnTo>
                  <a:lnTo>
                    <a:pt x="3442" y="5224"/>
                  </a:lnTo>
                  <a:lnTo>
                    <a:pt x="3444" y="5230"/>
                  </a:lnTo>
                  <a:close/>
                  <a:moveTo>
                    <a:pt x="3364" y="4876"/>
                  </a:moveTo>
                  <a:lnTo>
                    <a:pt x="3364" y="4876"/>
                  </a:lnTo>
                  <a:lnTo>
                    <a:pt x="3364" y="4878"/>
                  </a:lnTo>
                  <a:lnTo>
                    <a:pt x="3366" y="4880"/>
                  </a:lnTo>
                  <a:lnTo>
                    <a:pt x="3370" y="4882"/>
                  </a:lnTo>
                  <a:lnTo>
                    <a:pt x="3372" y="4880"/>
                  </a:lnTo>
                  <a:lnTo>
                    <a:pt x="3374" y="4876"/>
                  </a:lnTo>
                  <a:lnTo>
                    <a:pt x="3372" y="4874"/>
                  </a:lnTo>
                  <a:lnTo>
                    <a:pt x="3368" y="4874"/>
                  </a:lnTo>
                  <a:lnTo>
                    <a:pt x="3364" y="4876"/>
                  </a:lnTo>
                  <a:close/>
                  <a:moveTo>
                    <a:pt x="3374" y="5022"/>
                  </a:moveTo>
                  <a:lnTo>
                    <a:pt x="3374" y="5022"/>
                  </a:lnTo>
                  <a:lnTo>
                    <a:pt x="3378" y="5024"/>
                  </a:lnTo>
                  <a:lnTo>
                    <a:pt x="3384" y="5022"/>
                  </a:lnTo>
                  <a:lnTo>
                    <a:pt x="3388" y="5018"/>
                  </a:lnTo>
                  <a:lnTo>
                    <a:pt x="3390" y="5012"/>
                  </a:lnTo>
                  <a:lnTo>
                    <a:pt x="3390" y="5010"/>
                  </a:lnTo>
                  <a:lnTo>
                    <a:pt x="3388" y="5010"/>
                  </a:lnTo>
                  <a:lnTo>
                    <a:pt x="3382" y="5012"/>
                  </a:lnTo>
                  <a:lnTo>
                    <a:pt x="3376" y="5018"/>
                  </a:lnTo>
                  <a:lnTo>
                    <a:pt x="3374" y="5020"/>
                  </a:lnTo>
                  <a:lnTo>
                    <a:pt x="3374" y="5022"/>
                  </a:lnTo>
                  <a:close/>
                  <a:moveTo>
                    <a:pt x="3412" y="3200"/>
                  </a:moveTo>
                  <a:lnTo>
                    <a:pt x="3412" y="3200"/>
                  </a:lnTo>
                  <a:lnTo>
                    <a:pt x="3408" y="3200"/>
                  </a:lnTo>
                  <a:lnTo>
                    <a:pt x="3406" y="3202"/>
                  </a:lnTo>
                  <a:lnTo>
                    <a:pt x="3404" y="3206"/>
                  </a:lnTo>
                  <a:lnTo>
                    <a:pt x="3406" y="3208"/>
                  </a:lnTo>
                  <a:lnTo>
                    <a:pt x="3408" y="3208"/>
                  </a:lnTo>
                  <a:lnTo>
                    <a:pt x="3414" y="3206"/>
                  </a:lnTo>
                  <a:lnTo>
                    <a:pt x="3416" y="3204"/>
                  </a:lnTo>
                  <a:lnTo>
                    <a:pt x="3416" y="3202"/>
                  </a:lnTo>
                  <a:lnTo>
                    <a:pt x="3412" y="3200"/>
                  </a:lnTo>
                  <a:close/>
                  <a:moveTo>
                    <a:pt x="3402" y="3084"/>
                  </a:moveTo>
                  <a:lnTo>
                    <a:pt x="3402" y="3084"/>
                  </a:lnTo>
                  <a:lnTo>
                    <a:pt x="3400" y="3088"/>
                  </a:lnTo>
                  <a:lnTo>
                    <a:pt x="3398" y="3092"/>
                  </a:lnTo>
                  <a:lnTo>
                    <a:pt x="3400" y="3096"/>
                  </a:lnTo>
                  <a:lnTo>
                    <a:pt x="3402" y="3098"/>
                  </a:lnTo>
                  <a:lnTo>
                    <a:pt x="3404" y="3096"/>
                  </a:lnTo>
                  <a:lnTo>
                    <a:pt x="3406" y="3092"/>
                  </a:lnTo>
                  <a:lnTo>
                    <a:pt x="3406" y="3088"/>
                  </a:lnTo>
                  <a:lnTo>
                    <a:pt x="3406" y="3084"/>
                  </a:lnTo>
                  <a:lnTo>
                    <a:pt x="3404" y="3084"/>
                  </a:lnTo>
                  <a:lnTo>
                    <a:pt x="3402" y="3084"/>
                  </a:lnTo>
                  <a:close/>
                  <a:moveTo>
                    <a:pt x="3416" y="3464"/>
                  </a:moveTo>
                  <a:lnTo>
                    <a:pt x="3416" y="3464"/>
                  </a:lnTo>
                  <a:lnTo>
                    <a:pt x="3420" y="3466"/>
                  </a:lnTo>
                  <a:lnTo>
                    <a:pt x="3422" y="3464"/>
                  </a:lnTo>
                  <a:lnTo>
                    <a:pt x="3422" y="3460"/>
                  </a:lnTo>
                  <a:lnTo>
                    <a:pt x="3420" y="3454"/>
                  </a:lnTo>
                  <a:lnTo>
                    <a:pt x="3418" y="3452"/>
                  </a:lnTo>
                  <a:lnTo>
                    <a:pt x="3416" y="3454"/>
                  </a:lnTo>
                  <a:lnTo>
                    <a:pt x="3414" y="3458"/>
                  </a:lnTo>
                  <a:lnTo>
                    <a:pt x="3416" y="3464"/>
                  </a:lnTo>
                  <a:close/>
                  <a:moveTo>
                    <a:pt x="2806" y="3776"/>
                  </a:moveTo>
                  <a:lnTo>
                    <a:pt x="2806" y="3776"/>
                  </a:lnTo>
                  <a:lnTo>
                    <a:pt x="2810" y="3778"/>
                  </a:lnTo>
                  <a:lnTo>
                    <a:pt x="2814" y="3778"/>
                  </a:lnTo>
                  <a:lnTo>
                    <a:pt x="2816" y="3776"/>
                  </a:lnTo>
                  <a:lnTo>
                    <a:pt x="2818" y="3774"/>
                  </a:lnTo>
                  <a:lnTo>
                    <a:pt x="2820" y="3768"/>
                  </a:lnTo>
                  <a:lnTo>
                    <a:pt x="2818" y="3762"/>
                  </a:lnTo>
                  <a:lnTo>
                    <a:pt x="2820" y="3758"/>
                  </a:lnTo>
                  <a:lnTo>
                    <a:pt x="2820" y="3754"/>
                  </a:lnTo>
                  <a:lnTo>
                    <a:pt x="2820" y="3752"/>
                  </a:lnTo>
                  <a:lnTo>
                    <a:pt x="2818" y="3752"/>
                  </a:lnTo>
                  <a:lnTo>
                    <a:pt x="2814" y="3752"/>
                  </a:lnTo>
                  <a:lnTo>
                    <a:pt x="2812" y="3752"/>
                  </a:lnTo>
                  <a:lnTo>
                    <a:pt x="2814" y="3752"/>
                  </a:lnTo>
                  <a:lnTo>
                    <a:pt x="2814" y="3750"/>
                  </a:lnTo>
                  <a:lnTo>
                    <a:pt x="2812" y="3748"/>
                  </a:lnTo>
                  <a:lnTo>
                    <a:pt x="2810" y="3750"/>
                  </a:lnTo>
                  <a:lnTo>
                    <a:pt x="2808" y="3752"/>
                  </a:lnTo>
                  <a:lnTo>
                    <a:pt x="2808" y="3756"/>
                  </a:lnTo>
                  <a:lnTo>
                    <a:pt x="2806" y="3758"/>
                  </a:lnTo>
                  <a:lnTo>
                    <a:pt x="2802" y="3760"/>
                  </a:lnTo>
                  <a:lnTo>
                    <a:pt x="2802" y="3766"/>
                  </a:lnTo>
                  <a:lnTo>
                    <a:pt x="2802" y="3774"/>
                  </a:lnTo>
                  <a:lnTo>
                    <a:pt x="2800" y="3774"/>
                  </a:lnTo>
                  <a:lnTo>
                    <a:pt x="2802" y="3774"/>
                  </a:lnTo>
                  <a:lnTo>
                    <a:pt x="2804" y="3774"/>
                  </a:lnTo>
                  <a:lnTo>
                    <a:pt x="2806" y="3776"/>
                  </a:lnTo>
                  <a:close/>
                  <a:moveTo>
                    <a:pt x="3380" y="3090"/>
                  </a:moveTo>
                  <a:lnTo>
                    <a:pt x="3380" y="3090"/>
                  </a:lnTo>
                  <a:lnTo>
                    <a:pt x="3378" y="3088"/>
                  </a:lnTo>
                  <a:lnTo>
                    <a:pt x="3376" y="3086"/>
                  </a:lnTo>
                  <a:lnTo>
                    <a:pt x="3372" y="3088"/>
                  </a:lnTo>
                  <a:lnTo>
                    <a:pt x="3370" y="3090"/>
                  </a:lnTo>
                  <a:lnTo>
                    <a:pt x="3370" y="3092"/>
                  </a:lnTo>
                  <a:lnTo>
                    <a:pt x="3376" y="3096"/>
                  </a:lnTo>
                  <a:lnTo>
                    <a:pt x="3378" y="3096"/>
                  </a:lnTo>
                  <a:lnTo>
                    <a:pt x="3380" y="3096"/>
                  </a:lnTo>
                  <a:lnTo>
                    <a:pt x="3380" y="3090"/>
                  </a:lnTo>
                  <a:close/>
                  <a:moveTo>
                    <a:pt x="3918" y="2740"/>
                  </a:moveTo>
                  <a:lnTo>
                    <a:pt x="3918" y="2740"/>
                  </a:lnTo>
                  <a:lnTo>
                    <a:pt x="3918" y="2736"/>
                  </a:lnTo>
                  <a:lnTo>
                    <a:pt x="3918" y="2734"/>
                  </a:lnTo>
                  <a:lnTo>
                    <a:pt x="3914" y="2732"/>
                  </a:lnTo>
                  <a:lnTo>
                    <a:pt x="3908" y="2730"/>
                  </a:lnTo>
                  <a:lnTo>
                    <a:pt x="3902" y="2728"/>
                  </a:lnTo>
                  <a:lnTo>
                    <a:pt x="3900" y="2726"/>
                  </a:lnTo>
                  <a:lnTo>
                    <a:pt x="3898" y="2728"/>
                  </a:lnTo>
                  <a:lnTo>
                    <a:pt x="3894" y="2736"/>
                  </a:lnTo>
                  <a:lnTo>
                    <a:pt x="3894" y="2740"/>
                  </a:lnTo>
                  <a:lnTo>
                    <a:pt x="3894" y="2744"/>
                  </a:lnTo>
                  <a:lnTo>
                    <a:pt x="3898" y="2746"/>
                  </a:lnTo>
                  <a:lnTo>
                    <a:pt x="3902" y="2744"/>
                  </a:lnTo>
                  <a:lnTo>
                    <a:pt x="3906" y="2744"/>
                  </a:lnTo>
                  <a:lnTo>
                    <a:pt x="3910" y="2746"/>
                  </a:lnTo>
                  <a:lnTo>
                    <a:pt x="3910" y="2748"/>
                  </a:lnTo>
                  <a:lnTo>
                    <a:pt x="3912" y="2752"/>
                  </a:lnTo>
                  <a:lnTo>
                    <a:pt x="3908" y="2760"/>
                  </a:lnTo>
                  <a:lnTo>
                    <a:pt x="3906" y="2762"/>
                  </a:lnTo>
                  <a:lnTo>
                    <a:pt x="3904" y="2760"/>
                  </a:lnTo>
                  <a:lnTo>
                    <a:pt x="3900" y="2758"/>
                  </a:lnTo>
                  <a:lnTo>
                    <a:pt x="3898" y="2760"/>
                  </a:lnTo>
                  <a:lnTo>
                    <a:pt x="3894" y="2762"/>
                  </a:lnTo>
                  <a:lnTo>
                    <a:pt x="3890" y="2764"/>
                  </a:lnTo>
                  <a:lnTo>
                    <a:pt x="3888" y="2762"/>
                  </a:lnTo>
                  <a:lnTo>
                    <a:pt x="3888" y="2756"/>
                  </a:lnTo>
                  <a:lnTo>
                    <a:pt x="3886" y="2746"/>
                  </a:lnTo>
                  <a:lnTo>
                    <a:pt x="3884" y="2742"/>
                  </a:lnTo>
                  <a:lnTo>
                    <a:pt x="3880" y="2740"/>
                  </a:lnTo>
                  <a:lnTo>
                    <a:pt x="3878" y="2742"/>
                  </a:lnTo>
                  <a:lnTo>
                    <a:pt x="3876" y="2744"/>
                  </a:lnTo>
                  <a:lnTo>
                    <a:pt x="3874" y="2750"/>
                  </a:lnTo>
                  <a:lnTo>
                    <a:pt x="3874" y="2758"/>
                  </a:lnTo>
                  <a:lnTo>
                    <a:pt x="3872" y="2764"/>
                  </a:lnTo>
                  <a:lnTo>
                    <a:pt x="3870" y="2768"/>
                  </a:lnTo>
                  <a:lnTo>
                    <a:pt x="3866" y="2768"/>
                  </a:lnTo>
                  <a:lnTo>
                    <a:pt x="3862" y="2770"/>
                  </a:lnTo>
                  <a:lnTo>
                    <a:pt x="3858" y="2770"/>
                  </a:lnTo>
                  <a:lnTo>
                    <a:pt x="3856" y="2772"/>
                  </a:lnTo>
                  <a:lnTo>
                    <a:pt x="3856" y="2776"/>
                  </a:lnTo>
                  <a:lnTo>
                    <a:pt x="3856" y="2786"/>
                  </a:lnTo>
                  <a:lnTo>
                    <a:pt x="3858" y="2796"/>
                  </a:lnTo>
                  <a:lnTo>
                    <a:pt x="3860" y="2802"/>
                  </a:lnTo>
                  <a:lnTo>
                    <a:pt x="3858" y="2806"/>
                  </a:lnTo>
                  <a:lnTo>
                    <a:pt x="3856" y="2808"/>
                  </a:lnTo>
                  <a:lnTo>
                    <a:pt x="3852" y="2810"/>
                  </a:lnTo>
                  <a:lnTo>
                    <a:pt x="3850" y="2812"/>
                  </a:lnTo>
                  <a:lnTo>
                    <a:pt x="3850" y="2814"/>
                  </a:lnTo>
                  <a:lnTo>
                    <a:pt x="3850" y="2816"/>
                  </a:lnTo>
                  <a:lnTo>
                    <a:pt x="3852" y="2818"/>
                  </a:lnTo>
                  <a:lnTo>
                    <a:pt x="3854" y="2818"/>
                  </a:lnTo>
                  <a:lnTo>
                    <a:pt x="3858" y="2820"/>
                  </a:lnTo>
                  <a:lnTo>
                    <a:pt x="3860" y="2824"/>
                  </a:lnTo>
                  <a:lnTo>
                    <a:pt x="3860" y="2832"/>
                  </a:lnTo>
                  <a:lnTo>
                    <a:pt x="3858" y="2846"/>
                  </a:lnTo>
                  <a:lnTo>
                    <a:pt x="3854" y="2866"/>
                  </a:lnTo>
                  <a:lnTo>
                    <a:pt x="3850" y="2884"/>
                  </a:lnTo>
                  <a:lnTo>
                    <a:pt x="3844" y="2896"/>
                  </a:lnTo>
                  <a:lnTo>
                    <a:pt x="3840" y="2904"/>
                  </a:lnTo>
                  <a:lnTo>
                    <a:pt x="3834" y="2912"/>
                  </a:lnTo>
                  <a:lnTo>
                    <a:pt x="3822" y="2926"/>
                  </a:lnTo>
                  <a:lnTo>
                    <a:pt x="3808" y="2942"/>
                  </a:lnTo>
                  <a:lnTo>
                    <a:pt x="3802" y="2952"/>
                  </a:lnTo>
                  <a:lnTo>
                    <a:pt x="3794" y="2960"/>
                  </a:lnTo>
                  <a:lnTo>
                    <a:pt x="3788" y="2964"/>
                  </a:lnTo>
                  <a:lnTo>
                    <a:pt x="3782" y="2968"/>
                  </a:lnTo>
                  <a:lnTo>
                    <a:pt x="3768" y="2974"/>
                  </a:lnTo>
                  <a:lnTo>
                    <a:pt x="3760" y="2978"/>
                  </a:lnTo>
                  <a:lnTo>
                    <a:pt x="3752" y="2984"/>
                  </a:lnTo>
                  <a:lnTo>
                    <a:pt x="3742" y="2990"/>
                  </a:lnTo>
                  <a:lnTo>
                    <a:pt x="3742" y="2988"/>
                  </a:lnTo>
                  <a:lnTo>
                    <a:pt x="3742" y="2986"/>
                  </a:lnTo>
                  <a:lnTo>
                    <a:pt x="3744" y="2978"/>
                  </a:lnTo>
                  <a:lnTo>
                    <a:pt x="3744" y="2974"/>
                  </a:lnTo>
                  <a:lnTo>
                    <a:pt x="3740" y="2970"/>
                  </a:lnTo>
                  <a:lnTo>
                    <a:pt x="3740" y="2968"/>
                  </a:lnTo>
                  <a:lnTo>
                    <a:pt x="3740" y="2966"/>
                  </a:lnTo>
                  <a:lnTo>
                    <a:pt x="3748" y="2960"/>
                  </a:lnTo>
                  <a:lnTo>
                    <a:pt x="3754" y="2952"/>
                  </a:lnTo>
                  <a:lnTo>
                    <a:pt x="3756" y="2948"/>
                  </a:lnTo>
                  <a:lnTo>
                    <a:pt x="3754" y="2944"/>
                  </a:lnTo>
                  <a:lnTo>
                    <a:pt x="3752" y="2944"/>
                  </a:lnTo>
                  <a:lnTo>
                    <a:pt x="3748" y="2944"/>
                  </a:lnTo>
                  <a:lnTo>
                    <a:pt x="3738" y="2948"/>
                  </a:lnTo>
                  <a:lnTo>
                    <a:pt x="3734" y="2952"/>
                  </a:lnTo>
                  <a:lnTo>
                    <a:pt x="3730" y="2956"/>
                  </a:lnTo>
                  <a:lnTo>
                    <a:pt x="3728" y="2962"/>
                  </a:lnTo>
                  <a:lnTo>
                    <a:pt x="3730" y="2966"/>
                  </a:lnTo>
                  <a:lnTo>
                    <a:pt x="3730" y="2976"/>
                  </a:lnTo>
                  <a:lnTo>
                    <a:pt x="3728" y="2986"/>
                  </a:lnTo>
                  <a:lnTo>
                    <a:pt x="3722" y="2996"/>
                  </a:lnTo>
                  <a:lnTo>
                    <a:pt x="3716" y="3006"/>
                  </a:lnTo>
                  <a:lnTo>
                    <a:pt x="3704" y="3022"/>
                  </a:lnTo>
                  <a:lnTo>
                    <a:pt x="3700" y="3026"/>
                  </a:lnTo>
                  <a:lnTo>
                    <a:pt x="3698" y="3030"/>
                  </a:lnTo>
                  <a:lnTo>
                    <a:pt x="3700" y="3036"/>
                  </a:lnTo>
                  <a:lnTo>
                    <a:pt x="3700" y="3044"/>
                  </a:lnTo>
                  <a:lnTo>
                    <a:pt x="3698" y="3046"/>
                  </a:lnTo>
                  <a:lnTo>
                    <a:pt x="3694" y="3050"/>
                  </a:lnTo>
                  <a:lnTo>
                    <a:pt x="3690" y="3052"/>
                  </a:lnTo>
                  <a:lnTo>
                    <a:pt x="3682" y="3054"/>
                  </a:lnTo>
                  <a:lnTo>
                    <a:pt x="3676" y="3054"/>
                  </a:lnTo>
                  <a:lnTo>
                    <a:pt x="3672" y="3052"/>
                  </a:lnTo>
                  <a:lnTo>
                    <a:pt x="3672" y="3048"/>
                  </a:lnTo>
                  <a:lnTo>
                    <a:pt x="3674" y="3044"/>
                  </a:lnTo>
                  <a:lnTo>
                    <a:pt x="3672" y="3042"/>
                  </a:lnTo>
                  <a:lnTo>
                    <a:pt x="3668" y="3040"/>
                  </a:lnTo>
                  <a:lnTo>
                    <a:pt x="3662" y="3042"/>
                  </a:lnTo>
                  <a:lnTo>
                    <a:pt x="3652" y="3044"/>
                  </a:lnTo>
                  <a:lnTo>
                    <a:pt x="3626" y="3052"/>
                  </a:lnTo>
                  <a:lnTo>
                    <a:pt x="3614" y="3056"/>
                  </a:lnTo>
                  <a:lnTo>
                    <a:pt x="3602" y="3058"/>
                  </a:lnTo>
                  <a:lnTo>
                    <a:pt x="3594" y="3058"/>
                  </a:lnTo>
                  <a:lnTo>
                    <a:pt x="3592" y="3056"/>
                  </a:lnTo>
                  <a:lnTo>
                    <a:pt x="3590" y="3054"/>
                  </a:lnTo>
                  <a:lnTo>
                    <a:pt x="3588" y="3050"/>
                  </a:lnTo>
                  <a:lnTo>
                    <a:pt x="3584" y="3050"/>
                  </a:lnTo>
                  <a:lnTo>
                    <a:pt x="3580" y="3050"/>
                  </a:lnTo>
                  <a:lnTo>
                    <a:pt x="3574" y="3052"/>
                  </a:lnTo>
                  <a:lnTo>
                    <a:pt x="3562" y="3062"/>
                  </a:lnTo>
                  <a:lnTo>
                    <a:pt x="3548" y="3080"/>
                  </a:lnTo>
                  <a:lnTo>
                    <a:pt x="3542" y="3088"/>
                  </a:lnTo>
                  <a:lnTo>
                    <a:pt x="3536" y="3092"/>
                  </a:lnTo>
                  <a:lnTo>
                    <a:pt x="3530" y="3096"/>
                  </a:lnTo>
                  <a:lnTo>
                    <a:pt x="3524" y="3098"/>
                  </a:lnTo>
                  <a:lnTo>
                    <a:pt x="3518" y="3106"/>
                  </a:lnTo>
                  <a:lnTo>
                    <a:pt x="3514" y="3112"/>
                  </a:lnTo>
                  <a:lnTo>
                    <a:pt x="3510" y="3114"/>
                  </a:lnTo>
                  <a:lnTo>
                    <a:pt x="3502" y="3114"/>
                  </a:lnTo>
                  <a:lnTo>
                    <a:pt x="3500" y="3116"/>
                  </a:lnTo>
                  <a:lnTo>
                    <a:pt x="3498" y="3116"/>
                  </a:lnTo>
                  <a:lnTo>
                    <a:pt x="3496" y="3120"/>
                  </a:lnTo>
                  <a:lnTo>
                    <a:pt x="3496" y="3126"/>
                  </a:lnTo>
                  <a:lnTo>
                    <a:pt x="3496" y="3132"/>
                  </a:lnTo>
                  <a:lnTo>
                    <a:pt x="3500" y="3136"/>
                  </a:lnTo>
                  <a:lnTo>
                    <a:pt x="3504" y="3136"/>
                  </a:lnTo>
                  <a:lnTo>
                    <a:pt x="3508" y="3136"/>
                  </a:lnTo>
                  <a:lnTo>
                    <a:pt x="3522" y="3134"/>
                  </a:lnTo>
                  <a:lnTo>
                    <a:pt x="3528" y="3134"/>
                  </a:lnTo>
                  <a:lnTo>
                    <a:pt x="3536" y="3138"/>
                  </a:lnTo>
                  <a:lnTo>
                    <a:pt x="3542" y="3140"/>
                  </a:lnTo>
                  <a:lnTo>
                    <a:pt x="3544" y="3140"/>
                  </a:lnTo>
                  <a:lnTo>
                    <a:pt x="3546" y="3138"/>
                  </a:lnTo>
                  <a:lnTo>
                    <a:pt x="3546" y="3134"/>
                  </a:lnTo>
                  <a:lnTo>
                    <a:pt x="3546" y="3124"/>
                  </a:lnTo>
                  <a:lnTo>
                    <a:pt x="3548" y="3120"/>
                  </a:lnTo>
                  <a:lnTo>
                    <a:pt x="3550" y="3118"/>
                  </a:lnTo>
                  <a:lnTo>
                    <a:pt x="3556" y="3116"/>
                  </a:lnTo>
                  <a:lnTo>
                    <a:pt x="3558" y="3118"/>
                  </a:lnTo>
                  <a:lnTo>
                    <a:pt x="3562" y="3120"/>
                  </a:lnTo>
                  <a:lnTo>
                    <a:pt x="3570" y="3120"/>
                  </a:lnTo>
                  <a:lnTo>
                    <a:pt x="3596" y="3116"/>
                  </a:lnTo>
                  <a:lnTo>
                    <a:pt x="3620" y="3108"/>
                  </a:lnTo>
                  <a:lnTo>
                    <a:pt x="3626" y="3104"/>
                  </a:lnTo>
                  <a:lnTo>
                    <a:pt x="3630" y="3102"/>
                  </a:lnTo>
                  <a:lnTo>
                    <a:pt x="3632" y="3098"/>
                  </a:lnTo>
                  <a:lnTo>
                    <a:pt x="3632" y="3096"/>
                  </a:lnTo>
                  <a:lnTo>
                    <a:pt x="3636" y="3096"/>
                  </a:lnTo>
                  <a:lnTo>
                    <a:pt x="3648" y="3098"/>
                  </a:lnTo>
                  <a:lnTo>
                    <a:pt x="3656" y="3100"/>
                  </a:lnTo>
                  <a:lnTo>
                    <a:pt x="3662" y="3100"/>
                  </a:lnTo>
                  <a:lnTo>
                    <a:pt x="3670" y="3098"/>
                  </a:lnTo>
                  <a:lnTo>
                    <a:pt x="3674" y="3098"/>
                  </a:lnTo>
                  <a:lnTo>
                    <a:pt x="3676" y="3102"/>
                  </a:lnTo>
                  <a:lnTo>
                    <a:pt x="3678" y="3106"/>
                  </a:lnTo>
                  <a:lnTo>
                    <a:pt x="3676" y="3110"/>
                  </a:lnTo>
                  <a:lnTo>
                    <a:pt x="3672" y="3114"/>
                  </a:lnTo>
                  <a:lnTo>
                    <a:pt x="3666" y="3118"/>
                  </a:lnTo>
                  <a:lnTo>
                    <a:pt x="3666" y="3120"/>
                  </a:lnTo>
                  <a:lnTo>
                    <a:pt x="3666" y="3124"/>
                  </a:lnTo>
                  <a:lnTo>
                    <a:pt x="3666" y="3130"/>
                  </a:lnTo>
                  <a:lnTo>
                    <a:pt x="3664" y="3136"/>
                  </a:lnTo>
                  <a:lnTo>
                    <a:pt x="3664" y="3142"/>
                  </a:lnTo>
                  <a:lnTo>
                    <a:pt x="3664" y="3144"/>
                  </a:lnTo>
                  <a:lnTo>
                    <a:pt x="3668" y="3146"/>
                  </a:lnTo>
                  <a:lnTo>
                    <a:pt x="3674" y="3150"/>
                  </a:lnTo>
                  <a:lnTo>
                    <a:pt x="3674" y="3152"/>
                  </a:lnTo>
                  <a:lnTo>
                    <a:pt x="3676" y="3156"/>
                  </a:lnTo>
                  <a:lnTo>
                    <a:pt x="3684" y="3162"/>
                  </a:lnTo>
                  <a:lnTo>
                    <a:pt x="3684" y="3164"/>
                  </a:lnTo>
                  <a:lnTo>
                    <a:pt x="3688" y="3166"/>
                  </a:lnTo>
                  <a:lnTo>
                    <a:pt x="3692" y="3164"/>
                  </a:lnTo>
                  <a:lnTo>
                    <a:pt x="3696" y="3160"/>
                  </a:lnTo>
                  <a:lnTo>
                    <a:pt x="3700" y="3156"/>
                  </a:lnTo>
                  <a:lnTo>
                    <a:pt x="3716" y="3130"/>
                  </a:lnTo>
                  <a:lnTo>
                    <a:pt x="3720" y="3124"/>
                  </a:lnTo>
                  <a:lnTo>
                    <a:pt x="3724" y="3122"/>
                  </a:lnTo>
                  <a:lnTo>
                    <a:pt x="3734" y="3118"/>
                  </a:lnTo>
                  <a:lnTo>
                    <a:pt x="3738" y="3116"/>
                  </a:lnTo>
                  <a:lnTo>
                    <a:pt x="3738" y="3114"/>
                  </a:lnTo>
                  <a:lnTo>
                    <a:pt x="3736" y="3112"/>
                  </a:lnTo>
                  <a:lnTo>
                    <a:pt x="3730" y="3108"/>
                  </a:lnTo>
                  <a:lnTo>
                    <a:pt x="3724" y="3104"/>
                  </a:lnTo>
                  <a:lnTo>
                    <a:pt x="3722" y="3098"/>
                  </a:lnTo>
                  <a:lnTo>
                    <a:pt x="3722" y="3090"/>
                  </a:lnTo>
                  <a:lnTo>
                    <a:pt x="3724" y="3086"/>
                  </a:lnTo>
                  <a:lnTo>
                    <a:pt x="3728" y="3082"/>
                  </a:lnTo>
                  <a:lnTo>
                    <a:pt x="3732" y="3080"/>
                  </a:lnTo>
                  <a:lnTo>
                    <a:pt x="3734" y="3082"/>
                  </a:lnTo>
                  <a:lnTo>
                    <a:pt x="3734" y="3086"/>
                  </a:lnTo>
                  <a:lnTo>
                    <a:pt x="3736" y="3092"/>
                  </a:lnTo>
                  <a:lnTo>
                    <a:pt x="3738" y="3094"/>
                  </a:lnTo>
                  <a:lnTo>
                    <a:pt x="3742" y="3096"/>
                  </a:lnTo>
                  <a:lnTo>
                    <a:pt x="3746" y="3096"/>
                  </a:lnTo>
                  <a:lnTo>
                    <a:pt x="3750" y="3096"/>
                  </a:lnTo>
                  <a:lnTo>
                    <a:pt x="3746" y="3100"/>
                  </a:lnTo>
                  <a:lnTo>
                    <a:pt x="3742" y="3104"/>
                  </a:lnTo>
                  <a:lnTo>
                    <a:pt x="3750" y="3104"/>
                  </a:lnTo>
                  <a:lnTo>
                    <a:pt x="3762" y="3102"/>
                  </a:lnTo>
                  <a:lnTo>
                    <a:pt x="3774" y="3102"/>
                  </a:lnTo>
                  <a:lnTo>
                    <a:pt x="3782" y="3104"/>
                  </a:lnTo>
                  <a:lnTo>
                    <a:pt x="3786" y="3104"/>
                  </a:lnTo>
                  <a:lnTo>
                    <a:pt x="3788" y="3100"/>
                  </a:lnTo>
                  <a:lnTo>
                    <a:pt x="3792" y="3092"/>
                  </a:lnTo>
                  <a:lnTo>
                    <a:pt x="3800" y="3082"/>
                  </a:lnTo>
                  <a:lnTo>
                    <a:pt x="3806" y="3076"/>
                  </a:lnTo>
                  <a:lnTo>
                    <a:pt x="3810" y="3076"/>
                  </a:lnTo>
                  <a:lnTo>
                    <a:pt x="3810" y="3078"/>
                  </a:lnTo>
                  <a:lnTo>
                    <a:pt x="3812" y="3082"/>
                  </a:lnTo>
                  <a:lnTo>
                    <a:pt x="3810" y="3090"/>
                  </a:lnTo>
                  <a:lnTo>
                    <a:pt x="3810" y="3096"/>
                  </a:lnTo>
                  <a:lnTo>
                    <a:pt x="3810" y="3102"/>
                  </a:lnTo>
                  <a:lnTo>
                    <a:pt x="3812" y="3104"/>
                  </a:lnTo>
                  <a:lnTo>
                    <a:pt x="3814" y="3104"/>
                  </a:lnTo>
                  <a:lnTo>
                    <a:pt x="3820" y="3098"/>
                  </a:lnTo>
                  <a:lnTo>
                    <a:pt x="3824" y="3086"/>
                  </a:lnTo>
                  <a:lnTo>
                    <a:pt x="3826" y="3076"/>
                  </a:lnTo>
                  <a:lnTo>
                    <a:pt x="3828" y="3068"/>
                  </a:lnTo>
                  <a:lnTo>
                    <a:pt x="3830" y="3066"/>
                  </a:lnTo>
                  <a:lnTo>
                    <a:pt x="3834" y="3066"/>
                  </a:lnTo>
                  <a:lnTo>
                    <a:pt x="3842" y="3070"/>
                  </a:lnTo>
                  <a:lnTo>
                    <a:pt x="3848" y="3074"/>
                  </a:lnTo>
                  <a:lnTo>
                    <a:pt x="3848" y="3072"/>
                  </a:lnTo>
                  <a:lnTo>
                    <a:pt x="3848" y="3064"/>
                  </a:lnTo>
                  <a:lnTo>
                    <a:pt x="3848" y="3060"/>
                  </a:lnTo>
                  <a:lnTo>
                    <a:pt x="3850" y="3054"/>
                  </a:lnTo>
                  <a:lnTo>
                    <a:pt x="3852" y="3050"/>
                  </a:lnTo>
                  <a:lnTo>
                    <a:pt x="3856" y="3048"/>
                  </a:lnTo>
                  <a:lnTo>
                    <a:pt x="3862" y="3046"/>
                  </a:lnTo>
                  <a:lnTo>
                    <a:pt x="3864" y="3048"/>
                  </a:lnTo>
                  <a:lnTo>
                    <a:pt x="3864" y="3050"/>
                  </a:lnTo>
                  <a:lnTo>
                    <a:pt x="3864" y="3052"/>
                  </a:lnTo>
                  <a:lnTo>
                    <a:pt x="3862" y="3056"/>
                  </a:lnTo>
                  <a:lnTo>
                    <a:pt x="3858" y="3066"/>
                  </a:lnTo>
                  <a:lnTo>
                    <a:pt x="3854" y="3080"/>
                  </a:lnTo>
                  <a:lnTo>
                    <a:pt x="3854" y="3090"/>
                  </a:lnTo>
                  <a:lnTo>
                    <a:pt x="3856" y="3090"/>
                  </a:lnTo>
                  <a:lnTo>
                    <a:pt x="3860" y="3086"/>
                  </a:lnTo>
                  <a:lnTo>
                    <a:pt x="3864" y="3080"/>
                  </a:lnTo>
                  <a:lnTo>
                    <a:pt x="3866" y="3078"/>
                  </a:lnTo>
                  <a:lnTo>
                    <a:pt x="3872" y="3076"/>
                  </a:lnTo>
                  <a:lnTo>
                    <a:pt x="3874" y="3076"/>
                  </a:lnTo>
                  <a:lnTo>
                    <a:pt x="3876" y="3072"/>
                  </a:lnTo>
                  <a:lnTo>
                    <a:pt x="3878" y="3060"/>
                  </a:lnTo>
                  <a:lnTo>
                    <a:pt x="3880" y="3052"/>
                  </a:lnTo>
                  <a:lnTo>
                    <a:pt x="3886" y="3048"/>
                  </a:lnTo>
                  <a:lnTo>
                    <a:pt x="3890" y="3048"/>
                  </a:lnTo>
                  <a:lnTo>
                    <a:pt x="3894" y="3048"/>
                  </a:lnTo>
                  <a:lnTo>
                    <a:pt x="3898" y="3048"/>
                  </a:lnTo>
                  <a:lnTo>
                    <a:pt x="3900" y="3046"/>
                  </a:lnTo>
                  <a:lnTo>
                    <a:pt x="3898" y="3042"/>
                  </a:lnTo>
                  <a:lnTo>
                    <a:pt x="3892" y="3034"/>
                  </a:lnTo>
                  <a:lnTo>
                    <a:pt x="3888" y="3028"/>
                  </a:lnTo>
                  <a:lnTo>
                    <a:pt x="3886" y="3022"/>
                  </a:lnTo>
                  <a:lnTo>
                    <a:pt x="3884" y="3010"/>
                  </a:lnTo>
                  <a:lnTo>
                    <a:pt x="3886" y="3000"/>
                  </a:lnTo>
                  <a:lnTo>
                    <a:pt x="3892" y="2988"/>
                  </a:lnTo>
                  <a:lnTo>
                    <a:pt x="3896" y="2978"/>
                  </a:lnTo>
                  <a:lnTo>
                    <a:pt x="3902" y="2966"/>
                  </a:lnTo>
                  <a:lnTo>
                    <a:pt x="3902" y="2952"/>
                  </a:lnTo>
                  <a:lnTo>
                    <a:pt x="3900" y="2938"/>
                  </a:lnTo>
                  <a:lnTo>
                    <a:pt x="3898" y="2928"/>
                  </a:lnTo>
                  <a:lnTo>
                    <a:pt x="3898" y="2920"/>
                  </a:lnTo>
                  <a:lnTo>
                    <a:pt x="3898" y="2912"/>
                  </a:lnTo>
                  <a:lnTo>
                    <a:pt x="3900" y="2906"/>
                  </a:lnTo>
                  <a:lnTo>
                    <a:pt x="3904" y="2902"/>
                  </a:lnTo>
                  <a:lnTo>
                    <a:pt x="3908" y="2900"/>
                  </a:lnTo>
                  <a:lnTo>
                    <a:pt x="3912" y="2900"/>
                  </a:lnTo>
                  <a:lnTo>
                    <a:pt x="3918" y="2902"/>
                  </a:lnTo>
                  <a:lnTo>
                    <a:pt x="3922" y="2906"/>
                  </a:lnTo>
                  <a:lnTo>
                    <a:pt x="3924" y="2906"/>
                  </a:lnTo>
                  <a:lnTo>
                    <a:pt x="3924" y="2898"/>
                  </a:lnTo>
                  <a:lnTo>
                    <a:pt x="3924" y="2884"/>
                  </a:lnTo>
                  <a:lnTo>
                    <a:pt x="3926" y="2876"/>
                  </a:lnTo>
                  <a:lnTo>
                    <a:pt x="3930" y="2868"/>
                  </a:lnTo>
                  <a:lnTo>
                    <a:pt x="3936" y="2860"/>
                  </a:lnTo>
                  <a:lnTo>
                    <a:pt x="3940" y="2850"/>
                  </a:lnTo>
                  <a:lnTo>
                    <a:pt x="3942" y="2840"/>
                  </a:lnTo>
                  <a:lnTo>
                    <a:pt x="3944" y="2830"/>
                  </a:lnTo>
                  <a:lnTo>
                    <a:pt x="3942" y="2820"/>
                  </a:lnTo>
                  <a:lnTo>
                    <a:pt x="3940" y="2810"/>
                  </a:lnTo>
                  <a:lnTo>
                    <a:pt x="3936" y="2802"/>
                  </a:lnTo>
                  <a:lnTo>
                    <a:pt x="3932" y="2794"/>
                  </a:lnTo>
                  <a:lnTo>
                    <a:pt x="3926" y="2788"/>
                  </a:lnTo>
                  <a:lnTo>
                    <a:pt x="3922" y="2780"/>
                  </a:lnTo>
                  <a:lnTo>
                    <a:pt x="3918" y="2766"/>
                  </a:lnTo>
                  <a:lnTo>
                    <a:pt x="3918" y="2752"/>
                  </a:lnTo>
                  <a:lnTo>
                    <a:pt x="3918" y="2740"/>
                  </a:lnTo>
                  <a:close/>
                  <a:moveTo>
                    <a:pt x="3276" y="3612"/>
                  </a:moveTo>
                  <a:lnTo>
                    <a:pt x="3276" y="3612"/>
                  </a:lnTo>
                  <a:lnTo>
                    <a:pt x="3274" y="3610"/>
                  </a:lnTo>
                  <a:lnTo>
                    <a:pt x="3270" y="3612"/>
                  </a:lnTo>
                  <a:lnTo>
                    <a:pt x="3268" y="3614"/>
                  </a:lnTo>
                  <a:lnTo>
                    <a:pt x="3268" y="3618"/>
                  </a:lnTo>
                  <a:lnTo>
                    <a:pt x="3272" y="3618"/>
                  </a:lnTo>
                  <a:lnTo>
                    <a:pt x="3274" y="3618"/>
                  </a:lnTo>
                  <a:lnTo>
                    <a:pt x="3276" y="3614"/>
                  </a:lnTo>
                  <a:lnTo>
                    <a:pt x="3276" y="3612"/>
                  </a:lnTo>
                  <a:close/>
                  <a:moveTo>
                    <a:pt x="3322" y="3130"/>
                  </a:moveTo>
                  <a:lnTo>
                    <a:pt x="3322" y="3130"/>
                  </a:lnTo>
                  <a:lnTo>
                    <a:pt x="3324" y="3128"/>
                  </a:lnTo>
                  <a:lnTo>
                    <a:pt x="3322" y="3126"/>
                  </a:lnTo>
                  <a:lnTo>
                    <a:pt x="3318" y="3126"/>
                  </a:lnTo>
                  <a:lnTo>
                    <a:pt x="3316" y="3128"/>
                  </a:lnTo>
                  <a:lnTo>
                    <a:pt x="3318" y="3130"/>
                  </a:lnTo>
                  <a:lnTo>
                    <a:pt x="3320" y="3130"/>
                  </a:lnTo>
                  <a:lnTo>
                    <a:pt x="3322" y="3130"/>
                  </a:lnTo>
                  <a:close/>
                  <a:moveTo>
                    <a:pt x="3302" y="3176"/>
                  </a:moveTo>
                  <a:lnTo>
                    <a:pt x="3302" y="3176"/>
                  </a:lnTo>
                  <a:lnTo>
                    <a:pt x="3304" y="3178"/>
                  </a:lnTo>
                  <a:lnTo>
                    <a:pt x="3310" y="3178"/>
                  </a:lnTo>
                  <a:lnTo>
                    <a:pt x="3320" y="3176"/>
                  </a:lnTo>
                  <a:lnTo>
                    <a:pt x="3330" y="3170"/>
                  </a:lnTo>
                  <a:lnTo>
                    <a:pt x="3334" y="3166"/>
                  </a:lnTo>
                  <a:lnTo>
                    <a:pt x="3334" y="3162"/>
                  </a:lnTo>
                  <a:lnTo>
                    <a:pt x="3332" y="3158"/>
                  </a:lnTo>
                  <a:lnTo>
                    <a:pt x="3326" y="3158"/>
                  </a:lnTo>
                  <a:lnTo>
                    <a:pt x="3322" y="3158"/>
                  </a:lnTo>
                  <a:lnTo>
                    <a:pt x="3314" y="3160"/>
                  </a:lnTo>
                  <a:lnTo>
                    <a:pt x="3310" y="3164"/>
                  </a:lnTo>
                  <a:lnTo>
                    <a:pt x="3304" y="3166"/>
                  </a:lnTo>
                  <a:lnTo>
                    <a:pt x="3302" y="3172"/>
                  </a:lnTo>
                  <a:lnTo>
                    <a:pt x="3302" y="3176"/>
                  </a:lnTo>
                  <a:close/>
                  <a:moveTo>
                    <a:pt x="3372" y="3542"/>
                  </a:moveTo>
                  <a:lnTo>
                    <a:pt x="3372" y="3542"/>
                  </a:lnTo>
                  <a:lnTo>
                    <a:pt x="3374" y="3538"/>
                  </a:lnTo>
                  <a:lnTo>
                    <a:pt x="3376" y="3534"/>
                  </a:lnTo>
                  <a:lnTo>
                    <a:pt x="3386" y="3520"/>
                  </a:lnTo>
                  <a:lnTo>
                    <a:pt x="3392" y="3512"/>
                  </a:lnTo>
                  <a:lnTo>
                    <a:pt x="3394" y="3508"/>
                  </a:lnTo>
                  <a:lnTo>
                    <a:pt x="3390" y="3508"/>
                  </a:lnTo>
                  <a:lnTo>
                    <a:pt x="3384" y="3512"/>
                  </a:lnTo>
                  <a:lnTo>
                    <a:pt x="3374" y="3522"/>
                  </a:lnTo>
                  <a:lnTo>
                    <a:pt x="3370" y="3528"/>
                  </a:lnTo>
                  <a:lnTo>
                    <a:pt x="3366" y="3538"/>
                  </a:lnTo>
                  <a:lnTo>
                    <a:pt x="3366" y="3544"/>
                  </a:lnTo>
                  <a:lnTo>
                    <a:pt x="3368" y="3546"/>
                  </a:lnTo>
                  <a:lnTo>
                    <a:pt x="3372" y="3544"/>
                  </a:lnTo>
                  <a:lnTo>
                    <a:pt x="3372" y="3542"/>
                  </a:lnTo>
                  <a:close/>
                  <a:moveTo>
                    <a:pt x="3932" y="2136"/>
                  </a:moveTo>
                  <a:lnTo>
                    <a:pt x="3932" y="2136"/>
                  </a:lnTo>
                  <a:lnTo>
                    <a:pt x="3930" y="2138"/>
                  </a:lnTo>
                  <a:lnTo>
                    <a:pt x="3932" y="2138"/>
                  </a:lnTo>
                  <a:lnTo>
                    <a:pt x="3936" y="2142"/>
                  </a:lnTo>
                  <a:lnTo>
                    <a:pt x="3942" y="2150"/>
                  </a:lnTo>
                  <a:lnTo>
                    <a:pt x="3950" y="2162"/>
                  </a:lnTo>
                  <a:lnTo>
                    <a:pt x="3952" y="2168"/>
                  </a:lnTo>
                  <a:lnTo>
                    <a:pt x="3952" y="2174"/>
                  </a:lnTo>
                  <a:lnTo>
                    <a:pt x="3948" y="2186"/>
                  </a:lnTo>
                  <a:lnTo>
                    <a:pt x="3944" y="2198"/>
                  </a:lnTo>
                  <a:lnTo>
                    <a:pt x="3944" y="2206"/>
                  </a:lnTo>
                  <a:lnTo>
                    <a:pt x="3946" y="2214"/>
                  </a:lnTo>
                  <a:lnTo>
                    <a:pt x="3948" y="2224"/>
                  </a:lnTo>
                  <a:lnTo>
                    <a:pt x="3948" y="2236"/>
                  </a:lnTo>
                  <a:lnTo>
                    <a:pt x="3948" y="2266"/>
                  </a:lnTo>
                  <a:lnTo>
                    <a:pt x="3944" y="2294"/>
                  </a:lnTo>
                  <a:lnTo>
                    <a:pt x="3940" y="2304"/>
                  </a:lnTo>
                  <a:lnTo>
                    <a:pt x="3938" y="2312"/>
                  </a:lnTo>
                  <a:lnTo>
                    <a:pt x="3936" y="2316"/>
                  </a:lnTo>
                  <a:lnTo>
                    <a:pt x="3938" y="2320"/>
                  </a:lnTo>
                  <a:lnTo>
                    <a:pt x="3944" y="2330"/>
                  </a:lnTo>
                  <a:lnTo>
                    <a:pt x="3946" y="2336"/>
                  </a:lnTo>
                  <a:lnTo>
                    <a:pt x="3948" y="2344"/>
                  </a:lnTo>
                  <a:lnTo>
                    <a:pt x="3946" y="2356"/>
                  </a:lnTo>
                  <a:lnTo>
                    <a:pt x="3942" y="2370"/>
                  </a:lnTo>
                  <a:lnTo>
                    <a:pt x="3940" y="2378"/>
                  </a:lnTo>
                  <a:lnTo>
                    <a:pt x="3940" y="2386"/>
                  </a:lnTo>
                  <a:lnTo>
                    <a:pt x="3942" y="2400"/>
                  </a:lnTo>
                  <a:lnTo>
                    <a:pt x="3944" y="2412"/>
                  </a:lnTo>
                  <a:lnTo>
                    <a:pt x="3944" y="2418"/>
                  </a:lnTo>
                  <a:lnTo>
                    <a:pt x="3940" y="2424"/>
                  </a:lnTo>
                  <a:lnTo>
                    <a:pt x="3936" y="2436"/>
                  </a:lnTo>
                  <a:lnTo>
                    <a:pt x="3934" y="2444"/>
                  </a:lnTo>
                  <a:lnTo>
                    <a:pt x="3936" y="2454"/>
                  </a:lnTo>
                  <a:lnTo>
                    <a:pt x="3938" y="2468"/>
                  </a:lnTo>
                  <a:lnTo>
                    <a:pt x="3942" y="2478"/>
                  </a:lnTo>
                  <a:lnTo>
                    <a:pt x="3944" y="2478"/>
                  </a:lnTo>
                  <a:lnTo>
                    <a:pt x="3946" y="2478"/>
                  </a:lnTo>
                  <a:lnTo>
                    <a:pt x="3950" y="2470"/>
                  </a:lnTo>
                  <a:lnTo>
                    <a:pt x="3954" y="2456"/>
                  </a:lnTo>
                  <a:lnTo>
                    <a:pt x="3958" y="2442"/>
                  </a:lnTo>
                  <a:lnTo>
                    <a:pt x="3962" y="2434"/>
                  </a:lnTo>
                  <a:lnTo>
                    <a:pt x="3966" y="2432"/>
                  </a:lnTo>
                  <a:lnTo>
                    <a:pt x="3968" y="2432"/>
                  </a:lnTo>
                  <a:lnTo>
                    <a:pt x="3972" y="2434"/>
                  </a:lnTo>
                  <a:lnTo>
                    <a:pt x="3976" y="2438"/>
                  </a:lnTo>
                  <a:lnTo>
                    <a:pt x="3980" y="2440"/>
                  </a:lnTo>
                  <a:lnTo>
                    <a:pt x="3984" y="2438"/>
                  </a:lnTo>
                  <a:lnTo>
                    <a:pt x="3990" y="2440"/>
                  </a:lnTo>
                  <a:lnTo>
                    <a:pt x="3994" y="2442"/>
                  </a:lnTo>
                  <a:lnTo>
                    <a:pt x="3996" y="2446"/>
                  </a:lnTo>
                  <a:lnTo>
                    <a:pt x="3998" y="2456"/>
                  </a:lnTo>
                  <a:lnTo>
                    <a:pt x="4000" y="2464"/>
                  </a:lnTo>
                  <a:lnTo>
                    <a:pt x="4000" y="2466"/>
                  </a:lnTo>
                  <a:lnTo>
                    <a:pt x="4002" y="2466"/>
                  </a:lnTo>
                  <a:lnTo>
                    <a:pt x="4006" y="2454"/>
                  </a:lnTo>
                  <a:lnTo>
                    <a:pt x="4006" y="2448"/>
                  </a:lnTo>
                  <a:lnTo>
                    <a:pt x="4004" y="2444"/>
                  </a:lnTo>
                  <a:lnTo>
                    <a:pt x="4002" y="2434"/>
                  </a:lnTo>
                  <a:lnTo>
                    <a:pt x="4002" y="2426"/>
                  </a:lnTo>
                  <a:lnTo>
                    <a:pt x="3998" y="2426"/>
                  </a:lnTo>
                  <a:lnTo>
                    <a:pt x="3992" y="2426"/>
                  </a:lnTo>
                  <a:lnTo>
                    <a:pt x="3990" y="2422"/>
                  </a:lnTo>
                  <a:lnTo>
                    <a:pt x="3986" y="2420"/>
                  </a:lnTo>
                  <a:lnTo>
                    <a:pt x="3984" y="2410"/>
                  </a:lnTo>
                  <a:lnTo>
                    <a:pt x="3980" y="2400"/>
                  </a:lnTo>
                  <a:lnTo>
                    <a:pt x="3976" y="2394"/>
                  </a:lnTo>
                  <a:lnTo>
                    <a:pt x="3972" y="2390"/>
                  </a:lnTo>
                  <a:lnTo>
                    <a:pt x="3966" y="2382"/>
                  </a:lnTo>
                  <a:lnTo>
                    <a:pt x="3964" y="2372"/>
                  </a:lnTo>
                  <a:lnTo>
                    <a:pt x="3964" y="2362"/>
                  </a:lnTo>
                  <a:lnTo>
                    <a:pt x="3964" y="2350"/>
                  </a:lnTo>
                  <a:lnTo>
                    <a:pt x="3970" y="2328"/>
                  </a:lnTo>
                  <a:lnTo>
                    <a:pt x="3978" y="2314"/>
                  </a:lnTo>
                  <a:lnTo>
                    <a:pt x="3980" y="2308"/>
                  </a:lnTo>
                  <a:lnTo>
                    <a:pt x="3982" y="2304"/>
                  </a:lnTo>
                  <a:lnTo>
                    <a:pt x="3982" y="2294"/>
                  </a:lnTo>
                  <a:lnTo>
                    <a:pt x="3984" y="2290"/>
                  </a:lnTo>
                  <a:lnTo>
                    <a:pt x="3984" y="2288"/>
                  </a:lnTo>
                  <a:lnTo>
                    <a:pt x="3988" y="2284"/>
                  </a:lnTo>
                  <a:lnTo>
                    <a:pt x="3994" y="2282"/>
                  </a:lnTo>
                  <a:lnTo>
                    <a:pt x="4004" y="2280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6" y="2294"/>
                  </a:lnTo>
                  <a:lnTo>
                    <a:pt x="4048" y="2314"/>
                  </a:lnTo>
                  <a:lnTo>
                    <a:pt x="4052" y="2316"/>
                  </a:lnTo>
                  <a:lnTo>
                    <a:pt x="4052" y="2312"/>
                  </a:lnTo>
                  <a:lnTo>
                    <a:pt x="4048" y="2302"/>
                  </a:lnTo>
                  <a:lnTo>
                    <a:pt x="4040" y="2294"/>
                  </a:lnTo>
                  <a:lnTo>
                    <a:pt x="4034" y="2282"/>
                  </a:lnTo>
                  <a:lnTo>
                    <a:pt x="4032" y="2276"/>
                  </a:lnTo>
                  <a:lnTo>
                    <a:pt x="4030" y="2268"/>
                  </a:lnTo>
                  <a:lnTo>
                    <a:pt x="4026" y="2252"/>
                  </a:lnTo>
                  <a:lnTo>
                    <a:pt x="4020" y="2234"/>
                  </a:lnTo>
                  <a:lnTo>
                    <a:pt x="4012" y="2214"/>
                  </a:lnTo>
                  <a:lnTo>
                    <a:pt x="4010" y="2206"/>
                  </a:lnTo>
                  <a:lnTo>
                    <a:pt x="4010" y="2196"/>
                  </a:lnTo>
                  <a:lnTo>
                    <a:pt x="4008" y="2180"/>
                  </a:lnTo>
                  <a:lnTo>
                    <a:pt x="4004" y="2168"/>
                  </a:lnTo>
                  <a:lnTo>
                    <a:pt x="4002" y="2158"/>
                  </a:lnTo>
                  <a:lnTo>
                    <a:pt x="3998" y="2148"/>
                  </a:lnTo>
                  <a:lnTo>
                    <a:pt x="3998" y="2144"/>
                  </a:lnTo>
                  <a:lnTo>
                    <a:pt x="3994" y="2146"/>
                  </a:lnTo>
                  <a:lnTo>
                    <a:pt x="3992" y="2146"/>
                  </a:lnTo>
                  <a:lnTo>
                    <a:pt x="3992" y="2138"/>
                  </a:lnTo>
                  <a:lnTo>
                    <a:pt x="3994" y="2128"/>
                  </a:lnTo>
                  <a:lnTo>
                    <a:pt x="3992" y="2128"/>
                  </a:lnTo>
                  <a:lnTo>
                    <a:pt x="3990" y="2128"/>
                  </a:lnTo>
                  <a:lnTo>
                    <a:pt x="3988" y="2124"/>
                  </a:lnTo>
                  <a:lnTo>
                    <a:pt x="3988" y="2116"/>
                  </a:lnTo>
                  <a:lnTo>
                    <a:pt x="3988" y="2108"/>
                  </a:lnTo>
                  <a:lnTo>
                    <a:pt x="3992" y="2096"/>
                  </a:lnTo>
                  <a:lnTo>
                    <a:pt x="3994" y="2090"/>
                  </a:lnTo>
                  <a:lnTo>
                    <a:pt x="3996" y="2082"/>
                  </a:lnTo>
                  <a:lnTo>
                    <a:pt x="3996" y="2072"/>
                  </a:lnTo>
                  <a:lnTo>
                    <a:pt x="3994" y="2058"/>
                  </a:lnTo>
                  <a:lnTo>
                    <a:pt x="3990" y="2042"/>
                  </a:lnTo>
                  <a:lnTo>
                    <a:pt x="3988" y="2036"/>
                  </a:lnTo>
                  <a:lnTo>
                    <a:pt x="3986" y="2034"/>
                  </a:lnTo>
                  <a:lnTo>
                    <a:pt x="3988" y="2032"/>
                  </a:lnTo>
                  <a:lnTo>
                    <a:pt x="3988" y="2028"/>
                  </a:lnTo>
                  <a:lnTo>
                    <a:pt x="3986" y="2026"/>
                  </a:lnTo>
                  <a:lnTo>
                    <a:pt x="3984" y="2026"/>
                  </a:lnTo>
                  <a:lnTo>
                    <a:pt x="3982" y="2022"/>
                  </a:lnTo>
                  <a:lnTo>
                    <a:pt x="3982" y="2014"/>
                  </a:lnTo>
                  <a:lnTo>
                    <a:pt x="3978" y="2010"/>
                  </a:lnTo>
                  <a:lnTo>
                    <a:pt x="3978" y="2006"/>
                  </a:lnTo>
                  <a:lnTo>
                    <a:pt x="3980" y="2000"/>
                  </a:lnTo>
                  <a:lnTo>
                    <a:pt x="3984" y="1994"/>
                  </a:lnTo>
                  <a:lnTo>
                    <a:pt x="3982" y="1988"/>
                  </a:lnTo>
                  <a:lnTo>
                    <a:pt x="3978" y="1984"/>
                  </a:lnTo>
                  <a:lnTo>
                    <a:pt x="3974" y="1976"/>
                  </a:lnTo>
                  <a:lnTo>
                    <a:pt x="3970" y="1972"/>
                  </a:lnTo>
                  <a:lnTo>
                    <a:pt x="3970" y="1974"/>
                  </a:lnTo>
                  <a:lnTo>
                    <a:pt x="3966" y="1978"/>
                  </a:lnTo>
                  <a:lnTo>
                    <a:pt x="3962" y="1980"/>
                  </a:lnTo>
                  <a:lnTo>
                    <a:pt x="3958" y="1982"/>
                  </a:lnTo>
                  <a:lnTo>
                    <a:pt x="3954" y="1982"/>
                  </a:lnTo>
                  <a:lnTo>
                    <a:pt x="3954" y="1984"/>
                  </a:lnTo>
                  <a:lnTo>
                    <a:pt x="3960" y="1990"/>
                  </a:lnTo>
                  <a:lnTo>
                    <a:pt x="3966" y="1998"/>
                  </a:lnTo>
                  <a:lnTo>
                    <a:pt x="3968" y="2004"/>
                  </a:lnTo>
                  <a:lnTo>
                    <a:pt x="3970" y="2008"/>
                  </a:lnTo>
                  <a:lnTo>
                    <a:pt x="3966" y="2016"/>
                  </a:lnTo>
                  <a:lnTo>
                    <a:pt x="3964" y="2018"/>
                  </a:lnTo>
                  <a:lnTo>
                    <a:pt x="3962" y="2018"/>
                  </a:lnTo>
                  <a:lnTo>
                    <a:pt x="3960" y="2020"/>
                  </a:lnTo>
                  <a:lnTo>
                    <a:pt x="3960" y="2024"/>
                  </a:lnTo>
                  <a:lnTo>
                    <a:pt x="3962" y="2024"/>
                  </a:lnTo>
                  <a:lnTo>
                    <a:pt x="3964" y="2026"/>
                  </a:lnTo>
                  <a:lnTo>
                    <a:pt x="3966" y="2028"/>
                  </a:lnTo>
                  <a:lnTo>
                    <a:pt x="3966" y="2030"/>
                  </a:lnTo>
                  <a:lnTo>
                    <a:pt x="3962" y="2034"/>
                  </a:lnTo>
                  <a:lnTo>
                    <a:pt x="3958" y="2038"/>
                  </a:lnTo>
                  <a:lnTo>
                    <a:pt x="3954" y="2038"/>
                  </a:lnTo>
                  <a:lnTo>
                    <a:pt x="3954" y="2036"/>
                  </a:lnTo>
                  <a:lnTo>
                    <a:pt x="3952" y="2034"/>
                  </a:lnTo>
                  <a:lnTo>
                    <a:pt x="3952" y="2030"/>
                  </a:lnTo>
                  <a:lnTo>
                    <a:pt x="3950" y="2028"/>
                  </a:lnTo>
                  <a:lnTo>
                    <a:pt x="3946" y="2030"/>
                  </a:lnTo>
                  <a:lnTo>
                    <a:pt x="3940" y="2032"/>
                  </a:lnTo>
                  <a:lnTo>
                    <a:pt x="3936" y="2034"/>
                  </a:lnTo>
                  <a:lnTo>
                    <a:pt x="3932" y="2036"/>
                  </a:lnTo>
                  <a:lnTo>
                    <a:pt x="3934" y="2044"/>
                  </a:lnTo>
                  <a:lnTo>
                    <a:pt x="3936" y="2054"/>
                  </a:lnTo>
                  <a:lnTo>
                    <a:pt x="3938" y="2066"/>
                  </a:lnTo>
                  <a:lnTo>
                    <a:pt x="3936" y="2078"/>
                  </a:lnTo>
                  <a:lnTo>
                    <a:pt x="3930" y="2090"/>
                  </a:lnTo>
                  <a:lnTo>
                    <a:pt x="3928" y="2098"/>
                  </a:lnTo>
                  <a:lnTo>
                    <a:pt x="3928" y="2104"/>
                  </a:lnTo>
                  <a:lnTo>
                    <a:pt x="3930" y="2108"/>
                  </a:lnTo>
                  <a:lnTo>
                    <a:pt x="3928" y="2118"/>
                  </a:lnTo>
                  <a:lnTo>
                    <a:pt x="3926" y="2124"/>
                  </a:lnTo>
                  <a:lnTo>
                    <a:pt x="3928" y="2128"/>
                  </a:lnTo>
                  <a:lnTo>
                    <a:pt x="3930" y="2132"/>
                  </a:lnTo>
                  <a:lnTo>
                    <a:pt x="3934" y="2134"/>
                  </a:lnTo>
                  <a:lnTo>
                    <a:pt x="3934" y="2136"/>
                  </a:lnTo>
                  <a:lnTo>
                    <a:pt x="3932" y="2136"/>
                  </a:lnTo>
                  <a:close/>
                  <a:moveTo>
                    <a:pt x="4070" y="2610"/>
                  </a:moveTo>
                  <a:lnTo>
                    <a:pt x="4070" y="2610"/>
                  </a:lnTo>
                  <a:lnTo>
                    <a:pt x="4068" y="2602"/>
                  </a:lnTo>
                  <a:lnTo>
                    <a:pt x="4068" y="2594"/>
                  </a:lnTo>
                  <a:lnTo>
                    <a:pt x="4070" y="2586"/>
                  </a:lnTo>
                  <a:lnTo>
                    <a:pt x="4072" y="2580"/>
                  </a:lnTo>
                  <a:lnTo>
                    <a:pt x="4078" y="2572"/>
                  </a:lnTo>
                  <a:lnTo>
                    <a:pt x="4078" y="2570"/>
                  </a:lnTo>
                  <a:lnTo>
                    <a:pt x="4076" y="2568"/>
                  </a:lnTo>
                  <a:lnTo>
                    <a:pt x="4072" y="2570"/>
                  </a:lnTo>
                  <a:lnTo>
                    <a:pt x="4068" y="2572"/>
                  </a:lnTo>
                  <a:lnTo>
                    <a:pt x="4062" y="2582"/>
                  </a:lnTo>
                  <a:lnTo>
                    <a:pt x="4054" y="2590"/>
                  </a:lnTo>
                  <a:lnTo>
                    <a:pt x="4050" y="2592"/>
                  </a:lnTo>
                  <a:lnTo>
                    <a:pt x="4044" y="2592"/>
                  </a:lnTo>
                  <a:lnTo>
                    <a:pt x="4040" y="2592"/>
                  </a:lnTo>
                  <a:lnTo>
                    <a:pt x="4038" y="2590"/>
                  </a:lnTo>
                  <a:lnTo>
                    <a:pt x="4036" y="2586"/>
                  </a:lnTo>
                  <a:lnTo>
                    <a:pt x="4034" y="2582"/>
                  </a:lnTo>
                  <a:lnTo>
                    <a:pt x="4032" y="2580"/>
                  </a:lnTo>
                  <a:lnTo>
                    <a:pt x="4028" y="2578"/>
                  </a:lnTo>
                  <a:lnTo>
                    <a:pt x="4022" y="2578"/>
                  </a:lnTo>
                  <a:lnTo>
                    <a:pt x="4012" y="2576"/>
                  </a:lnTo>
                  <a:lnTo>
                    <a:pt x="4004" y="2570"/>
                  </a:lnTo>
                  <a:lnTo>
                    <a:pt x="3994" y="2562"/>
                  </a:lnTo>
                  <a:lnTo>
                    <a:pt x="3984" y="2554"/>
                  </a:lnTo>
                  <a:lnTo>
                    <a:pt x="3966" y="2534"/>
                  </a:lnTo>
                  <a:lnTo>
                    <a:pt x="3952" y="2516"/>
                  </a:lnTo>
                  <a:lnTo>
                    <a:pt x="3946" y="2510"/>
                  </a:lnTo>
                  <a:lnTo>
                    <a:pt x="3940" y="2506"/>
                  </a:lnTo>
                  <a:lnTo>
                    <a:pt x="3934" y="2504"/>
                  </a:lnTo>
                  <a:lnTo>
                    <a:pt x="3930" y="2504"/>
                  </a:lnTo>
                  <a:lnTo>
                    <a:pt x="3926" y="2508"/>
                  </a:lnTo>
                  <a:lnTo>
                    <a:pt x="3924" y="2512"/>
                  </a:lnTo>
                  <a:lnTo>
                    <a:pt x="3924" y="2520"/>
                  </a:lnTo>
                  <a:lnTo>
                    <a:pt x="3928" y="2530"/>
                  </a:lnTo>
                  <a:lnTo>
                    <a:pt x="3932" y="2540"/>
                  </a:lnTo>
                  <a:lnTo>
                    <a:pt x="3932" y="2546"/>
                  </a:lnTo>
                  <a:lnTo>
                    <a:pt x="3932" y="2552"/>
                  </a:lnTo>
                  <a:lnTo>
                    <a:pt x="3930" y="2556"/>
                  </a:lnTo>
                  <a:lnTo>
                    <a:pt x="3928" y="2564"/>
                  </a:lnTo>
                  <a:lnTo>
                    <a:pt x="3926" y="2568"/>
                  </a:lnTo>
                  <a:lnTo>
                    <a:pt x="3928" y="2574"/>
                  </a:lnTo>
                  <a:lnTo>
                    <a:pt x="3928" y="2580"/>
                  </a:lnTo>
                  <a:lnTo>
                    <a:pt x="3928" y="2584"/>
                  </a:lnTo>
                  <a:lnTo>
                    <a:pt x="3922" y="2594"/>
                  </a:lnTo>
                  <a:lnTo>
                    <a:pt x="3918" y="2602"/>
                  </a:lnTo>
                  <a:lnTo>
                    <a:pt x="3916" y="2606"/>
                  </a:lnTo>
                  <a:lnTo>
                    <a:pt x="3916" y="2610"/>
                  </a:lnTo>
                  <a:lnTo>
                    <a:pt x="3918" y="2620"/>
                  </a:lnTo>
                  <a:lnTo>
                    <a:pt x="3918" y="2630"/>
                  </a:lnTo>
                  <a:lnTo>
                    <a:pt x="3914" y="2634"/>
                  </a:lnTo>
                  <a:lnTo>
                    <a:pt x="3912" y="2636"/>
                  </a:lnTo>
                  <a:lnTo>
                    <a:pt x="3906" y="2636"/>
                  </a:lnTo>
                  <a:lnTo>
                    <a:pt x="3900" y="2632"/>
                  </a:lnTo>
                  <a:lnTo>
                    <a:pt x="3886" y="2626"/>
                  </a:lnTo>
                  <a:lnTo>
                    <a:pt x="3876" y="2624"/>
                  </a:lnTo>
                  <a:lnTo>
                    <a:pt x="3874" y="2624"/>
                  </a:lnTo>
                  <a:lnTo>
                    <a:pt x="3872" y="2628"/>
                  </a:lnTo>
                  <a:lnTo>
                    <a:pt x="3874" y="2630"/>
                  </a:lnTo>
                  <a:lnTo>
                    <a:pt x="3878" y="2636"/>
                  </a:lnTo>
                  <a:lnTo>
                    <a:pt x="3880" y="2640"/>
                  </a:lnTo>
                  <a:lnTo>
                    <a:pt x="3880" y="2642"/>
                  </a:lnTo>
                  <a:lnTo>
                    <a:pt x="3878" y="2648"/>
                  </a:lnTo>
                  <a:lnTo>
                    <a:pt x="3872" y="2656"/>
                  </a:lnTo>
                  <a:lnTo>
                    <a:pt x="3866" y="2662"/>
                  </a:lnTo>
                  <a:lnTo>
                    <a:pt x="3858" y="2670"/>
                  </a:lnTo>
                  <a:lnTo>
                    <a:pt x="3854" y="2676"/>
                  </a:lnTo>
                  <a:lnTo>
                    <a:pt x="3852" y="2680"/>
                  </a:lnTo>
                  <a:lnTo>
                    <a:pt x="3852" y="2682"/>
                  </a:lnTo>
                  <a:lnTo>
                    <a:pt x="3854" y="2686"/>
                  </a:lnTo>
                  <a:lnTo>
                    <a:pt x="3856" y="2690"/>
                  </a:lnTo>
                  <a:lnTo>
                    <a:pt x="3862" y="2694"/>
                  </a:lnTo>
                  <a:lnTo>
                    <a:pt x="3866" y="2700"/>
                  </a:lnTo>
                  <a:lnTo>
                    <a:pt x="3866" y="2706"/>
                  </a:lnTo>
                  <a:lnTo>
                    <a:pt x="3864" y="2710"/>
                  </a:lnTo>
                  <a:lnTo>
                    <a:pt x="3860" y="2722"/>
                  </a:lnTo>
                  <a:lnTo>
                    <a:pt x="3862" y="2726"/>
                  </a:lnTo>
                  <a:lnTo>
                    <a:pt x="3864" y="2732"/>
                  </a:lnTo>
                  <a:lnTo>
                    <a:pt x="3866" y="2734"/>
                  </a:lnTo>
                  <a:lnTo>
                    <a:pt x="3870" y="2736"/>
                  </a:lnTo>
                  <a:lnTo>
                    <a:pt x="3874" y="2732"/>
                  </a:lnTo>
                  <a:lnTo>
                    <a:pt x="3880" y="2720"/>
                  </a:lnTo>
                  <a:lnTo>
                    <a:pt x="3884" y="2712"/>
                  </a:lnTo>
                  <a:lnTo>
                    <a:pt x="3888" y="2710"/>
                  </a:lnTo>
                  <a:lnTo>
                    <a:pt x="3890" y="2712"/>
                  </a:lnTo>
                  <a:lnTo>
                    <a:pt x="3896" y="2714"/>
                  </a:lnTo>
                  <a:lnTo>
                    <a:pt x="3900" y="2714"/>
                  </a:lnTo>
                  <a:lnTo>
                    <a:pt x="3908" y="2712"/>
                  </a:lnTo>
                  <a:lnTo>
                    <a:pt x="3912" y="2710"/>
                  </a:lnTo>
                  <a:lnTo>
                    <a:pt x="3910" y="2706"/>
                  </a:lnTo>
                  <a:lnTo>
                    <a:pt x="3894" y="2698"/>
                  </a:lnTo>
                  <a:lnTo>
                    <a:pt x="3886" y="2692"/>
                  </a:lnTo>
                  <a:lnTo>
                    <a:pt x="3878" y="2686"/>
                  </a:lnTo>
                  <a:lnTo>
                    <a:pt x="3874" y="2680"/>
                  </a:lnTo>
                  <a:lnTo>
                    <a:pt x="3874" y="2676"/>
                  </a:lnTo>
                  <a:lnTo>
                    <a:pt x="3876" y="2672"/>
                  </a:lnTo>
                  <a:lnTo>
                    <a:pt x="3882" y="2666"/>
                  </a:lnTo>
                  <a:lnTo>
                    <a:pt x="3886" y="2666"/>
                  </a:lnTo>
                  <a:lnTo>
                    <a:pt x="3888" y="2668"/>
                  </a:lnTo>
                  <a:lnTo>
                    <a:pt x="3892" y="2670"/>
                  </a:lnTo>
                  <a:lnTo>
                    <a:pt x="3896" y="2674"/>
                  </a:lnTo>
                  <a:lnTo>
                    <a:pt x="3900" y="2676"/>
                  </a:lnTo>
                  <a:lnTo>
                    <a:pt x="3906" y="2676"/>
                  </a:lnTo>
                  <a:lnTo>
                    <a:pt x="3912" y="2674"/>
                  </a:lnTo>
                  <a:lnTo>
                    <a:pt x="3918" y="2670"/>
                  </a:lnTo>
                  <a:lnTo>
                    <a:pt x="3924" y="2668"/>
                  </a:lnTo>
                  <a:lnTo>
                    <a:pt x="3930" y="2666"/>
                  </a:lnTo>
                  <a:lnTo>
                    <a:pt x="3936" y="2668"/>
                  </a:lnTo>
                  <a:lnTo>
                    <a:pt x="3954" y="2678"/>
                  </a:lnTo>
                  <a:lnTo>
                    <a:pt x="3984" y="2698"/>
                  </a:lnTo>
                  <a:lnTo>
                    <a:pt x="3992" y="2700"/>
                  </a:lnTo>
                  <a:lnTo>
                    <a:pt x="3996" y="2698"/>
                  </a:lnTo>
                  <a:lnTo>
                    <a:pt x="4000" y="2692"/>
                  </a:lnTo>
                  <a:lnTo>
                    <a:pt x="4002" y="2684"/>
                  </a:lnTo>
                  <a:lnTo>
                    <a:pt x="4008" y="2664"/>
                  </a:lnTo>
                  <a:lnTo>
                    <a:pt x="4012" y="2656"/>
                  </a:lnTo>
                  <a:lnTo>
                    <a:pt x="4018" y="2652"/>
                  </a:lnTo>
                  <a:lnTo>
                    <a:pt x="4030" y="2648"/>
                  </a:lnTo>
                  <a:lnTo>
                    <a:pt x="4042" y="2646"/>
                  </a:lnTo>
                  <a:lnTo>
                    <a:pt x="4054" y="2644"/>
                  </a:lnTo>
                  <a:lnTo>
                    <a:pt x="4068" y="2640"/>
                  </a:lnTo>
                  <a:lnTo>
                    <a:pt x="4090" y="2630"/>
                  </a:lnTo>
                  <a:lnTo>
                    <a:pt x="4096" y="2626"/>
                  </a:lnTo>
                  <a:lnTo>
                    <a:pt x="4096" y="2624"/>
                  </a:lnTo>
                  <a:lnTo>
                    <a:pt x="4094" y="2622"/>
                  </a:lnTo>
                  <a:lnTo>
                    <a:pt x="4092" y="2620"/>
                  </a:lnTo>
                  <a:lnTo>
                    <a:pt x="4090" y="2620"/>
                  </a:lnTo>
                  <a:lnTo>
                    <a:pt x="4084" y="2622"/>
                  </a:lnTo>
                  <a:lnTo>
                    <a:pt x="4082" y="2622"/>
                  </a:lnTo>
                  <a:lnTo>
                    <a:pt x="4078" y="2622"/>
                  </a:lnTo>
                  <a:lnTo>
                    <a:pt x="4074" y="2618"/>
                  </a:lnTo>
                  <a:lnTo>
                    <a:pt x="4070" y="2610"/>
                  </a:lnTo>
                  <a:close/>
                  <a:moveTo>
                    <a:pt x="3802" y="2924"/>
                  </a:moveTo>
                  <a:lnTo>
                    <a:pt x="3802" y="2924"/>
                  </a:lnTo>
                  <a:lnTo>
                    <a:pt x="3806" y="2916"/>
                  </a:lnTo>
                  <a:lnTo>
                    <a:pt x="3806" y="2908"/>
                  </a:lnTo>
                  <a:lnTo>
                    <a:pt x="3804" y="2906"/>
                  </a:lnTo>
                  <a:lnTo>
                    <a:pt x="3802" y="2904"/>
                  </a:lnTo>
                  <a:lnTo>
                    <a:pt x="3800" y="2906"/>
                  </a:lnTo>
                  <a:lnTo>
                    <a:pt x="3796" y="2910"/>
                  </a:lnTo>
                  <a:lnTo>
                    <a:pt x="3792" y="2914"/>
                  </a:lnTo>
                  <a:lnTo>
                    <a:pt x="3792" y="2918"/>
                  </a:lnTo>
                  <a:lnTo>
                    <a:pt x="3792" y="2922"/>
                  </a:lnTo>
                  <a:lnTo>
                    <a:pt x="3792" y="2924"/>
                  </a:lnTo>
                  <a:lnTo>
                    <a:pt x="3794" y="2926"/>
                  </a:lnTo>
                  <a:lnTo>
                    <a:pt x="3798" y="2928"/>
                  </a:lnTo>
                  <a:lnTo>
                    <a:pt x="3800" y="2926"/>
                  </a:lnTo>
                  <a:lnTo>
                    <a:pt x="3802" y="2924"/>
                  </a:lnTo>
                  <a:close/>
                  <a:moveTo>
                    <a:pt x="3594" y="3018"/>
                  </a:moveTo>
                  <a:lnTo>
                    <a:pt x="3594" y="3018"/>
                  </a:lnTo>
                  <a:lnTo>
                    <a:pt x="3596" y="3016"/>
                  </a:lnTo>
                  <a:lnTo>
                    <a:pt x="3596" y="3014"/>
                  </a:lnTo>
                  <a:lnTo>
                    <a:pt x="3594" y="3010"/>
                  </a:lnTo>
                  <a:lnTo>
                    <a:pt x="3592" y="3010"/>
                  </a:lnTo>
                  <a:lnTo>
                    <a:pt x="3590" y="3012"/>
                  </a:lnTo>
                  <a:lnTo>
                    <a:pt x="3588" y="3014"/>
                  </a:lnTo>
                  <a:lnTo>
                    <a:pt x="3590" y="3018"/>
                  </a:lnTo>
                  <a:lnTo>
                    <a:pt x="3594" y="3018"/>
                  </a:lnTo>
                  <a:close/>
                  <a:moveTo>
                    <a:pt x="3048" y="4040"/>
                  </a:moveTo>
                  <a:lnTo>
                    <a:pt x="3048" y="4040"/>
                  </a:lnTo>
                  <a:lnTo>
                    <a:pt x="3046" y="4042"/>
                  </a:lnTo>
                  <a:lnTo>
                    <a:pt x="3044" y="4044"/>
                  </a:lnTo>
                  <a:lnTo>
                    <a:pt x="3042" y="4050"/>
                  </a:lnTo>
                  <a:lnTo>
                    <a:pt x="3044" y="4056"/>
                  </a:lnTo>
                  <a:lnTo>
                    <a:pt x="3046" y="4062"/>
                  </a:lnTo>
                  <a:lnTo>
                    <a:pt x="3048" y="4064"/>
                  </a:lnTo>
                  <a:lnTo>
                    <a:pt x="3050" y="4068"/>
                  </a:lnTo>
                  <a:lnTo>
                    <a:pt x="3052" y="4098"/>
                  </a:lnTo>
                  <a:lnTo>
                    <a:pt x="3054" y="4116"/>
                  </a:lnTo>
                  <a:lnTo>
                    <a:pt x="3056" y="4120"/>
                  </a:lnTo>
                  <a:lnTo>
                    <a:pt x="3058" y="4120"/>
                  </a:lnTo>
                  <a:lnTo>
                    <a:pt x="3062" y="4120"/>
                  </a:lnTo>
                  <a:lnTo>
                    <a:pt x="3064" y="4122"/>
                  </a:lnTo>
                  <a:lnTo>
                    <a:pt x="3066" y="4126"/>
                  </a:lnTo>
                  <a:lnTo>
                    <a:pt x="3070" y="4134"/>
                  </a:lnTo>
                  <a:lnTo>
                    <a:pt x="3074" y="4138"/>
                  </a:lnTo>
                  <a:lnTo>
                    <a:pt x="3076" y="4134"/>
                  </a:lnTo>
                  <a:lnTo>
                    <a:pt x="3076" y="4128"/>
                  </a:lnTo>
                  <a:lnTo>
                    <a:pt x="3078" y="4120"/>
                  </a:lnTo>
                  <a:lnTo>
                    <a:pt x="3078" y="4118"/>
                  </a:lnTo>
                  <a:lnTo>
                    <a:pt x="3082" y="4118"/>
                  </a:lnTo>
                  <a:lnTo>
                    <a:pt x="3086" y="4122"/>
                  </a:lnTo>
                  <a:lnTo>
                    <a:pt x="3090" y="4126"/>
                  </a:lnTo>
                  <a:lnTo>
                    <a:pt x="3092" y="4130"/>
                  </a:lnTo>
                  <a:lnTo>
                    <a:pt x="3090" y="4134"/>
                  </a:lnTo>
                  <a:lnTo>
                    <a:pt x="3086" y="4140"/>
                  </a:lnTo>
                  <a:lnTo>
                    <a:pt x="3080" y="4146"/>
                  </a:lnTo>
                  <a:lnTo>
                    <a:pt x="3076" y="4156"/>
                  </a:lnTo>
                  <a:lnTo>
                    <a:pt x="3078" y="4164"/>
                  </a:lnTo>
                  <a:lnTo>
                    <a:pt x="3078" y="4166"/>
                  </a:lnTo>
                  <a:lnTo>
                    <a:pt x="3082" y="4166"/>
                  </a:lnTo>
                  <a:lnTo>
                    <a:pt x="3084" y="4164"/>
                  </a:lnTo>
                  <a:lnTo>
                    <a:pt x="3088" y="4166"/>
                  </a:lnTo>
                  <a:lnTo>
                    <a:pt x="3092" y="4170"/>
                  </a:lnTo>
                  <a:lnTo>
                    <a:pt x="3096" y="4174"/>
                  </a:lnTo>
                  <a:lnTo>
                    <a:pt x="3100" y="4176"/>
                  </a:lnTo>
                  <a:lnTo>
                    <a:pt x="3104" y="4178"/>
                  </a:lnTo>
                  <a:lnTo>
                    <a:pt x="3112" y="4176"/>
                  </a:lnTo>
                  <a:lnTo>
                    <a:pt x="3112" y="4174"/>
                  </a:lnTo>
                  <a:lnTo>
                    <a:pt x="3112" y="4168"/>
                  </a:lnTo>
                  <a:lnTo>
                    <a:pt x="3112" y="4166"/>
                  </a:lnTo>
                  <a:lnTo>
                    <a:pt x="3116" y="4164"/>
                  </a:lnTo>
                  <a:lnTo>
                    <a:pt x="3120" y="4160"/>
                  </a:lnTo>
                  <a:lnTo>
                    <a:pt x="3124" y="4160"/>
                  </a:lnTo>
                  <a:lnTo>
                    <a:pt x="3138" y="4172"/>
                  </a:lnTo>
                  <a:lnTo>
                    <a:pt x="3144" y="4176"/>
                  </a:lnTo>
                  <a:lnTo>
                    <a:pt x="3148" y="4180"/>
                  </a:lnTo>
                  <a:lnTo>
                    <a:pt x="3152" y="4188"/>
                  </a:lnTo>
                  <a:lnTo>
                    <a:pt x="3154" y="4196"/>
                  </a:lnTo>
                  <a:lnTo>
                    <a:pt x="3156" y="4198"/>
                  </a:lnTo>
                  <a:lnTo>
                    <a:pt x="3158" y="4198"/>
                  </a:lnTo>
                  <a:lnTo>
                    <a:pt x="3162" y="4198"/>
                  </a:lnTo>
                  <a:lnTo>
                    <a:pt x="3162" y="4196"/>
                  </a:lnTo>
                  <a:lnTo>
                    <a:pt x="3162" y="4188"/>
                  </a:lnTo>
                  <a:lnTo>
                    <a:pt x="3154" y="4170"/>
                  </a:lnTo>
                  <a:lnTo>
                    <a:pt x="3154" y="4166"/>
                  </a:lnTo>
                  <a:lnTo>
                    <a:pt x="3154" y="4164"/>
                  </a:lnTo>
                  <a:lnTo>
                    <a:pt x="3160" y="4164"/>
                  </a:lnTo>
                  <a:lnTo>
                    <a:pt x="3164" y="4168"/>
                  </a:lnTo>
                  <a:lnTo>
                    <a:pt x="3168" y="4174"/>
                  </a:lnTo>
                  <a:lnTo>
                    <a:pt x="3172" y="4180"/>
                  </a:lnTo>
                  <a:lnTo>
                    <a:pt x="3176" y="4182"/>
                  </a:lnTo>
                  <a:lnTo>
                    <a:pt x="3180" y="4186"/>
                  </a:lnTo>
                  <a:lnTo>
                    <a:pt x="3184" y="4192"/>
                  </a:lnTo>
                  <a:lnTo>
                    <a:pt x="3186" y="4198"/>
                  </a:lnTo>
                  <a:lnTo>
                    <a:pt x="3186" y="4202"/>
                  </a:lnTo>
                  <a:lnTo>
                    <a:pt x="3188" y="4206"/>
                  </a:lnTo>
                  <a:lnTo>
                    <a:pt x="3196" y="4210"/>
                  </a:lnTo>
                  <a:lnTo>
                    <a:pt x="3206" y="4216"/>
                  </a:lnTo>
                  <a:lnTo>
                    <a:pt x="3210" y="4218"/>
                  </a:lnTo>
                  <a:lnTo>
                    <a:pt x="3212" y="4222"/>
                  </a:lnTo>
                  <a:lnTo>
                    <a:pt x="3212" y="4228"/>
                  </a:lnTo>
                  <a:lnTo>
                    <a:pt x="3216" y="4232"/>
                  </a:lnTo>
                  <a:lnTo>
                    <a:pt x="3218" y="4230"/>
                  </a:lnTo>
                  <a:lnTo>
                    <a:pt x="3220" y="4224"/>
                  </a:lnTo>
                  <a:lnTo>
                    <a:pt x="3222" y="4216"/>
                  </a:lnTo>
                  <a:lnTo>
                    <a:pt x="3222" y="4208"/>
                  </a:lnTo>
                  <a:lnTo>
                    <a:pt x="3220" y="4204"/>
                  </a:lnTo>
                  <a:lnTo>
                    <a:pt x="3218" y="4202"/>
                  </a:lnTo>
                  <a:lnTo>
                    <a:pt x="3210" y="4200"/>
                  </a:lnTo>
                  <a:lnTo>
                    <a:pt x="3206" y="4200"/>
                  </a:lnTo>
                  <a:lnTo>
                    <a:pt x="3206" y="4196"/>
                  </a:lnTo>
                  <a:lnTo>
                    <a:pt x="3206" y="4194"/>
                  </a:lnTo>
                  <a:lnTo>
                    <a:pt x="3206" y="4192"/>
                  </a:lnTo>
                  <a:lnTo>
                    <a:pt x="3204" y="4186"/>
                  </a:lnTo>
                  <a:lnTo>
                    <a:pt x="3198" y="4182"/>
                  </a:lnTo>
                  <a:lnTo>
                    <a:pt x="3196" y="4178"/>
                  </a:lnTo>
                  <a:lnTo>
                    <a:pt x="3194" y="4174"/>
                  </a:lnTo>
                  <a:lnTo>
                    <a:pt x="3196" y="4174"/>
                  </a:lnTo>
                  <a:lnTo>
                    <a:pt x="3198" y="4174"/>
                  </a:lnTo>
                  <a:lnTo>
                    <a:pt x="3206" y="4174"/>
                  </a:lnTo>
                  <a:lnTo>
                    <a:pt x="3210" y="4172"/>
                  </a:lnTo>
                  <a:lnTo>
                    <a:pt x="3212" y="4172"/>
                  </a:lnTo>
                  <a:lnTo>
                    <a:pt x="3214" y="4168"/>
                  </a:lnTo>
                  <a:lnTo>
                    <a:pt x="3210" y="4164"/>
                  </a:lnTo>
                  <a:lnTo>
                    <a:pt x="3194" y="4156"/>
                  </a:lnTo>
                  <a:lnTo>
                    <a:pt x="3190" y="4154"/>
                  </a:lnTo>
                  <a:lnTo>
                    <a:pt x="3186" y="4156"/>
                  </a:lnTo>
                  <a:lnTo>
                    <a:pt x="3186" y="4158"/>
                  </a:lnTo>
                  <a:lnTo>
                    <a:pt x="3184" y="4162"/>
                  </a:lnTo>
                  <a:lnTo>
                    <a:pt x="3184" y="4170"/>
                  </a:lnTo>
                  <a:lnTo>
                    <a:pt x="3182" y="4172"/>
                  </a:lnTo>
                  <a:lnTo>
                    <a:pt x="3180" y="4170"/>
                  </a:lnTo>
                  <a:lnTo>
                    <a:pt x="3178" y="4168"/>
                  </a:lnTo>
                  <a:lnTo>
                    <a:pt x="3176" y="4164"/>
                  </a:lnTo>
                  <a:lnTo>
                    <a:pt x="3176" y="4158"/>
                  </a:lnTo>
                  <a:lnTo>
                    <a:pt x="3176" y="4154"/>
                  </a:lnTo>
                  <a:lnTo>
                    <a:pt x="3174" y="4150"/>
                  </a:lnTo>
                  <a:lnTo>
                    <a:pt x="3170" y="4146"/>
                  </a:lnTo>
                  <a:lnTo>
                    <a:pt x="3164" y="4142"/>
                  </a:lnTo>
                  <a:lnTo>
                    <a:pt x="3158" y="4140"/>
                  </a:lnTo>
                  <a:lnTo>
                    <a:pt x="3154" y="4140"/>
                  </a:lnTo>
                  <a:lnTo>
                    <a:pt x="3152" y="4140"/>
                  </a:lnTo>
                  <a:lnTo>
                    <a:pt x="3150" y="4142"/>
                  </a:lnTo>
                  <a:lnTo>
                    <a:pt x="3148" y="4146"/>
                  </a:lnTo>
                  <a:lnTo>
                    <a:pt x="3144" y="4146"/>
                  </a:lnTo>
                  <a:lnTo>
                    <a:pt x="3142" y="4146"/>
                  </a:lnTo>
                  <a:lnTo>
                    <a:pt x="3140" y="4148"/>
                  </a:lnTo>
                  <a:lnTo>
                    <a:pt x="3140" y="4152"/>
                  </a:lnTo>
                  <a:lnTo>
                    <a:pt x="3140" y="4158"/>
                  </a:lnTo>
                  <a:lnTo>
                    <a:pt x="3138" y="4158"/>
                  </a:lnTo>
                  <a:lnTo>
                    <a:pt x="3136" y="4158"/>
                  </a:lnTo>
                  <a:lnTo>
                    <a:pt x="3130" y="4156"/>
                  </a:lnTo>
                  <a:lnTo>
                    <a:pt x="3126" y="4152"/>
                  </a:lnTo>
                  <a:lnTo>
                    <a:pt x="3122" y="4142"/>
                  </a:lnTo>
                  <a:lnTo>
                    <a:pt x="3120" y="4132"/>
                  </a:lnTo>
                  <a:lnTo>
                    <a:pt x="3120" y="4124"/>
                  </a:lnTo>
                  <a:lnTo>
                    <a:pt x="3120" y="4120"/>
                  </a:lnTo>
                  <a:lnTo>
                    <a:pt x="3120" y="4116"/>
                  </a:lnTo>
                  <a:lnTo>
                    <a:pt x="3116" y="4104"/>
                  </a:lnTo>
                  <a:lnTo>
                    <a:pt x="3112" y="4092"/>
                  </a:lnTo>
                  <a:lnTo>
                    <a:pt x="3112" y="4086"/>
                  </a:lnTo>
                  <a:lnTo>
                    <a:pt x="3116" y="4082"/>
                  </a:lnTo>
                  <a:lnTo>
                    <a:pt x="3120" y="4072"/>
                  </a:lnTo>
                  <a:lnTo>
                    <a:pt x="3120" y="4066"/>
                  </a:lnTo>
                  <a:lnTo>
                    <a:pt x="3120" y="4062"/>
                  </a:lnTo>
                  <a:lnTo>
                    <a:pt x="3124" y="4054"/>
                  </a:lnTo>
                  <a:lnTo>
                    <a:pt x="3128" y="4052"/>
                  </a:lnTo>
                  <a:lnTo>
                    <a:pt x="3130" y="4050"/>
                  </a:lnTo>
                  <a:lnTo>
                    <a:pt x="3132" y="4052"/>
                  </a:lnTo>
                  <a:lnTo>
                    <a:pt x="3134" y="4052"/>
                  </a:lnTo>
                  <a:lnTo>
                    <a:pt x="3136" y="4056"/>
                  </a:lnTo>
                  <a:lnTo>
                    <a:pt x="3138" y="4056"/>
                  </a:lnTo>
                  <a:lnTo>
                    <a:pt x="3144" y="4046"/>
                  </a:lnTo>
                  <a:lnTo>
                    <a:pt x="3148" y="4034"/>
                  </a:lnTo>
                  <a:lnTo>
                    <a:pt x="3154" y="4008"/>
                  </a:lnTo>
                  <a:lnTo>
                    <a:pt x="3154" y="4006"/>
                  </a:lnTo>
                  <a:lnTo>
                    <a:pt x="3152" y="4002"/>
                  </a:lnTo>
                  <a:lnTo>
                    <a:pt x="3146" y="3992"/>
                  </a:lnTo>
                  <a:lnTo>
                    <a:pt x="3144" y="3986"/>
                  </a:lnTo>
                  <a:lnTo>
                    <a:pt x="3142" y="3978"/>
                  </a:lnTo>
                  <a:lnTo>
                    <a:pt x="3142" y="3970"/>
                  </a:lnTo>
                  <a:lnTo>
                    <a:pt x="3144" y="3960"/>
                  </a:lnTo>
                  <a:lnTo>
                    <a:pt x="3148" y="3944"/>
                  </a:lnTo>
                  <a:lnTo>
                    <a:pt x="3146" y="3936"/>
                  </a:lnTo>
                  <a:lnTo>
                    <a:pt x="3146" y="3934"/>
                  </a:lnTo>
                  <a:lnTo>
                    <a:pt x="3142" y="3934"/>
                  </a:lnTo>
                  <a:lnTo>
                    <a:pt x="3140" y="3936"/>
                  </a:lnTo>
                  <a:lnTo>
                    <a:pt x="3136" y="3942"/>
                  </a:lnTo>
                  <a:lnTo>
                    <a:pt x="3132" y="3946"/>
                  </a:lnTo>
                  <a:lnTo>
                    <a:pt x="3126" y="3944"/>
                  </a:lnTo>
                  <a:lnTo>
                    <a:pt x="3122" y="3942"/>
                  </a:lnTo>
                  <a:lnTo>
                    <a:pt x="3114" y="3938"/>
                  </a:lnTo>
                  <a:lnTo>
                    <a:pt x="3100" y="3930"/>
                  </a:lnTo>
                  <a:lnTo>
                    <a:pt x="3094" y="3926"/>
                  </a:lnTo>
                  <a:lnTo>
                    <a:pt x="3086" y="3928"/>
                  </a:lnTo>
                  <a:lnTo>
                    <a:pt x="3076" y="3932"/>
                  </a:lnTo>
                  <a:lnTo>
                    <a:pt x="3076" y="3936"/>
                  </a:lnTo>
                  <a:lnTo>
                    <a:pt x="3074" y="3938"/>
                  </a:lnTo>
                  <a:lnTo>
                    <a:pt x="3074" y="3946"/>
                  </a:lnTo>
                  <a:lnTo>
                    <a:pt x="3074" y="3952"/>
                  </a:lnTo>
                  <a:lnTo>
                    <a:pt x="3072" y="3958"/>
                  </a:lnTo>
                  <a:lnTo>
                    <a:pt x="3068" y="3966"/>
                  </a:lnTo>
                  <a:lnTo>
                    <a:pt x="3068" y="3972"/>
                  </a:lnTo>
                  <a:lnTo>
                    <a:pt x="3068" y="3986"/>
                  </a:lnTo>
                  <a:lnTo>
                    <a:pt x="3070" y="4000"/>
                  </a:lnTo>
                  <a:lnTo>
                    <a:pt x="3068" y="4010"/>
                  </a:lnTo>
                  <a:lnTo>
                    <a:pt x="3066" y="4018"/>
                  </a:lnTo>
                  <a:lnTo>
                    <a:pt x="3064" y="4026"/>
                  </a:lnTo>
                  <a:lnTo>
                    <a:pt x="3062" y="4032"/>
                  </a:lnTo>
                  <a:lnTo>
                    <a:pt x="3064" y="4038"/>
                  </a:lnTo>
                  <a:lnTo>
                    <a:pt x="3066" y="4040"/>
                  </a:lnTo>
                  <a:lnTo>
                    <a:pt x="3068" y="4046"/>
                  </a:lnTo>
                  <a:lnTo>
                    <a:pt x="3070" y="4050"/>
                  </a:lnTo>
                  <a:lnTo>
                    <a:pt x="3068" y="4054"/>
                  </a:lnTo>
                  <a:lnTo>
                    <a:pt x="3066" y="4058"/>
                  </a:lnTo>
                  <a:lnTo>
                    <a:pt x="3062" y="4060"/>
                  </a:lnTo>
                  <a:lnTo>
                    <a:pt x="3060" y="4056"/>
                  </a:lnTo>
                  <a:lnTo>
                    <a:pt x="3058" y="4054"/>
                  </a:lnTo>
                  <a:lnTo>
                    <a:pt x="3052" y="4044"/>
                  </a:lnTo>
                  <a:lnTo>
                    <a:pt x="3050" y="4042"/>
                  </a:lnTo>
                  <a:lnTo>
                    <a:pt x="3048" y="4040"/>
                  </a:lnTo>
                  <a:close/>
                  <a:moveTo>
                    <a:pt x="3012" y="4336"/>
                  </a:moveTo>
                  <a:lnTo>
                    <a:pt x="3012" y="4336"/>
                  </a:lnTo>
                  <a:lnTo>
                    <a:pt x="2996" y="4362"/>
                  </a:lnTo>
                  <a:lnTo>
                    <a:pt x="2978" y="4384"/>
                  </a:lnTo>
                  <a:lnTo>
                    <a:pt x="2960" y="4400"/>
                  </a:lnTo>
                  <a:lnTo>
                    <a:pt x="2950" y="4412"/>
                  </a:lnTo>
                  <a:lnTo>
                    <a:pt x="2948" y="4420"/>
                  </a:lnTo>
                  <a:lnTo>
                    <a:pt x="2944" y="4428"/>
                  </a:lnTo>
                  <a:lnTo>
                    <a:pt x="2944" y="4432"/>
                  </a:lnTo>
                  <a:lnTo>
                    <a:pt x="2946" y="4434"/>
                  </a:lnTo>
                  <a:lnTo>
                    <a:pt x="2950" y="4432"/>
                  </a:lnTo>
                  <a:lnTo>
                    <a:pt x="2954" y="4426"/>
                  </a:lnTo>
                  <a:lnTo>
                    <a:pt x="2960" y="4422"/>
                  </a:lnTo>
                  <a:lnTo>
                    <a:pt x="2968" y="4410"/>
                  </a:lnTo>
                  <a:lnTo>
                    <a:pt x="2994" y="4388"/>
                  </a:lnTo>
                  <a:lnTo>
                    <a:pt x="3002" y="4380"/>
                  </a:lnTo>
                  <a:lnTo>
                    <a:pt x="3006" y="4372"/>
                  </a:lnTo>
                  <a:lnTo>
                    <a:pt x="3008" y="4368"/>
                  </a:lnTo>
                  <a:lnTo>
                    <a:pt x="3008" y="4364"/>
                  </a:lnTo>
                  <a:lnTo>
                    <a:pt x="3010" y="4358"/>
                  </a:lnTo>
                  <a:lnTo>
                    <a:pt x="3012" y="4356"/>
                  </a:lnTo>
                  <a:lnTo>
                    <a:pt x="3016" y="4354"/>
                  </a:lnTo>
                  <a:lnTo>
                    <a:pt x="3022" y="4352"/>
                  </a:lnTo>
                  <a:lnTo>
                    <a:pt x="3024" y="4350"/>
                  </a:lnTo>
                  <a:lnTo>
                    <a:pt x="3028" y="4344"/>
                  </a:lnTo>
                  <a:lnTo>
                    <a:pt x="3030" y="4338"/>
                  </a:lnTo>
                  <a:lnTo>
                    <a:pt x="3030" y="4336"/>
                  </a:lnTo>
                  <a:lnTo>
                    <a:pt x="3034" y="4336"/>
                  </a:lnTo>
                  <a:lnTo>
                    <a:pt x="3038" y="4334"/>
                  </a:lnTo>
                  <a:lnTo>
                    <a:pt x="3042" y="4330"/>
                  </a:lnTo>
                  <a:lnTo>
                    <a:pt x="3044" y="4324"/>
                  </a:lnTo>
                  <a:lnTo>
                    <a:pt x="3042" y="4316"/>
                  </a:lnTo>
                  <a:lnTo>
                    <a:pt x="3040" y="4312"/>
                  </a:lnTo>
                  <a:lnTo>
                    <a:pt x="3040" y="4306"/>
                  </a:lnTo>
                  <a:lnTo>
                    <a:pt x="3040" y="4296"/>
                  </a:lnTo>
                  <a:lnTo>
                    <a:pt x="3040" y="4288"/>
                  </a:lnTo>
                  <a:lnTo>
                    <a:pt x="3038" y="4286"/>
                  </a:lnTo>
                  <a:lnTo>
                    <a:pt x="3036" y="4284"/>
                  </a:lnTo>
                  <a:lnTo>
                    <a:pt x="3034" y="4284"/>
                  </a:lnTo>
                  <a:lnTo>
                    <a:pt x="3032" y="4286"/>
                  </a:lnTo>
                  <a:lnTo>
                    <a:pt x="3032" y="4294"/>
                  </a:lnTo>
                  <a:lnTo>
                    <a:pt x="3030" y="4302"/>
                  </a:lnTo>
                  <a:lnTo>
                    <a:pt x="3028" y="4304"/>
                  </a:lnTo>
                  <a:lnTo>
                    <a:pt x="3026" y="4306"/>
                  </a:lnTo>
                  <a:lnTo>
                    <a:pt x="3024" y="4306"/>
                  </a:lnTo>
                  <a:lnTo>
                    <a:pt x="3024" y="4308"/>
                  </a:lnTo>
                  <a:lnTo>
                    <a:pt x="3026" y="4312"/>
                  </a:lnTo>
                  <a:lnTo>
                    <a:pt x="3028" y="4318"/>
                  </a:lnTo>
                  <a:lnTo>
                    <a:pt x="3028" y="4322"/>
                  </a:lnTo>
                  <a:lnTo>
                    <a:pt x="3026" y="4326"/>
                  </a:lnTo>
                  <a:lnTo>
                    <a:pt x="3022" y="4330"/>
                  </a:lnTo>
                  <a:lnTo>
                    <a:pt x="3020" y="4328"/>
                  </a:lnTo>
                  <a:lnTo>
                    <a:pt x="3018" y="4328"/>
                  </a:lnTo>
                  <a:lnTo>
                    <a:pt x="3012" y="4336"/>
                  </a:lnTo>
                  <a:close/>
                  <a:moveTo>
                    <a:pt x="3126" y="3596"/>
                  </a:moveTo>
                  <a:lnTo>
                    <a:pt x="3126" y="3596"/>
                  </a:lnTo>
                  <a:lnTo>
                    <a:pt x="3122" y="3592"/>
                  </a:lnTo>
                  <a:lnTo>
                    <a:pt x="3118" y="3590"/>
                  </a:lnTo>
                  <a:lnTo>
                    <a:pt x="3116" y="3590"/>
                  </a:lnTo>
                  <a:lnTo>
                    <a:pt x="3114" y="3590"/>
                  </a:lnTo>
                  <a:lnTo>
                    <a:pt x="3110" y="3594"/>
                  </a:lnTo>
                  <a:lnTo>
                    <a:pt x="3104" y="3598"/>
                  </a:lnTo>
                  <a:lnTo>
                    <a:pt x="3098" y="3600"/>
                  </a:lnTo>
                  <a:lnTo>
                    <a:pt x="3092" y="3608"/>
                  </a:lnTo>
                  <a:lnTo>
                    <a:pt x="3072" y="3644"/>
                  </a:lnTo>
                  <a:lnTo>
                    <a:pt x="3062" y="3662"/>
                  </a:lnTo>
                  <a:lnTo>
                    <a:pt x="3060" y="3678"/>
                  </a:lnTo>
                  <a:lnTo>
                    <a:pt x="3060" y="3694"/>
                  </a:lnTo>
                  <a:lnTo>
                    <a:pt x="3062" y="3712"/>
                  </a:lnTo>
                  <a:lnTo>
                    <a:pt x="3066" y="3726"/>
                  </a:lnTo>
                  <a:lnTo>
                    <a:pt x="3070" y="3730"/>
                  </a:lnTo>
                  <a:lnTo>
                    <a:pt x="3074" y="3734"/>
                  </a:lnTo>
                  <a:lnTo>
                    <a:pt x="3078" y="3742"/>
                  </a:lnTo>
                  <a:lnTo>
                    <a:pt x="3082" y="3752"/>
                  </a:lnTo>
                  <a:lnTo>
                    <a:pt x="3086" y="3762"/>
                  </a:lnTo>
                  <a:lnTo>
                    <a:pt x="3088" y="3764"/>
                  </a:lnTo>
                  <a:lnTo>
                    <a:pt x="3090" y="3762"/>
                  </a:lnTo>
                  <a:lnTo>
                    <a:pt x="3090" y="3756"/>
                  </a:lnTo>
                  <a:lnTo>
                    <a:pt x="3090" y="3748"/>
                  </a:lnTo>
                  <a:lnTo>
                    <a:pt x="3092" y="3738"/>
                  </a:lnTo>
                  <a:lnTo>
                    <a:pt x="3094" y="3730"/>
                  </a:lnTo>
                  <a:lnTo>
                    <a:pt x="3096" y="3726"/>
                  </a:lnTo>
                  <a:lnTo>
                    <a:pt x="3098" y="3722"/>
                  </a:lnTo>
                  <a:lnTo>
                    <a:pt x="3102" y="3718"/>
                  </a:lnTo>
                  <a:lnTo>
                    <a:pt x="3106" y="3712"/>
                  </a:lnTo>
                  <a:lnTo>
                    <a:pt x="3110" y="3702"/>
                  </a:lnTo>
                  <a:lnTo>
                    <a:pt x="3114" y="3690"/>
                  </a:lnTo>
                  <a:lnTo>
                    <a:pt x="3120" y="3662"/>
                  </a:lnTo>
                  <a:lnTo>
                    <a:pt x="3126" y="3644"/>
                  </a:lnTo>
                  <a:lnTo>
                    <a:pt x="3130" y="3632"/>
                  </a:lnTo>
                  <a:lnTo>
                    <a:pt x="3130" y="3628"/>
                  </a:lnTo>
                  <a:lnTo>
                    <a:pt x="3128" y="3622"/>
                  </a:lnTo>
                  <a:lnTo>
                    <a:pt x="3128" y="3618"/>
                  </a:lnTo>
                  <a:lnTo>
                    <a:pt x="3128" y="3614"/>
                  </a:lnTo>
                  <a:lnTo>
                    <a:pt x="3130" y="3610"/>
                  </a:lnTo>
                  <a:lnTo>
                    <a:pt x="3132" y="3608"/>
                  </a:lnTo>
                  <a:lnTo>
                    <a:pt x="3132" y="3604"/>
                  </a:lnTo>
                  <a:lnTo>
                    <a:pt x="3130" y="3600"/>
                  </a:lnTo>
                  <a:lnTo>
                    <a:pt x="3126" y="3596"/>
                  </a:lnTo>
                  <a:close/>
                  <a:moveTo>
                    <a:pt x="4186" y="2510"/>
                  </a:moveTo>
                  <a:lnTo>
                    <a:pt x="4186" y="2510"/>
                  </a:lnTo>
                  <a:lnTo>
                    <a:pt x="4182" y="2506"/>
                  </a:lnTo>
                  <a:lnTo>
                    <a:pt x="4182" y="2510"/>
                  </a:lnTo>
                  <a:lnTo>
                    <a:pt x="4180" y="2516"/>
                  </a:lnTo>
                  <a:lnTo>
                    <a:pt x="4180" y="2518"/>
                  </a:lnTo>
                  <a:lnTo>
                    <a:pt x="4176" y="2522"/>
                  </a:lnTo>
                  <a:lnTo>
                    <a:pt x="4166" y="2526"/>
                  </a:lnTo>
                  <a:lnTo>
                    <a:pt x="4156" y="2534"/>
                  </a:lnTo>
                  <a:lnTo>
                    <a:pt x="4148" y="2544"/>
                  </a:lnTo>
                  <a:lnTo>
                    <a:pt x="4140" y="2558"/>
                  </a:lnTo>
                  <a:lnTo>
                    <a:pt x="4140" y="2560"/>
                  </a:lnTo>
                  <a:lnTo>
                    <a:pt x="4140" y="2562"/>
                  </a:lnTo>
                  <a:lnTo>
                    <a:pt x="4142" y="2564"/>
                  </a:lnTo>
                  <a:lnTo>
                    <a:pt x="4144" y="2562"/>
                  </a:lnTo>
                  <a:lnTo>
                    <a:pt x="4152" y="2556"/>
                  </a:lnTo>
                  <a:lnTo>
                    <a:pt x="4162" y="2546"/>
                  </a:lnTo>
                  <a:lnTo>
                    <a:pt x="4170" y="2536"/>
                  </a:lnTo>
                  <a:lnTo>
                    <a:pt x="4176" y="2532"/>
                  </a:lnTo>
                  <a:lnTo>
                    <a:pt x="4182" y="2528"/>
                  </a:lnTo>
                  <a:lnTo>
                    <a:pt x="4192" y="2522"/>
                  </a:lnTo>
                  <a:lnTo>
                    <a:pt x="4196" y="2518"/>
                  </a:lnTo>
                  <a:lnTo>
                    <a:pt x="4202" y="2516"/>
                  </a:lnTo>
                  <a:lnTo>
                    <a:pt x="4212" y="2512"/>
                  </a:lnTo>
                  <a:lnTo>
                    <a:pt x="4216" y="2510"/>
                  </a:lnTo>
                  <a:lnTo>
                    <a:pt x="4218" y="2508"/>
                  </a:lnTo>
                  <a:lnTo>
                    <a:pt x="4218" y="2506"/>
                  </a:lnTo>
                  <a:lnTo>
                    <a:pt x="4216" y="2502"/>
                  </a:lnTo>
                  <a:lnTo>
                    <a:pt x="4214" y="2500"/>
                  </a:lnTo>
                  <a:lnTo>
                    <a:pt x="4210" y="2500"/>
                  </a:lnTo>
                  <a:lnTo>
                    <a:pt x="4204" y="2504"/>
                  </a:lnTo>
                  <a:lnTo>
                    <a:pt x="4194" y="2510"/>
                  </a:lnTo>
                  <a:lnTo>
                    <a:pt x="4190" y="2510"/>
                  </a:lnTo>
                  <a:lnTo>
                    <a:pt x="4186" y="2510"/>
                  </a:lnTo>
                  <a:close/>
                  <a:moveTo>
                    <a:pt x="3264" y="4226"/>
                  </a:moveTo>
                  <a:lnTo>
                    <a:pt x="3264" y="4226"/>
                  </a:lnTo>
                  <a:lnTo>
                    <a:pt x="3258" y="4226"/>
                  </a:lnTo>
                  <a:lnTo>
                    <a:pt x="3250" y="4226"/>
                  </a:lnTo>
                  <a:lnTo>
                    <a:pt x="3242" y="4228"/>
                  </a:lnTo>
                  <a:lnTo>
                    <a:pt x="3234" y="4226"/>
                  </a:lnTo>
                  <a:lnTo>
                    <a:pt x="3230" y="4226"/>
                  </a:lnTo>
                  <a:lnTo>
                    <a:pt x="3228" y="4228"/>
                  </a:lnTo>
                  <a:lnTo>
                    <a:pt x="3228" y="4234"/>
                  </a:lnTo>
                  <a:lnTo>
                    <a:pt x="3234" y="4244"/>
                  </a:lnTo>
                  <a:lnTo>
                    <a:pt x="3242" y="4252"/>
                  </a:lnTo>
                  <a:lnTo>
                    <a:pt x="3246" y="4258"/>
                  </a:lnTo>
                  <a:lnTo>
                    <a:pt x="3248" y="4260"/>
                  </a:lnTo>
                  <a:lnTo>
                    <a:pt x="3250" y="4262"/>
                  </a:lnTo>
                  <a:lnTo>
                    <a:pt x="3254" y="4264"/>
                  </a:lnTo>
                  <a:lnTo>
                    <a:pt x="3258" y="4266"/>
                  </a:lnTo>
                  <a:lnTo>
                    <a:pt x="3258" y="4268"/>
                  </a:lnTo>
                  <a:lnTo>
                    <a:pt x="3256" y="4272"/>
                  </a:lnTo>
                  <a:lnTo>
                    <a:pt x="3254" y="4276"/>
                  </a:lnTo>
                  <a:lnTo>
                    <a:pt x="3252" y="4276"/>
                  </a:lnTo>
                  <a:lnTo>
                    <a:pt x="3252" y="4278"/>
                  </a:lnTo>
                  <a:lnTo>
                    <a:pt x="3256" y="4282"/>
                  </a:lnTo>
                  <a:lnTo>
                    <a:pt x="3260" y="4288"/>
                  </a:lnTo>
                  <a:lnTo>
                    <a:pt x="3264" y="4296"/>
                  </a:lnTo>
                  <a:lnTo>
                    <a:pt x="3266" y="4298"/>
                  </a:lnTo>
                  <a:lnTo>
                    <a:pt x="3268" y="4300"/>
                  </a:lnTo>
                  <a:lnTo>
                    <a:pt x="3272" y="4298"/>
                  </a:lnTo>
                  <a:lnTo>
                    <a:pt x="3276" y="4298"/>
                  </a:lnTo>
                  <a:lnTo>
                    <a:pt x="3280" y="4298"/>
                  </a:lnTo>
                  <a:lnTo>
                    <a:pt x="3282" y="4300"/>
                  </a:lnTo>
                  <a:lnTo>
                    <a:pt x="3286" y="4302"/>
                  </a:lnTo>
                  <a:lnTo>
                    <a:pt x="3288" y="4300"/>
                  </a:lnTo>
                  <a:lnTo>
                    <a:pt x="3286" y="4296"/>
                  </a:lnTo>
                  <a:lnTo>
                    <a:pt x="3282" y="4292"/>
                  </a:lnTo>
                  <a:lnTo>
                    <a:pt x="3282" y="4290"/>
                  </a:lnTo>
                  <a:lnTo>
                    <a:pt x="3282" y="4288"/>
                  </a:lnTo>
                  <a:lnTo>
                    <a:pt x="3282" y="4284"/>
                  </a:lnTo>
                  <a:lnTo>
                    <a:pt x="3278" y="4280"/>
                  </a:lnTo>
                  <a:lnTo>
                    <a:pt x="3276" y="4276"/>
                  </a:lnTo>
                  <a:lnTo>
                    <a:pt x="3276" y="4272"/>
                  </a:lnTo>
                  <a:lnTo>
                    <a:pt x="3276" y="4260"/>
                  </a:lnTo>
                  <a:lnTo>
                    <a:pt x="3276" y="4248"/>
                  </a:lnTo>
                  <a:lnTo>
                    <a:pt x="3276" y="4242"/>
                  </a:lnTo>
                  <a:lnTo>
                    <a:pt x="3274" y="4240"/>
                  </a:lnTo>
                  <a:lnTo>
                    <a:pt x="3270" y="4236"/>
                  </a:lnTo>
                  <a:lnTo>
                    <a:pt x="3270" y="4234"/>
                  </a:lnTo>
                  <a:lnTo>
                    <a:pt x="3268" y="4230"/>
                  </a:lnTo>
                  <a:lnTo>
                    <a:pt x="3264" y="4226"/>
                  </a:lnTo>
                  <a:close/>
                  <a:moveTo>
                    <a:pt x="2906" y="4970"/>
                  </a:moveTo>
                  <a:lnTo>
                    <a:pt x="2906" y="4970"/>
                  </a:lnTo>
                  <a:lnTo>
                    <a:pt x="2908" y="4964"/>
                  </a:lnTo>
                  <a:lnTo>
                    <a:pt x="2910" y="4962"/>
                  </a:lnTo>
                  <a:lnTo>
                    <a:pt x="2914" y="4960"/>
                  </a:lnTo>
                  <a:lnTo>
                    <a:pt x="2918" y="4958"/>
                  </a:lnTo>
                  <a:lnTo>
                    <a:pt x="2918" y="4956"/>
                  </a:lnTo>
                  <a:lnTo>
                    <a:pt x="2918" y="4950"/>
                  </a:lnTo>
                  <a:lnTo>
                    <a:pt x="2916" y="4942"/>
                  </a:lnTo>
                  <a:lnTo>
                    <a:pt x="2914" y="4932"/>
                  </a:lnTo>
                  <a:lnTo>
                    <a:pt x="2914" y="4924"/>
                  </a:lnTo>
                  <a:lnTo>
                    <a:pt x="2916" y="4918"/>
                  </a:lnTo>
                  <a:lnTo>
                    <a:pt x="2920" y="4912"/>
                  </a:lnTo>
                  <a:lnTo>
                    <a:pt x="2930" y="4902"/>
                  </a:lnTo>
                  <a:lnTo>
                    <a:pt x="2934" y="4898"/>
                  </a:lnTo>
                  <a:lnTo>
                    <a:pt x="2938" y="4892"/>
                  </a:lnTo>
                  <a:lnTo>
                    <a:pt x="2940" y="4888"/>
                  </a:lnTo>
                  <a:lnTo>
                    <a:pt x="2944" y="4886"/>
                  </a:lnTo>
                  <a:lnTo>
                    <a:pt x="2952" y="4882"/>
                  </a:lnTo>
                  <a:lnTo>
                    <a:pt x="2954" y="4882"/>
                  </a:lnTo>
                  <a:lnTo>
                    <a:pt x="2958" y="4878"/>
                  </a:lnTo>
                  <a:lnTo>
                    <a:pt x="2958" y="4872"/>
                  </a:lnTo>
                  <a:lnTo>
                    <a:pt x="2958" y="4862"/>
                  </a:lnTo>
                  <a:lnTo>
                    <a:pt x="2956" y="4840"/>
                  </a:lnTo>
                  <a:lnTo>
                    <a:pt x="2958" y="4822"/>
                  </a:lnTo>
                  <a:lnTo>
                    <a:pt x="2962" y="4808"/>
                  </a:lnTo>
                  <a:lnTo>
                    <a:pt x="2964" y="4804"/>
                  </a:lnTo>
                  <a:lnTo>
                    <a:pt x="2968" y="4800"/>
                  </a:lnTo>
                  <a:lnTo>
                    <a:pt x="2972" y="4796"/>
                  </a:lnTo>
                  <a:lnTo>
                    <a:pt x="2974" y="4792"/>
                  </a:lnTo>
                  <a:lnTo>
                    <a:pt x="2978" y="4792"/>
                  </a:lnTo>
                  <a:lnTo>
                    <a:pt x="2982" y="4796"/>
                  </a:lnTo>
                  <a:lnTo>
                    <a:pt x="2988" y="4800"/>
                  </a:lnTo>
                  <a:lnTo>
                    <a:pt x="2992" y="4802"/>
                  </a:lnTo>
                  <a:lnTo>
                    <a:pt x="3002" y="4802"/>
                  </a:lnTo>
                  <a:lnTo>
                    <a:pt x="3010" y="4800"/>
                  </a:lnTo>
                  <a:lnTo>
                    <a:pt x="3012" y="4798"/>
                  </a:lnTo>
                  <a:lnTo>
                    <a:pt x="3014" y="4796"/>
                  </a:lnTo>
                  <a:lnTo>
                    <a:pt x="3012" y="4792"/>
                  </a:lnTo>
                  <a:lnTo>
                    <a:pt x="3006" y="4786"/>
                  </a:lnTo>
                  <a:lnTo>
                    <a:pt x="2988" y="4770"/>
                  </a:lnTo>
                  <a:lnTo>
                    <a:pt x="2980" y="4760"/>
                  </a:lnTo>
                  <a:lnTo>
                    <a:pt x="2972" y="4752"/>
                  </a:lnTo>
                  <a:lnTo>
                    <a:pt x="2970" y="4744"/>
                  </a:lnTo>
                  <a:lnTo>
                    <a:pt x="2970" y="4742"/>
                  </a:lnTo>
                  <a:lnTo>
                    <a:pt x="2970" y="4738"/>
                  </a:lnTo>
                  <a:lnTo>
                    <a:pt x="2974" y="4734"/>
                  </a:lnTo>
                  <a:lnTo>
                    <a:pt x="2976" y="4730"/>
                  </a:lnTo>
                  <a:lnTo>
                    <a:pt x="2974" y="4726"/>
                  </a:lnTo>
                  <a:lnTo>
                    <a:pt x="2972" y="4722"/>
                  </a:lnTo>
                  <a:lnTo>
                    <a:pt x="2966" y="4714"/>
                  </a:lnTo>
                  <a:lnTo>
                    <a:pt x="2964" y="4708"/>
                  </a:lnTo>
                  <a:lnTo>
                    <a:pt x="2962" y="4702"/>
                  </a:lnTo>
                  <a:lnTo>
                    <a:pt x="2960" y="4696"/>
                  </a:lnTo>
                  <a:lnTo>
                    <a:pt x="2958" y="4692"/>
                  </a:lnTo>
                  <a:lnTo>
                    <a:pt x="2954" y="4690"/>
                  </a:lnTo>
                  <a:lnTo>
                    <a:pt x="2950" y="4686"/>
                  </a:lnTo>
                  <a:lnTo>
                    <a:pt x="2948" y="4684"/>
                  </a:lnTo>
                  <a:lnTo>
                    <a:pt x="2950" y="4678"/>
                  </a:lnTo>
                  <a:lnTo>
                    <a:pt x="2950" y="4672"/>
                  </a:lnTo>
                  <a:lnTo>
                    <a:pt x="2952" y="4668"/>
                  </a:lnTo>
                  <a:lnTo>
                    <a:pt x="2956" y="4666"/>
                  </a:lnTo>
                  <a:lnTo>
                    <a:pt x="2958" y="4666"/>
                  </a:lnTo>
                  <a:lnTo>
                    <a:pt x="2964" y="4666"/>
                  </a:lnTo>
                  <a:lnTo>
                    <a:pt x="2966" y="4666"/>
                  </a:lnTo>
                  <a:lnTo>
                    <a:pt x="2966" y="4662"/>
                  </a:lnTo>
                  <a:lnTo>
                    <a:pt x="2964" y="4658"/>
                  </a:lnTo>
                  <a:lnTo>
                    <a:pt x="2956" y="4648"/>
                  </a:lnTo>
                  <a:lnTo>
                    <a:pt x="2954" y="4644"/>
                  </a:lnTo>
                  <a:lnTo>
                    <a:pt x="2954" y="4642"/>
                  </a:lnTo>
                  <a:lnTo>
                    <a:pt x="2954" y="4640"/>
                  </a:lnTo>
                  <a:lnTo>
                    <a:pt x="2956" y="4638"/>
                  </a:lnTo>
                  <a:lnTo>
                    <a:pt x="2958" y="4638"/>
                  </a:lnTo>
                  <a:lnTo>
                    <a:pt x="2960" y="4636"/>
                  </a:lnTo>
                  <a:lnTo>
                    <a:pt x="2958" y="4630"/>
                  </a:lnTo>
                  <a:lnTo>
                    <a:pt x="2958" y="4628"/>
                  </a:lnTo>
                  <a:lnTo>
                    <a:pt x="2966" y="4632"/>
                  </a:lnTo>
                  <a:lnTo>
                    <a:pt x="2972" y="4636"/>
                  </a:lnTo>
                  <a:lnTo>
                    <a:pt x="2976" y="4636"/>
                  </a:lnTo>
                  <a:lnTo>
                    <a:pt x="2980" y="4632"/>
                  </a:lnTo>
                  <a:lnTo>
                    <a:pt x="2986" y="4632"/>
                  </a:lnTo>
                  <a:lnTo>
                    <a:pt x="2992" y="4630"/>
                  </a:lnTo>
                  <a:lnTo>
                    <a:pt x="2998" y="4628"/>
                  </a:lnTo>
                  <a:lnTo>
                    <a:pt x="2998" y="4626"/>
                  </a:lnTo>
                  <a:lnTo>
                    <a:pt x="2998" y="4624"/>
                  </a:lnTo>
                  <a:lnTo>
                    <a:pt x="2990" y="4618"/>
                  </a:lnTo>
                  <a:lnTo>
                    <a:pt x="2982" y="4610"/>
                  </a:lnTo>
                  <a:lnTo>
                    <a:pt x="2980" y="4606"/>
                  </a:lnTo>
                  <a:lnTo>
                    <a:pt x="2982" y="4602"/>
                  </a:lnTo>
                  <a:lnTo>
                    <a:pt x="2986" y="4598"/>
                  </a:lnTo>
                  <a:lnTo>
                    <a:pt x="2988" y="4598"/>
                  </a:lnTo>
                  <a:lnTo>
                    <a:pt x="2990" y="4598"/>
                  </a:lnTo>
                  <a:lnTo>
                    <a:pt x="2994" y="4600"/>
                  </a:lnTo>
                  <a:lnTo>
                    <a:pt x="3002" y="4600"/>
                  </a:lnTo>
                  <a:lnTo>
                    <a:pt x="3014" y="4596"/>
                  </a:lnTo>
                  <a:lnTo>
                    <a:pt x="3020" y="4592"/>
                  </a:lnTo>
                  <a:lnTo>
                    <a:pt x="3024" y="4586"/>
                  </a:lnTo>
                  <a:lnTo>
                    <a:pt x="3024" y="4580"/>
                  </a:lnTo>
                  <a:lnTo>
                    <a:pt x="3022" y="4578"/>
                  </a:lnTo>
                  <a:lnTo>
                    <a:pt x="3022" y="4576"/>
                  </a:lnTo>
                  <a:lnTo>
                    <a:pt x="3018" y="4576"/>
                  </a:lnTo>
                  <a:lnTo>
                    <a:pt x="3014" y="4578"/>
                  </a:lnTo>
                  <a:lnTo>
                    <a:pt x="3012" y="4578"/>
                  </a:lnTo>
                  <a:lnTo>
                    <a:pt x="3010" y="4576"/>
                  </a:lnTo>
                  <a:lnTo>
                    <a:pt x="3006" y="4572"/>
                  </a:lnTo>
                  <a:lnTo>
                    <a:pt x="3004" y="4572"/>
                  </a:lnTo>
                  <a:lnTo>
                    <a:pt x="3000" y="4570"/>
                  </a:lnTo>
                  <a:lnTo>
                    <a:pt x="2998" y="4566"/>
                  </a:lnTo>
                  <a:lnTo>
                    <a:pt x="2994" y="4562"/>
                  </a:lnTo>
                  <a:lnTo>
                    <a:pt x="2988" y="4560"/>
                  </a:lnTo>
                  <a:lnTo>
                    <a:pt x="2984" y="4560"/>
                  </a:lnTo>
                  <a:lnTo>
                    <a:pt x="2982" y="4560"/>
                  </a:lnTo>
                  <a:lnTo>
                    <a:pt x="2976" y="4564"/>
                  </a:lnTo>
                  <a:lnTo>
                    <a:pt x="2974" y="4564"/>
                  </a:lnTo>
                  <a:lnTo>
                    <a:pt x="2972" y="4562"/>
                  </a:lnTo>
                  <a:lnTo>
                    <a:pt x="2972" y="4560"/>
                  </a:lnTo>
                  <a:lnTo>
                    <a:pt x="2974" y="4558"/>
                  </a:lnTo>
                  <a:lnTo>
                    <a:pt x="2976" y="4556"/>
                  </a:lnTo>
                  <a:lnTo>
                    <a:pt x="2976" y="4550"/>
                  </a:lnTo>
                  <a:lnTo>
                    <a:pt x="2974" y="4548"/>
                  </a:lnTo>
                  <a:lnTo>
                    <a:pt x="2972" y="4548"/>
                  </a:lnTo>
                  <a:lnTo>
                    <a:pt x="2968" y="4548"/>
                  </a:lnTo>
                  <a:lnTo>
                    <a:pt x="2964" y="4550"/>
                  </a:lnTo>
                  <a:lnTo>
                    <a:pt x="2962" y="4550"/>
                  </a:lnTo>
                  <a:lnTo>
                    <a:pt x="2960" y="4548"/>
                  </a:lnTo>
                  <a:lnTo>
                    <a:pt x="2960" y="4542"/>
                  </a:lnTo>
                  <a:lnTo>
                    <a:pt x="2960" y="4536"/>
                  </a:lnTo>
                  <a:lnTo>
                    <a:pt x="2962" y="4530"/>
                  </a:lnTo>
                  <a:lnTo>
                    <a:pt x="2958" y="4522"/>
                  </a:lnTo>
                  <a:lnTo>
                    <a:pt x="2954" y="4518"/>
                  </a:lnTo>
                  <a:lnTo>
                    <a:pt x="2952" y="4520"/>
                  </a:lnTo>
                  <a:lnTo>
                    <a:pt x="2948" y="4520"/>
                  </a:lnTo>
                  <a:lnTo>
                    <a:pt x="2946" y="4518"/>
                  </a:lnTo>
                  <a:lnTo>
                    <a:pt x="2944" y="4510"/>
                  </a:lnTo>
                  <a:lnTo>
                    <a:pt x="2942" y="4504"/>
                  </a:lnTo>
                  <a:lnTo>
                    <a:pt x="2940" y="4502"/>
                  </a:lnTo>
                  <a:lnTo>
                    <a:pt x="2938" y="4502"/>
                  </a:lnTo>
                  <a:lnTo>
                    <a:pt x="2936" y="4504"/>
                  </a:lnTo>
                  <a:lnTo>
                    <a:pt x="2934" y="4508"/>
                  </a:lnTo>
                  <a:lnTo>
                    <a:pt x="2932" y="4514"/>
                  </a:lnTo>
                  <a:lnTo>
                    <a:pt x="2928" y="4520"/>
                  </a:lnTo>
                  <a:lnTo>
                    <a:pt x="2926" y="4522"/>
                  </a:lnTo>
                  <a:lnTo>
                    <a:pt x="2924" y="4520"/>
                  </a:lnTo>
                  <a:lnTo>
                    <a:pt x="2926" y="4512"/>
                  </a:lnTo>
                  <a:lnTo>
                    <a:pt x="2928" y="4504"/>
                  </a:lnTo>
                  <a:lnTo>
                    <a:pt x="2926" y="4500"/>
                  </a:lnTo>
                  <a:lnTo>
                    <a:pt x="2924" y="4500"/>
                  </a:lnTo>
                  <a:lnTo>
                    <a:pt x="2920" y="4502"/>
                  </a:lnTo>
                  <a:lnTo>
                    <a:pt x="2918" y="4506"/>
                  </a:lnTo>
                  <a:lnTo>
                    <a:pt x="2916" y="4514"/>
                  </a:lnTo>
                  <a:lnTo>
                    <a:pt x="2910" y="4528"/>
                  </a:lnTo>
                  <a:lnTo>
                    <a:pt x="2904" y="4538"/>
                  </a:lnTo>
                  <a:lnTo>
                    <a:pt x="2900" y="4542"/>
                  </a:lnTo>
                  <a:lnTo>
                    <a:pt x="2896" y="4544"/>
                  </a:lnTo>
                  <a:lnTo>
                    <a:pt x="2896" y="4548"/>
                  </a:lnTo>
                  <a:lnTo>
                    <a:pt x="2894" y="4556"/>
                  </a:lnTo>
                  <a:lnTo>
                    <a:pt x="2892" y="4558"/>
                  </a:lnTo>
                  <a:lnTo>
                    <a:pt x="2890" y="4560"/>
                  </a:lnTo>
                  <a:lnTo>
                    <a:pt x="2890" y="4562"/>
                  </a:lnTo>
                  <a:lnTo>
                    <a:pt x="2888" y="4570"/>
                  </a:lnTo>
                  <a:lnTo>
                    <a:pt x="2884" y="4572"/>
                  </a:lnTo>
                  <a:lnTo>
                    <a:pt x="2882" y="4574"/>
                  </a:lnTo>
                  <a:lnTo>
                    <a:pt x="2880" y="4572"/>
                  </a:lnTo>
                  <a:lnTo>
                    <a:pt x="2876" y="4570"/>
                  </a:lnTo>
                  <a:lnTo>
                    <a:pt x="2874" y="4572"/>
                  </a:lnTo>
                  <a:lnTo>
                    <a:pt x="2868" y="4580"/>
                  </a:lnTo>
                  <a:lnTo>
                    <a:pt x="2868" y="4582"/>
                  </a:lnTo>
                  <a:lnTo>
                    <a:pt x="2868" y="4584"/>
                  </a:lnTo>
                  <a:lnTo>
                    <a:pt x="2872" y="4586"/>
                  </a:lnTo>
                  <a:lnTo>
                    <a:pt x="2876" y="4592"/>
                  </a:lnTo>
                  <a:lnTo>
                    <a:pt x="2874" y="4594"/>
                  </a:lnTo>
                  <a:lnTo>
                    <a:pt x="2872" y="4598"/>
                  </a:lnTo>
                  <a:lnTo>
                    <a:pt x="2868" y="4602"/>
                  </a:lnTo>
                  <a:lnTo>
                    <a:pt x="2864" y="4600"/>
                  </a:lnTo>
                  <a:lnTo>
                    <a:pt x="2862" y="4600"/>
                  </a:lnTo>
                  <a:lnTo>
                    <a:pt x="2858" y="4604"/>
                  </a:lnTo>
                  <a:lnTo>
                    <a:pt x="2854" y="4608"/>
                  </a:lnTo>
                  <a:lnTo>
                    <a:pt x="2854" y="4604"/>
                  </a:lnTo>
                  <a:lnTo>
                    <a:pt x="2856" y="4598"/>
                  </a:lnTo>
                  <a:lnTo>
                    <a:pt x="2856" y="4596"/>
                  </a:lnTo>
                  <a:lnTo>
                    <a:pt x="2854" y="4596"/>
                  </a:lnTo>
                  <a:lnTo>
                    <a:pt x="2850" y="4598"/>
                  </a:lnTo>
                  <a:lnTo>
                    <a:pt x="2844" y="4602"/>
                  </a:lnTo>
                  <a:lnTo>
                    <a:pt x="2836" y="4610"/>
                  </a:lnTo>
                  <a:lnTo>
                    <a:pt x="2828" y="4616"/>
                  </a:lnTo>
                  <a:lnTo>
                    <a:pt x="2822" y="4618"/>
                  </a:lnTo>
                  <a:lnTo>
                    <a:pt x="2816" y="4618"/>
                  </a:lnTo>
                  <a:lnTo>
                    <a:pt x="2814" y="4618"/>
                  </a:lnTo>
                  <a:lnTo>
                    <a:pt x="2812" y="4618"/>
                  </a:lnTo>
                  <a:lnTo>
                    <a:pt x="2812" y="4630"/>
                  </a:lnTo>
                  <a:lnTo>
                    <a:pt x="2810" y="4634"/>
                  </a:lnTo>
                  <a:lnTo>
                    <a:pt x="2806" y="4640"/>
                  </a:lnTo>
                  <a:lnTo>
                    <a:pt x="2798" y="4652"/>
                  </a:lnTo>
                  <a:lnTo>
                    <a:pt x="2786" y="4666"/>
                  </a:lnTo>
                  <a:lnTo>
                    <a:pt x="2780" y="4674"/>
                  </a:lnTo>
                  <a:lnTo>
                    <a:pt x="2778" y="4684"/>
                  </a:lnTo>
                  <a:lnTo>
                    <a:pt x="2774" y="4688"/>
                  </a:lnTo>
                  <a:lnTo>
                    <a:pt x="2766" y="4692"/>
                  </a:lnTo>
                  <a:lnTo>
                    <a:pt x="2746" y="4696"/>
                  </a:lnTo>
                  <a:lnTo>
                    <a:pt x="2724" y="4700"/>
                  </a:lnTo>
                  <a:lnTo>
                    <a:pt x="2716" y="4704"/>
                  </a:lnTo>
                  <a:lnTo>
                    <a:pt x="2712" y="4706"/>
                  </a:lnTo>
                  <a:lnTo>
                    <a:pt x="2710" y="4710"/>
                  </a:lnTo>
                  <a:lnTo>
                    <a:pt x="2708" y="4716"/>
                  </a:lnTo>
                  <a:lnTo>
                    <a:pt x="2710" y="4724"/>
                  </a:lnTo>
                  <a:lnTo>
                    <a:pt x="2708" y="4728"/>
                  </a:lnTo>
                  <a:lnTo>
                    <a:pt x="2704" y="4726"/>
                  </a:lnTo>
                  <a:lnTo>
                    <a:pt x="2702" y="4724"/>
                  </a:lnTo>
                  <a:lnTo>
                    <a:pt x="2700" y="4724"/>
                  </a:lnTo>
                  <a:lnTo>
                    <a:pt x="2698" y="4728"/>
                  </a:lnTo>
                  <a:lnTo>
                    <a:pt x="2698" y="4734"/>
                  </a:lnTo>
                  <a:lnTo>
                    <a:pt x="2700" y="4738"/>
                  </a:lnTo>
                  <a:lnTo>
                    <a:pt x="2702" y="4738"/>
                  </a:lnTo>
                  <a:lnTo>
                    <a:pt x="2702" y="4740"/>
                  </a:lnTo>
                  <a:lnTo>
                    <a:pt x="2700" y="4742"/>
                  </a:lnTo>
                  <a:lnTo>
                    <a:pt x="2698" y="4750"/>
                  </a:lnTo>
                  <a:lnTo>
                    <a:pt x="2696" y="4756"/>
                  </a:lnTo>
                  <a:lnTo>
                    <a:pt x="2692" y="4760"/>
                  </a:lnTo>
                  <a:lnTo>
                    <a:pt x="2692" y="4764"/>
                  </a:lnTo>
                  <a:lnTo>
                    <a:pt x="2696" y="4768"/>
                  </a:lnTo>
                  <a:lnTo>
                    <a:pt x="2698" y="4772"/>
                  </a:lnTo>
                  <a:lnTo>
                    <a:pt x="2698" y="4774"/>
                  </a:lnTo>
                  <a:lnTo>
                    <a:pt x="2690" y="4768"/>
                  </a:lnTo>
                  <a:lnTo>
                    <a:pt x="2684" y="4766"/>
                  </a:lnTo>
                  <a:lnTo>
                    <a:pt x="2678" y="4766"/>
                  </a:lnTo>
                  <a:lnTo>
                    <a:pt x="2672" y="4764"/>
                  </a:lnTo>
                  <a:lnTo>
                    <a:pt x="2672" y="4762"/>
                  </a:lnTo>
                  <a:lnTo>
                    <a:pt x="2672" y="4760"/>
                  </a:lnTo>
                  <a:lnTo>
                    <a:pt x="2674" y="4756"/>
                  </a:lnTo>
                  <a:lnTo>
                    <a:pt x="2672" y="4756"/>
                  </a:lnTo>
                  <a:lnTo>
                    <a:pt x="2670" y="4756"/>
                  </a:lnTo>
                  <a:lnTo>
                    <a:pt x="2666" y="4754"/>
                  </a:lnTo>
                  <a:lnTo>
                    <a:pt x="2664" y="4752"/>
                  </a:lnTo>
                  <a:lnTo>
                    <a:pt x="2664" y="4754"/>
                  </a:lnTo>
                  <a:lnTo>
                    <a:pt x="2662" y="4756"/>
                  </a:lnTo>
                  <a:lnTo>
                    <a:pt x="2656" y="4758"/>
                  </a:lnTo>
                  <a:lnTo>
                    <a:pt x="2650" y="4758"/>
                  </a:lnTo>
                  <a:lnTo>
                    <a:pt x="2644" y="4756"/>
                  </a:lnTo>
                  <a:lnTo>
                    <a:pt x="2640" y="4750"/>
                  </a:lnTo>
                  <a:lnTo>
                    <a:pt x="2638" y="4742"/>
                  </a:lnTo>
                  <a:lnTo>
                    <a:pt x="2632" y="4744"/>
                  </a:lnTo>
                  <a:lnTo>
                    <a:pt x="2628" y="4746"/>
                  </a:lnTo>
                  <a:lnTo>
                    <a:pt x="2622" y="4750"/>
                  </a:lnTo>
                  <a:lnTo>
                    <a:pt x="2620" y="4758"/>
                  </a:lnTo>
                  <a:lnTo>
                    <a:pt x="2618" y="4764"/>
                  </a:lnTo>
                  <a:lnTo>
                    <a:pt x="2614" y="4772"/>
                  </a:lnTo>
                  <a:lnTo>
                    <a:pt x="2610" y="4780"/>
                  </a:lnTo>
                  <a:lnTo>
                    <a:pt x="2606" y="4802"/>
                  </a:lnTo>
                  <a:lnTo>
                    <a:pt x="2606" y="4812"/>
                  </a:lnTo>
                  <a:lnTo>
                    <a:pt x="2608" y="4820"/>
                  </a:lnTo>
                  <a:lnTo>
                    <a:pt x="2610" y="4826"/>
                  </a:lnTo>
                  <a:lnTo>
                    <a:pt x="2616" y="4830"/>
                  </a:lnTo>
                  <a:lnTo>
                    <a:pt x="2620" y="4834"/>
                  </a:lnTo>
                  <a:lnTo>
                    <a:pt x="2620" y="4836"/>
                  </a:lnTo>
                  <a:lnTo>
                    <a:pt x="2616" y="4844"/>
                  </a:lnTo>
                  <a:lnTo>
                    <a:pt x="2614" y="4848"/>
                  </a:lnTo>
                  <a:lnTo>
                    <a:pt x="2614" y="4854"/>
                  </a:lnTo>
                  <a:lnTo>
                    <a:pt x="2614" y="4858"/>
                  </a:lnTo>
                  <a:lnTo>
                    <a:pt x="2618" y="4864"/>
                  </a:lnTo>
                  <a:lnTo>
                    <a:pt x="2622" y="4870"/>
                  </a:lnTo>
                  <a:lnTo>
                    <a:pt x="2624" y="4874"/>
                  </a:lnTo>
                  <a:lnTo>
                    <a:pt x="2624" y="4876"/>
                  </a:lnTo>
                  <a:lnTo>
                    <a:pt x="2622" y="4878"/>
                  </a:lnTo>
                  <a:lnTo>
                    <a:pt x="2620" y="4880"/>
                  </a:lnTo>
                  <a:lnTo>
                    <a:pt x="2626" y="4882"/>
                  </a:lnTo>
                  <a:lnTo>
                    <a:pt x="2630" y="4886"/>
                  </a:lnTo>
                  <a:lnTo>
                    <a:pt x="2632" y="4888"/>
                  </a:lnTo>
                  <a:lnTo>
                    <a:pt x="2632" y="4890"/>
                  </a:lnTo>
                  <a:lnTo>
                    <a:pt x="2630" y="4892"/>
                  </a:lnTo>
                  <a:lnTo>
                    <a:pt x="2628" y="4898"/>
                  </a:lnTo>
                  <a:lnTo>
                    <a:pt x="2626" y="4900"/>
                  </a:lnTo>
                  <a:lnTo>
                    <a:pt x="2628" y="4902"/>
                  </a:lnTo>
                  <a:lnTo>
                    <a:pt x="2632" y="4904"/>
                  </a:lnTo>
                  <a:lnTo>
                    <a:pt x="2634" y="4904"/>
                  </a:lnTo>
                  <a:lnTo>
                    <a:pt x="2640" y="4900"/>
                  </a:lnTo>
                  <a:lnTo>
                    <a:pt x="2646" y="4898"/>
                  </a:lnTo>
                  <a:lnTo>
                    <a:pt x="2650" y="4898"/>
                  </a:lnTo>
                  <a:lnTo>
                    <a:pt x="2652" y="4902"/>
                  </a:lnTo>
                  <a:lnTo>
                    <a:pt x="2652" y="4908"/>
                  </a:lnTo>
                  <a:lnTo>
                    <a:pt x="2652" y="4910"/>
                  </a:lnTo>
                  <a:lnTo>
                    <a:pt x="2650" y="4918"/>
                  </a:lnTo>
                  <a:lnTo>
                    <a:pt x="2648" y="4926"/>
                  </a:lnTo>
                  <a:lnTo>
                    <a:pt x="2648" y="4934"/>
                  </a:lnTo>
                  <a:lnTo>
                    <a:pt x="2652" y="4942"/>
                  </a:lnTo>
                  <a:lnTo>
                    <a:pt x="2658" y="4960"/>
                  </a:lnTo>
                  <a:lnTo>
                    <a:pt x="2660" y="4972"/>
                  </a:lnTo>
                  <a:lnTo>
                    <a:pt x="2660" y="4980"/>
                  </a:lnTo>
                  <a:lnTo>
                    <a:pt x="2660" y="4984"/>
                  </a:lnTo>
                  <a:lnTo>
                    <a:pt x="2660" y="4986"/>
                  </a:lnTo>
                  <a:lnTo>
                    <a:pt x="2666" y="4986"/>
                  </a:lnTo>
                  <a:lnTo>
                    <a:pt x="2678" y="4988"/>
                  </a:lnTo>
                  <a:lnTo>
                    <a:pt x="2684" y="4992"/>
                  </a:lnTo>
                  <a:lnTo>
                    <a:pt x="2692" y="4992"/>
                  </a:lnTo>
                  <a:lnTo>
                    <a:pt x="2698" y="4986"/>
                  </a:lnTo>
                  <a:lnTo>
                    <a:pt x="2702" y="4982"/>
                  </a:lnTo>
                  <a:lnTo>
                    <a:pt x="2706" y="4982"/>
                  </a:lnTo>
                  <a:lnTo>
                    <a:pt x="2712" y="4982"/>
                  </a:lnTo>
                  <a:lnTo>
                    <a:pt x="2716" y="4984"/>
                  </a:lnTo>
                  <a:lnTo>
                    <a:pt x="2720" y="4986"/>
                  </a:lnTo>
                  <a:lnTo>
                    <a:pt x="2722" y="4992"/>
                  </a:lnTo>
                  <a:lnTo>
                    <a:pt x="2724" y="4996"/>
                  </a:lnTo>
                  <a:lnTo>
                    <a:pt x="2724" y="5002"/>
                  </a:lnTo>
                  <a:lnTo>
                    <a:pt x="2724" y="5010"/>
                  </a:lnTo>
                  <a:lnTo>
                    <a:pt x="2726" y="5012"/>
                  </a:lnTo>
                  <a:lnTo>
                    <a:pt x="2728" y="5012"/>
                  </a:lnTo>
                  <a:lnTo>
                    <a:pt x="2734" y="5010"/>
                  </a:lnTo>
                  <a:lnTo>
                    <a:pt x="2740" y="5004"/>
                  </a:lnTo>
                  <a:lnTo>
                    <a:pt x="2742" y="5002"/>
                  </a:lnTo>
                  <a:lnTo>
                    <a:pt x="2746" y="5002"/>
                  </a:lnTo>
                  <a:lnTo>
                    <a:pt x="2754" y="5004"/>
                  </a:lnTo>
                  <a:lnTo>
                    <a:pt x="2756" y="5004"/>
                  </a:lnTo>
                  <a:lnTo>
                    <a:pt x="2760" y="5004"/>
                  </a:lnTo>
                  <a:lnTo>
                    <a:pt x="2764" y="5002"/>
                  </a:lnTo>
                  <a:lnTo>
                    <a:pt x="2768" y="4998"/>
                  </a:lnTo>
                  <a:lnTo>
                    <a:pt x="2770" y="4992"/>
                  </a:lnTo>
                  <a:lnTo>
                    <a:pt x="2774" y="4990"/>
                  </a:lnTo>
                  <a:lnTo>
                    <a:pt x="2776" y="4990"/>
                  </a:lnTo>
                  <a:lnTo>
                    <a:pt x="2778" y="4992"/>
                  </a:lnTo>
                  <a:lnTo>
                    <a:pt x="2784" y="4996"/>
                  </a:lnTo>
                  <a:lnTo>
                    <a:pt x="2788" y="4998"/>
                  </a:lnTo>
                  <a:lnTo>
                    <a:pt x="2792" y="4998"/>
                  </a:lnTo>
                  <a:lnTo>
                    <a:pt x="2794" y="4998"/>
                  </a:lnTo>
                  <a:lnTo>
                    <a:pt x="2796" y="5000"/>
                  </a:lnTo>
                  <a:lnTo>
                    <a:pt x="2796" y="5004"/>
                  </a:lnTo>
                  <a:lnTo>
                    <a:pt x="2796" y="5006"/>
                  </a:lnTo>
                  <a:lnTo>
                    <a:pt x="2798" y="5008"/>
                  </a:lnTo>
                  <a:lnTo>
                    <a:pt x="2800" y="5008"/>
                  </a:lnTo>
                  <a:lnTo>
                    <a:pt x="2806" y="5006"/>
                  </a:lnTo>
                  <a:lnTo>
                    <a:pt x="2814" y="5004"/>
                  </a:lnTo>
                  <a:lnTo>
                    <a:pt x="2820" y="5004"/>
                  </a:lnTo>
                  <a:lnTo>
                    <a:pt x="2826" y="5008"/>
                  </a:lnTo>
                  <a:lnTo>
                    <a:pt x="2830" y="5012"/>
                  </a:lnTo>
                  <a:lnTo>
                    <a:pt x="2834" y="5016"/>
                  </a:lnTo>
                  <a:lnTo>
                    <a:pt x="2836" y="5022"/>
                  </a:lnTo>
                  <a:lnTo>
                    <a:pt x="2836" y="5030"/>
                  </a:lnTo>
                  <a:lnTo>
                    <a:pt x="2836" y="5036"/>
                  </a:lnTo>
                  <a:lnTo>
                    <a:pt x="2836" y="5040"/>
                  </a:lnTo>
                  <a:lnTo>
                    <a:pt x="2840" y="5042"/>
                  </a:lnTo>
                  <a:lnTo>
                    <a:pt x="2846" y="5040"/>
                  </a:lnTo>
                  <a:lnTo>
                    <a:pt x="2852" y="5036"/>
                  </a:lnTo>
                  <a:lnTo>
                    <a:pt x="2868" y="5026"/>
                  </a:lnTo>
                  <a:lnTo>
                    <a:pt x="2876" y="5024"/>
                  </a:lnTo>
                  <a:lnTo>
                    <a:pt x="2882" y="5022"/>
                  </a:lnTo>
                  <a:lnTo>
                    <a:pt x="2886" y="5020"/>
                  </a:lnTo>
                  <a:lnTo>
                    <a:pt x="2890" y="5018"/>
                  </a:lnTo>
                  <a:lnTo>
                    <a:pt x="2894" y="5008"/>
                  </a:lnTo>
                  <a:lnTo>
                    <a:pt x="2896" y="4996"/>
                  </a:lnTo>
                  <a:lnTo>
                    <a:pt x="2898" y="4986"/>
                  </a:lnTo>
                  <a:lnTo>
                    <a:pt x="2898" y="4982"/>
                  </a:lnTo>
                  <a:lnTo>
                    <a:pt x="2902" y="4980"/>
                  </a:lnTo>
                  <a:lnTo>
                    <a:pt x="2904" y="4978"/>
                  </a:lnTo>
                  <a:lnTo>
                    <a:pt x="2906" y="4970"/>
                  </a:lnTo>
                  <a:close/>
                  <a:moveTo>
                    <a:pt x="2606" y="3938"/>
                  </a:moveTo>
                  <a:lnTo>
                    <a:pt x="2606" y="3938"/>
                  </a:lnTo>
                  <a:lnTo>
                    <a:pt x="2616" y="3942"/>
                  </a:lnTo>
                  <a:lnTo>
                    <a:pt x="2622" y="3944"/>
                  </a:lnTo>
                  <a:lnTo>
                    <a:pt x="2624" y="3944"/>
                  </a:lnTo>
                  <a:lnTo>
                    <a:pt x="2626" y="3944"/>
                  </a:lnTo>
                  <a:lnTo>
                    <a:pt x="2630" y="3948"/>
                  </a:lnTo>
                  <a:lnTo>
                    <a:pt x="2634" y="3950"/>
                  </a:lnTo>
                  <a:lnTo>
                    <a:pt x="2638" y="3948"/>
                  </a:lnTo>
                  <a:lnTo>
                    <a:pt x="2640" y="3942"/>
                  </a:lnTo>
                  <a:lnTo>
                    <a:pt x="2640" y="3940"/>
                  </a:lnTo>
                  <a:lnTo>
                    <a:pt x="2642" y="3940"/>
                  </a:lnTo>
                  <a:lnTo>
                    <a:pt x="2646" y="3940"/>
                  </a:lnTo>
                  <a:lnTo>
                    <a:pt x="2652" y="3938"/>
                  </a:lnTo>
                  <a:lnTo>
                    <a:pt x="2654" y="3938"/>
                  </a:lnTo>
                  <a:lnTo>
                    <a:pt x="2654" y="3934"/>
                  </a:lnTo>
                  <a:lnTo>
                    <a:pt x="2656" y="3930"/>
                  </a:lnTo>
                  <a:lnTo>
                    <a:pt x="2658" y="3928"/>
                  </a:lnTo>
                  <a:lnTo>
                    <a:pt x="2664" y="3926"/>
                  </a:lnTo>
                  <a:lnTo>
                    <a:pt x="2666" y="3924"/>
                  </a:lnTo>
                  <a:lnTo>
                    <a:pt x="2670" y="3922"/>
                  </a:lnTo>
                  <a:lnTo>
                    <a:pt x="2670" y="3918"/>
                  </a:lnTo>
                  <a:lnTo>
                    <a:pt x="2672" y="3912"/>
                  </a:lnTo>
                  <a:lnTo>
                    <a:pt x="2674" y="3902"/>
                  </a:lnTo>
                  <a:lnTo>
                    <a:pt x="2678" y="3892"/>
                  </a:lnTo>
                  <a:lnTo>
                    <a:pt x="2684" y="3884"/>
                  </a:lnTo>
                  <a:lnTo>
                    <a:pt x="2690" y="3878"/>
                  </a:lnTo>
                  <a:lnTo>
                    <a:pt x="2692" y="3874"/>
                  </a:lnTo>
                  <a:lnTo>
                    <a:pt x="2692" y="3868"/>
                  </a:lnTo>
                  <a:lnTo>
                    <a:pt x="2690" y="3862"/>
                  </a:lnTo>
                  <a:lnTo>
                    <a:pt x="2686" y="3858"/>
                  </a:lnTo>
                  <a:lnTo>
                    <a:pt x="2682" y="3856"/>
                  </a:lnTo>
                  <a:lnTo>
                    <a:pt x="2680" y="3854"/>
                  </a:lnTo>
                  <a:lnTo>
                    <a:pt x="2676" y="3852"/>
                  </a:lnTo>
                  <a:lnTo>
                    <a:pt x="2674" y="3854"/>
                  </a:lnTo>
                  <a:lnTo>
                    <a:pt x="2670" y="3856"/>
                  </a:lnTo>
                  <a:lnTo>
                    <a:pt x="2666" y="3856"/>
                  </a:lnTo>
                  <a:lnTo>
                    <a:pt x="2660" y="3856"/>
                  </a:lnTo>
                  <a:lnTo>
                    <a:pt x="2654" y="3858"/>
                  </a:lnTo>
                  <a:lnTo>
                    <a:pt x="2652" y="3860"/>
                  </a:lnTo>
                  <a:lnTo>
                    <a:pt x="2648" y="3860"/>
                  </a:lnTo>
                  <a:lnTo>
                    <a:pt x="2642" y="3858"/>
                  </a:lnTo>
                  <a:lnTo>
                    <a:pt x="2636" y="3858"/>
                  </a:lnTo>
                  <a:lnTo>
                    <a:pt x="2634" y="3858"/>
                  </a:lnTo>
                  <a:lnTo>
                    <a:pt x="2632" y="3862"/>
                  </a:lnTo>
                  <a:lnTo>
                    <a:pt x="2630" y="3864"/>
                  </a:lnTo>
                  <a:lnTo>
                    <a:pt x="2626" y="3864"/>
                  </a:lnTo>
                  <a:lnTo>
                    <a:pt x="2622" y="3862"/>
                  </a:lnTo>
                  <a:lnTo>
                    <a:pt x="2620" y="3864"/>
                  </a:lnTo>
                  <a:lnTo>
                    <a:pt x="2618" y="3866"/>
                  </a:lnTo>
                  <a:lnTo>
                    <a:pt x="2616" y="3870"/>
                  </a:lnTo>
                  <a:lnTo>
                    <a:pt x="2616" y="3872"/>
                  </a:lnTo>
                  <a:lnTo>
                    <a:pt x="2614" y="3874"/>
                  </a:lnTo>
                  <a:lnTo>
                    <a:pt x="2608" y="3882"/>
                  </a:lnTo>
                  <a:lnTo>
                    <a:pt x="2604" y="3886"/>
                  </a:lnTo>
                  <a:lnTo>
                    <a:pt x="2598" y="3890"/>
                  </a:lnTo>
                  <a:lnTo>
                    <a:pt x="2596" y="3896"/>
                  </a:lnTo>
                  <a:lnTo>
                    <a:pt x="2596" y="3908"/>
                  </a:lnTo>
                  <a:lnTo>
                    <a:pt x="2596" y="3920"/>
                  </a:lnTo>
                  <a:lnTo>
                    <a:pt x="2596" y="3926"/>
                  </a:lnTo>
                  <a:lnTo>
                    <a:pt x="2600" y="3932"/>
                  </a:lnTo>
                  <a:lnTo>
                    <a:pt x="2606" y="3938"/>
                  </a:lnTo>
                  <a:close/>
                  <a:moveTo>
                    <a:pt x="3234" y="3626"/>
                  </a:moveTo>
                  <a:lnTo>
                    <a:pt x="3234" y="3626"/>
                  </a:lnTo>
                  <a:lnTo>
                    <a:pt x="3234" y="3624"/>
                  </a:lnTo>
                  <a:lnTo>
                    <a:pt x="3232" y="3624"/>
                  </a:lnTo>
                  <a:lnTo>
                    <a:pt x="3226" y="3626"/>
                  </a:lnTo>
                  <a:lnTo>
                    <a:pt x="3222" y="3632"/>
                  </a:lnTo>
                  <a:lnTo>
                    <a:pt x="3222" y="3634"/>
                  </a:lnTo>
                  <a:lnTo>
                    <a:pt x="3224" y="3636"/>
                  </a:lnTo>
                  <a:lnTo>
                    <a:pt x="3226" y="3636"/>
                  </a:lnTo>
                  <a:lnTo>
                    <a:pt x="3230" y="3634"/>
                  </a:lnTo>
                  <a:lnTo>
                    <a:pt x="3234" y="3626"/>
                  </a:lnTo>
                  <a:close/>
                  <a:moveTo>
                    <a:pt x="3140" y="4236"/>
                  </a:moveTo>
                  <a:lnTo>
                    <a:pt x="3140" y="4236"/>
                  </a:lnTo>
                  <a:lnTo>
                    <a:pt x="3142" y="4224"/>
                  </a:lnTo>
                  <a:lnTo>
                    <a:pt x="3142" y="4222"/>
                  </a:lnTo>
                  <a:lnTo>
                    <a:pt x="3138" y="4224"/>
                  </a:lnTo>
                  <a:lnTo>
                    <a:pt x="3136" y="4226"/>
                  </a:lnTo>
                  <a:lnTo>
                    <a:pt x="3136" y="4230"/>
                  </a:lnTo>
                  <a:lnTo>
                    <a:pt x="3134" y="4236"/>
                  </a:lnTo>
                  <a:lnTo>
                    <a:pt x="3134" y="4240"/>
                  </a:lnTo>
                  <a:lnTo>
                    <a:pt x="3136" y="4242"/>
                  </a:lnTo>
                  <a:lnTo>
                    <a:pt x="3138" y="4242"/>
                  </a:lnTo>
                  <a:lnTo>
                    <a:pt x="3140" y="4236"/>
                  </a:lnTo>
                  <a:close/>
                  <a:moveTo>
                    <a:pt x="3216" y="3638"/>
                  </a:moveTo>
                  <a:lnTo>
                    <a:pt x="3216" y="3638"/>
                  </a:lnTo>
                  <a:lnTo>
                    <a:pt x="3216" y="3634"/>
                  </a:lnTo>
                  <a:lnTo>
                    <a:pt x="3212" y="3632"/>
                  </a:lnTo>
                  <a:lnTo>
                    <a:pt x="3208" y="3632"/>
                  </a:lnTo>
                  <a:lnTo>
                    <a:pt x="3206" y="3636"/>
                  </a:lnTo>
                  <a:lnTo>
                    <a:pt x="3208" y="3638"/>
                  </a:lnTo>
                  <a:lnTo>
                    <a:pt x="3210" y="3640"/>
                  </a:lnTo>
                  <a:lnTo>
                    <a:pt x="3214" y="3640"/>
                  </a:lnTo>
                  <a:lnTo>
                    <a:pt x="3216" y="3638"/>
                  </a:lnTo>
                  <a:close/>
                  <a:moveTo>
                    <a:pt x="3130" y="4102"/>
                  </a:moveTo>
                  <a:lnTo>
                    <a:pt x="3130" y="4102"/>
                  </a:lnTo>
                  <a:lnTo>
                    <a:pt x="3128" y="4106"/>
                  </a:lnTo>
                  <a:lnTo>
                    <a:pt x="3128" y="4108"/>
                  </a:lnTo>
                  <a:lnTo>
                    <a:pt x="3132" y="4120"/>
                  </a:lnTo>
                  <a:lnTo>
                    <a:pt x="3134" y="4124"/>
                  </a:lnTo>
                  <a:lnTo>
                    <a:pt x="3136" y="4124"/>
                  </a:lnTo>
                  <a:lnTo>
                    <a:pt x="3136" y="4120"/>
                  </a:lnTo>
                  <a:lnTo>
                    <a:pt x="3136" y="4116"/>
                  </a:lnTo>
                  <a:lnTo>
                    <a:pt x="3134" y="4104"/>
                  </a:lnTo>
                  <a:lnTo>
                    <a:pt x="3132" y="4102"/>
                  </a:lnTo>
                  <a:lnTo>
                    <a:pt x="3130" y="4102"/>
                  </a:lnTo>
                  <a:close/>
                  <a:moveTo>
                    <a:pt x="3462" y="5402"/>
                  </a:moveTo>
                  <a:lnTo>
                    <a:pt x="3462" y="5402"/>
                  </a:lnTo>
                  <a:lnTo>
                    <a:pt x="3462" y="5410"/>
                  </a:lnTo>
                  <a:lnTo>
                    <a:pt x="3462" y="5414"/>
                  </a:lnTo>
                  <a:lnTo>
                    <a:pt x="3466" y="5416"/>
                  </a:lnTo>
                  <a:lnTo>
                    <a:pt x="3472" y="5418"/>
                  </a:lnTo>
                  <a:lnTo>
                    <a:pt x="3476" y="5418"/>
                  </a:lnTo>
                  <a:lnTo>
                    <a:pt x="3478" y="5416"/>
                  </a:lnTo>
                  <a:lnTo>
                    <a:pt x="3478" y="5412"/>
                  </a:lnTo>
                  <a:lnTo>
                    <a:pt x="3474" y="5404"/>
                  </a:lnTo>
                  <a:lnTo>
                    <a:pt x="3468" y="5398"/>
                  </a:lnTo>
                  <a:lnTo>
                    <a:pt x="3464" y="5394"/>
                  </a:lnTo>
                  <a:lnTo>
                    <a:pt x="3462" y="5396"/>
                  </a:lnTo>
                  <a:lnTo>
                    <a:pt x="3462" y="5402"/>
                  </a:lnTo>
                  <a:close/>
                  <a:moveTo>
                    <a:pt x="4244" y="2492"/>
                  </a:moveTo>
                  <a:lnTo>
                    <a:pt x="4244" y="2492"/>
                  </a:lnTo>
                  <a:lnTo>
                    <a:pt x="4244" y="2496"/>
                  </a:lnTo>
                  <a:lnTo>
                    <a:pt x="4248" y="2496"/>
                  </a:lnTo>
                  <a:lnTo>
                    <a:pt x="4256" y="2492"/>
                  </a:lnTo>
                  <a:lnTo>
                    <a:pt x="4264" y="2486"/>
                  </a:lnTo>
                  <a:lnTo>
                    <a:pt x="4280" y="2470"/>
                  </a:lnTo>
                  <a:lnTo>
                    <a:pt x="4284" y="2464"/>
                  </a:lnTo>
                  <a:lnTo>
                    <a:pt x="4284" y="2460"/>
                  </a:lnTo>
                  <a:lnTo>
                    <a:pt x="4282" y="2460"/>
                  </a:lnTo>
                  <a:lnTo>
                    <a:pt x="4276" y="2460"/>
                  </a:lnTo>
                  <a:lnTo>
                    <a:pt x="4266" y="2466"/>
                  </a:lnTo>
                  <a:lnTo>
                    <a:pt x="4254" y="2476"/>
                  </a:lnTo>
                  <a:lnTo>
                    <a:pt x="4248" y="2484"/>
                  </a:lnTo>
                  <a:lnTo>
                    <a:pt x="4244" y="2492"/>
                  </a:lnTo>
                  <a:close/>
                  <a:moveTo>
                    <a:pt x="4364" y="2396"/>
                  </a:moveTo>
                  <a:lnTo>
                    <a:pt x="4364" y="2396"/>
                  </a:lnTo>
                  <a:lnTo>
                    <a:pt x="4368" y="2398"/>
                  </a:lnTo>
                  <a:lnTo>
                    <a:pt x="4370" y="2396"/>
                  </a:lnTo>
                  <a:lnTo>
                    <a:pt x="4370" y="2394"/>
                  </a:lnTo>
                  <a:lnTo>
                    <a:pt x="4368" y="2392"/>
                  </a:lnTo>
                  <a:lnTo>
                    <a:pt x="4366" y="2390"/>
                  </a:lnTo>
                  <a:lnTo>
                    <a:pt x="4364" y="2392"/>
                  </a:lnTo>
                  <a:lnTo>
                    <a:pt x="4364" y="2394"/>
                  </a:lnTo>
                  <a:lnTo>
                    <a:pt x="4364" y="2396"/>
                  </a:lnTo>
                  <a:close/>
                  <a:moveTo>
                    <a:pt x="4388" y="2374"/>
                  </a:moveTo>
                  <a:lnTo>
                    <a:pt x="4388" y="2374"/>
                  </a:lnTo>
                  <a:lnTo>
                    <a:pt x="4392" y="2376"/>
                  </a:lnTo>
                  <a:lnTo>
                    <a:pt x="4392" y="2374"/>
                  </a:lnTo>
                  <a:lnTo>
                    <a:pt x="4394" y="2370"/>
                  </a:lnTo>
                  <a:lnTo>
                    <a:pt x="4392" y="2368"/>
                  </a:lnTo>
                  <a:lnTo>
                    <a:pt x="4390" y="2366"/>
                  </a:lnTo>
                  <a:lnTo>
                    <a:pt x="4388" y="2368"/>
                  </a:lnTo>
                  <a:lnTo>
                    <a:pt x="4388" y="2372"/>
                  </a:lnTo>
                  <a:lnTo>
                    <a:pt x="4388" y="2374"/>
                  </a:lnTo>
                  <a:close/>
                  <a:moveTo>
                    <a:pt x="264" y="3518"/>
                  </a:moveTo>
                  <a:lnTo>
                    <a:pt x="264" y="3518"/>
                  </a:lnTo>
                  <a:lnTo>
                    <a:pt x="266" y="3518"/>
                  </a:lnTo>
                  <a:lnTo>
                    <a:pt x="264" y="3518"/>
                  </a:lnTo>
                  <a:close/>
                  <a:moveTo>
                    <a:pt x="5798" y="1166"/>
                  </a:moveTo>
                  <a:lnTo>
                    <a:pt x="5798" y="1166"/>
                  </a:lnTo>
                  <a:lnTo>
                    <a:pt x="5790" y="1156"/>
                  </a:lnTo>
                  <a:lnTo>
                    <a:pt x="5782" y="1148"/>
                  </a:lnTo>
                  <a:lnTo>
                    <a:pt x="5772" y="1144"/>
                  </a:lnTo>
                  <a:lnTo>
                    <a:pt x="5760" y="1140"/>
                  </a:lnTo>
                  <a:lnTo>
                    <a:pt x="5732" y="1138"/>
                  </a:lnTo>
                  <a:lnTo>
                    <a:pt x="5698" y="1136"/>
                  </a:lnTo>
                  <a:lnTo>
                    <a:pt x="5692" y="1138"/>
                  </a:lnTo>
                  <a:lnTo>
                    <a:pt x="5688" y="1140"/>
                  </a:lnTo>
                  <a:lnTo>
                    <a:pt x="5686" y="1144"/>
                  </a:lnTo>
                  <a:lnTo>
                    <a:pt x="5686" y="1148"/>
                  </a:lnTo>
                  <a:lnTo>
                    <a:pt x="5690" y="1160"/>
                  </a:lnTo>
                  <a:lnTo>
                    <a:pt x="5696" y="1172"/>
                  </a:lnTo>
                  <a:lnTo>
                    <a:pt x="5702" y="1184"/>
                  </a:lnTo>
                  <a:lnTo>
                    <a:pt x="5704" y="1190"/>
                  </a:lnTo>
                  <a:lnTo>
                    <a:pt x="5704" y="1192"/>
                  </a:lnTo>
                  <a:lnTo>
                    <a:pt x="5700" y="1192"/>
                  </a:lnTo>
                  <a:lnTo>
                    <a:pt x="5684" y="1186"/>
                  </a:lnTo>
                  <a:lnTo>
                    <a:pt x="5676" y="1180"/>
                  </a:lnTo>
                  <a:lnTo>
                    <a:pt x="5670" y="1174"/>
                  </a:lnTo>
                  <a:lnTo>
                    <a:pt x="5666" y="1168"/>
                  </a:lnTo>
                  <a:lnTo>
                    <a:pt x="5664" y="1162"/>
                  </a:lnTo>
                  <a:lnTo>
                    <a:pt x="5664" y="1150"/>
                  </a:lnTo>
                  <a:lnTo>
                    <a:pt x="5666" y="1138"/>
                  </a:lnTo>
                  <a:lnTo>
                    <a:pt x="5666" y="1126"/>
                  </a:lnTo>
                  <a:lnTo>
                    <a:pt x="5664" y="1120"/>
                  </a:lnTo>
                  <a:lnTo>
                    <a:pt x="5660" y="1114"/>
                  </a:lnTo>
                  <a:lnTo>
                    <a:pt x="5654" y="1106"/>
                  </a:lnTo>
                  <a:lnTo>
                    <a:pt x="5646" y="1100"/>
                  </a:lnTo>
                  <a:lnTo>
                    <a:pt x="5634" y="1092"/>
                  </a:lnTo>
                  <a:lnTo>
                    <a:pt x="5618" y="1084"/>
                  </a:lnTo>
                  <a:lnTo>
                    <a:pt x="5580" y="1068"/>
                  </a:lnTo>
                  <a:lnTo>
                    <a:pt x="5546" y="1050"/>
                  </a:lnTo>
                  <a:lnTo>
                    <a:pt x="5478" y="1014"/>
                  </a:lnTo>
                  <a:lnTo>
                    <a:pt x="5478" y="1008"/>
                  </a:lnTo>
                  <a:lnTo>
                    <a:pt x="5448" y="994"/>
                  </a:lnTo>
                  <a:lnTo>
                    <a:pt x="5418" y="982"/>
                  </a:lnTo>
                  <a:lnTo>
                    <a:pt x="5386" y="970"/>
                  </a:lnTo>
                  <a:lnTo>
                    <a:pt x="5356" y="962"/>
                  </a:lnTo>
                  <a:lnTo>
                    <a:pt x="5310" y="952"/>
                  </a:lnTo>
                  <a:lnTo>
                    <a:pt x="5294" y="946"/>
                  </a:lnTo>
                  <a:lnTo>
                    <a:pt x="5270" y="944"/>
                  </a:lnTo>
                  <a:lnTo>
                    <a:pt x="5210" y="940"/>
                  </a:lnTo>
                  <a:lnTo>
                    <a:pt x="5170" y="936"/>
                  </a:lnTo>
                  <a:lnTo>
                    <a:pt x="5144" y="930"/>
                  </a:lnTo>
                  <a:lnTo>
                    <a:pt x="5126" y="924"/>
                  </a:lnTo>
                  <a:lnTo>
                    <a:pt x="5116" y="918"/>
                  </a:lnTo>
                  <a:lnTo>
                    <a:pt x="5108" y="916"/>
                  </a:lnTo>
                  <a:lnTo>
                    <a:pt x="5102" y="918"/>
                  </a:lnTo>
                  <a:lnTo>
                    <a:pt x="5096" y="926"/>
                  </a:lnTo>
                  <a:lnTo>
                    <a:pt x="5086" y="942"/>
                  </a:lnTo>
                  <a:lnTo>
                    <a:pt x="5080" y="950"/>
                  </a:lnTo>
                  <a:lnTo>
                    <a:pt x="5078" y="958"/>
                  </a:lnTo>
                  <a:lnTo>
                    <a:pt x="5078" y="964"/>
                  </a:lnTo>
                  <a:lnTo>
                    <a:pt x="5080" y="968"/>
                  </a:lnTo>
                  <a:lnTo>
                    <a:pt x="5084" y="972"/>
                  </a:lnTo>
                  <a:lnTo>
                    <a:pt x="5088" y="974"/>
                  </a:lnTo>
                  <a:lnTo>
                    <a:pt x="5100" y="978"/>
                  </a:lnTo>
                  <a:lnTo>
                    <a:pt x="5110" y="982"/>
                  </a:lnTo>
                  <a:lnTo>
                    <a:pt x="5114" y="986"/>
                  </a:lnTo>
                  <a:lnTo>
                    <a:pt x="5116" y="988"/>
                  </a:lnTo>
                  <a:lnTo>
                    <a:pt x="5116" y="992"/>
                  </a:lnTo>
                  <a:lnTo>
                    <a:pt x="5114" y="998"/>
                  </a:lnTo>
                  <a:lnTo>
                    <a:pt x="5108" y="1004"/>
                  </a:lnTo>
                  <a:lnTo>
                    <a:pt x="5100" y="1012"/>
                  </a:lnTo>
                  <a:lnTo>
                    <a:pt x="5084" y="1024"/>
                  </a:lnTo>
                  <a:lnTo>
                    <a:pt x="5076" y="1028"/>
                  </a:lnTo>
                  <a:lnTo>
                    <a:pt x="5072" y="1030"/>
                  </a:lnTo>
                  <a:lnTo>
                    <a:pt x="5068" y="1028"/>
                  </a:lnTo>
                  <a:lnTo>
                    <a:pt x="5064" y="1026"/>
                  </a:lnTo>
                  <a:lnTo>
                    <a:pt x="5058" y="1020"/>
                  </a:lnTo>
                  <a:lnTo>
                    <a:pt x="5052" y="1012"/>
                  </a:lnTo>
                  <a:lnTo>
                    <a:pt x="5044" y="1004"/>
                  </a:lnTo>
                  <a:lnTo>
                    <a:pt x="5040" y="1000"/>
                  </a:lnTo>
                  <a:lnTo>
                    <a:pt x="5034" y="996"/>
                  </a:lnTo>
                  <a:lnTo>
                    <a:pt x="5028" y="996"/>
                  </a:lnTo>
                  <a:lnTo>
                    <a:pt x="5020" y="994"/>
                  </a:lnTo>
                  <a:lnTo>
                    <a:pt x="5012" y="994"/>
                  </a:lnTo>
                  <a:lnTo>
                    <a:pt x="5006" y="992"/>
                  </a:lnTo>
                  <a:lnTo>
                    <a:pt x="5004" y="990"/>
                  </a:lnTo>
                  <a:lnTo>
                    <a:pt x="5002" y="988"/>
                  </a:lnTo>
                  <a:lnTo>
                    <a:pt x="5000" y="978"/>
                  </a:lnTo>
                  <a:lnTo>
                    <a:pt x="5000" y="970"/>
                  </a:lnTo>
                  <a:lnTo>
                    <a:pt x="5000" y="962"/>
                  </a:lnTo>
                  <a:lnTo>
                    <a:pt x="4998" y="960"/>
                  </a:lnTo>
                  <a:lnTo>
                    <a:pt x="4994" y="958"/>
                  </a:lnTo>
                  <a:lnTo>
                    <a:pt x="4988" y="956"/>
                  </a:lnTo>
                  <a:lnTo>
                    <a:pt x="4980" y="958"/>
                  </a:lnTo>
                  <a:lnTo>
                    <a:pt x="4958" y="964"/>
                  </a:lnTo>
                  <a:lnTo>
                    <a:pt x="4944" y="968"/>
                  </a:lnTo>
                  <a:lnTo>
                    <a:pt x="4930" y="970"/>
                  </a:lnTo>
                  <a:lnTo>
                    <a:pt x="4920" y="972"/>
                  </a:lnTo>
                  <a:lnTo>
                    <a:pt x="4908" y="972"/>
                  </a:lnTo>
                  <a:lnTo>
                    <a:pt x="4890" y="968"/>
                  </a:lnTo>
                  <a:lnTo>
                    <a:pt x="4870" y="964"/>
                  </a:lnTo>
                  <a:lnTo>
                    <a:pt x="4850" y="958"/>
                  </a:lnTo>
                  <a:lnTo>
                    <a:pt x="4828" y="954"/>
                  </a:lnTo>
                  <a:lnTo>
                    <a:pt x="4814" y="954"/>
                  </a:lnTo>
                  <a:lnTo>
                    <a:pt x="4800" y="954"/>
                  </a:lnTo>
                  <a:lnTo>
                    <a:pt x="4784" y="956"/>
                  </a:lnTo>
                  <a:lnTo>
                    <a:pt x="4766" y="958"/>
                  </a:lnTo>
                  <a:lnTo>
                    <a:pt x="4732" y="966"/>
                  </a:lnTo>
                  <a:lnTo>
                    <a:pt x="4706" y="966"/>
                  </a:lnTo>
                  <a:lnTo>
                    <a:pt x="4686" y="964"/>
                  </a:lnTo>
                  <a:lnTo>
                    <a:pt x="4674" y="960"/>
                  </a:lnTo>
                  <a:lnTo>
                    <a:pt x="4668" y="956"/>
                  </a:lnTo>
                  <a:lnTo>
                    <a:pt x="4666" y="952"/>
                  </a:lnTo>
                  <a:lnTo>
                    <a:pt x="4662" y="944"/>
                  </a:lnTo>
                  <a:lnTo>
                    <a:pt x="4664" y="934"/>
                  </a:lnTo>
                  <a:lnTo>
                    <a:pt x="4668" y="924"/>
                  </a:lnTo>
                  <a:lnTo>
                    <a:pt x="4670" y="918"/>
                  </a:lnTo>
                  <a:lnTo>
                    <a:pt x="4670" y="912"/>
                  </a:lnTo>
                  <a:lnTo>
                    <a:pt x="4668" y="906"/>
                  </a:lnTo>
                  <a:lnTo>
                    <a:pt x="4662" y="898"/>
                  </a:lnTo>
                  <a:lnTo>
                    <a:pt x="4656" y="892"/>
                  </a:lnTo>
                  <a:lnTo>
                    <a:pt x="4648" y="884"/>
                  </a:lnTo>
                  <a:lnTo>
                    <a:pt x="4636" y="878"/>
                  </a:lnTo>
                  <a:lnTo>
                    <a:pt x="4624" y="872"/>
                  </a:lnTo>
                  <a:lnTo>
                    <a:pt x="4608" y="868"/>
                  </a:lnTo>
                  <a:lnTo>
                    <a:pt x="4592" y="862"/>
                  </a:lnTo>
                  <a:lnTo>
                    <a:pt x="4572" y="860"/>
                  </a:lnTo>
                  <a:lnTo>
                    <a:pt x="4552" y="856"/>
                  </a:lnTo>
                  <a:lnTo>
                    <a:pt x="4528" y="856"/>
                  </a:lnTo>
                  <a:lnTo>
                    <a:pt x="4504" y="856"/>
                  </a:lnTo>
                  <a:lnTo>
                    <a:pt x="4476" y="860"/>
                  </a:lnTo>
                  <a:lnTo>
                    <a:pt x="4448" y="864"/>
                  </a:lnTo>
                  <a:lnTo>
                    <a:pt x="4420" y="868"/>
                  </a:lnTo>
                  <a:lnTo>
                    <a:pt x="4396" y="870"/>
                  </a:lnTo>
                  <a:lnTo>
                    <a:pt x="4374" y="868"/>
                  </a:lnTo>
                  <a:lnTo>
                    <a:pt x="4358" y="866"/>
                  </a:lnTo>
                  <a:lnTo>
                    <a:pt x="4342" y="860"/>
                  </a:lnTo>
                  <a:lnTo>
                    <a:pt x="4328" y="854"/>
                  </a:lnTo>
                  <a:lnTo>
                    <a:pt x="4318" y="848"/>
                  </a:lnTo>
                  <a:lnTo>
                    <a:pt x="4308" y="840"/>
                  </a:lnTo>
                  <a:lnTo>
                    <a:pt x="4292" y="822"/>
                  </a:lnTo>
                  <a:lnTo>
                    <a:pt x="4278" y="804"/>
                  </a:lnTo>
                  <a:lnTo>
                    <a:pt x="4264" y="788"/>
                  </a:lnTo>
                  <a:lnTo>
                    <a:pt x="4256" y="782"/>
                  </a:lnTo>
                  <a:lnTo>
                    <a:pt x="4246" y="778"/>
                  </a:lnTo>
                  <a:lnTo>
                    <a:pt x="4228" y="772"/>
                  </a:lnTo>
                  <a:lnTo>
                    <a:pt x="4214" y="768"/>
                  </a:lnTo>
                  <a:lnTo>
                    <a:pt x="4186" y="768"/>
                  </a:lnTo>
                  <a:lnTo>
                    <a:pt x="4154" y="764"/>
                  </a:lnTo>
                  <a:lnTo>
                    <a:pt x="4130" y="762"/>
                  </a:lnTo>
                  <a:lnTo>
                    <a:pt x="4100" y="754"/>
                  </a:lnTo>
                  <a:lnTo>
                    <a:pt x="4068" y="748"/>
                  </a:lnTo>
                  <a:lnTo>
                    <a:pt x="4044" y="744"/>
                  </a:lnTo>
                  <a:lnTo>
                    <a:pt x="4002" y="740"/>
                  </a:lnTo>
                  <a:lnTo>
                    <a:pt x="3964" y="738"/>
                  </a:lnTo>
                  <a:lnTo>
                    <a:pt x="3944" y="734"/>
                  </a:lnTo>
                  <a:lnTo>
                    <a:pt x="3922" y="730"/>
                  </a:lnTo>
                  <a:lnTo>
                    <a:pt x="3902" y="724"/>
                  </a:lnTo>
                  <a:lnTo>
                    <a:pt x="3892" y="724"/>
                  </a:lnTo>
                  <a:lnTo>
                    <a:pt x="3892" y="726"/>
                  </a:lnTo>
                  <a:lnTo>
                    <a:pt x="3890" y="728"/>
                  </a:lnTo>
                  <a:lnTo>
                    <a:pt x="3890" y="734"/>
                  </a:lnTo>
                  <a:lnTo>
                    <a:pt x="3892" y="740"/>
                  </a:lnTo>
                  <a:lnTo>
                    <a:pt x="3890" y="744"/>
                  </a:lnTo>
                  <a:lnTo>
                    <a:pt x="3888" y="746"/>
                  </a:lnTo>
                  <a:lnTo>
                    <a:pt x="3882" y="750"/>
                  </a:lnTo>
                  <a:lnTo>
                    <a:pt x="3876" y="752"/>
                  </a:lnTo>
                  <a:lnTo>
                    <a:pt x="3854" y="754"/>
                  </a:lnTo>
                  <a:lnTo>
                    <a:pt x="3842" y="756"/>
                  </a:lnTo>
                  <a:lnTo>
                    <a:pt x="3834" y="758"/>
                  </a:lnTo>
                  <a:lnTo>
                    <a:pt x="3830" y="764"/>
                  </a:lnTo>
                  <a:lnTo>
                    <a:pt x="3830" y="768"/>
                  </a:lnTo>
                  <a:lnTo>
                    <a:pt x="3832" y="776"/>
                  </a:lnTo>
                  <a:lnTo>
                    <a:pt x="3836" y="782"/>
                  </a:lnTo>
                  <a:lnTo>
                    <a:pt x="3846" y="798"/>
                  </a:lnTo>
                  <a:lnTo>
                    <a:pt x="3856" y="812"/>
                  </a:lnTo>
                  <a:lnTo>
                    <a:pt x="3860" y="818"/>
                  </a:lnTo>
                  <a:lnTo>
                    <a:pt x="3862" y="822"/>
                  </a:lnTo>
                  <a:lnTo>
                    <a:pt x="3860" y="826"/>
                  </a:lnTo>
                  <a:lnTo>
                    <a:pt x="3856" y="828"/>
                  </a:lnTo>
                  <a:lnTo>
                    <a:pt x="3848" y="826"/>
                  </a:lnTo>
                  <a:lnTo>
                    <a:pt x="3836" y="824"/>
                  </a:lnTo>
                  <a:lnTo>
                    <a:pt x="3810" y="818"/>
                  </a:lnTo>
                  <a:lnTo>
                    <a:pt x="3792" y="818"/>
                  </a:lnTo>
                  <a:lnTo>
                    <a:pt x="3778" y="818"/>
                  </a:lnTo>
                  <a:lnTo>
                    <a:pt x="3770" y="820"/>
                  </a:lnTo>
                  <a:lnTo>
                    <a:pt x="3760" y="824"/>
                  </a:lnTo>
                  <a:lnTo>
                    <a:pt x="3750" y="824"/>
                  </a:lnTo>
                  <a:lnTo>
                    <a:pt x="3736" y="824"/>
                  </a:lnTo>
                  <a:lnTo>
                    <a:pt x="3716" y="820"/>
                  </a:lnTo>
                  <a:lnTo>
                    <a:pt x="3704" y="818"/>
                  </a:lnTo>
                  <a:lnTo>
                    <a:pt x="3694" y="818"/>
                  </a:lnTo>
                  <a:lnTo>
                    <a:pt x="3686" y="818"/>
                  </a:lnTo>
                  <a:lnTo>
                    <a:pt x="3676" y="820"/>
                  </a:lnTo>
                  <a:lnTo>
                    <a:pt x="3662" y="826"/>
                  </a:lnTo>
                  <a:lnTo>
                    <a:pt x="3650" y="832"/>
                  </a:lnTo>
                  <a:lnTo>
                    <a:pt x="3638" y="836"/>
                  </a:lnTo>
                  <a:lnTo>
                    <a:pt x="3632" y="838"/>
                  </a:lnTo>
                  <a:lnTo>
                    <a:pt x="3624" y="836"/>
                  </a:lnTo>
                  <a:lnTo>
                    <a:pt x="3616" y="836"/>
                  </a:lnTo>
                  <a:lnTo>
                    <a:pt x="3608" y="832"/>
                  </a:lnTo>
                  <a:lnTo>
                    <a:pt x="3598" y="826"/>
                  </a:lnTo>
                  <a:lnTo>
                    <a:pt x="3586" y="818"/>
                  </a:lnTo>
                  <a:lnTo>
                    <a:pt x="3576" y="812"/>
                  </a:lnTo>
                  <a:lnTo>
                    <a:pt x="3566" y="810"/>
                  </a:lnTo>
                  <a:lnTo>
                    <a:pt x="3558" y="810"/>
                  </a:lnTo>
                  <a:lnTo>
                    <a:pt x="3552" y="814"/>
                  </a:lnTo>
                  <a:lnTo>
                    <a:pt x="3546" y="820"/>
                  </a:lnTo>
                  <a:lnTo>
                    <a:pt x="3540" y="828"/>
                  </a:lnTo>
                  <a:lnTo>
                    <a:pt x="3530" y="848"/>
                  </a:lnTo>
                  <a:lnTo>
                    <a:pt x="3520" y="864"/>
                  </a:lnTo>
                  <a:lnTo>
                    <a:pt x="3514" y="872"/>
                  </a:lnTo>
                  <a:lnTo>
                    <a:pt x="3508" y="876"/>
                  </a:lnTo>
                  <a:lnTo>
                    <a:pt x="3500" y="878"/>
                  </a:lnTo>
                  <a:lnTo>
                    <a:pt x="3492" y="878"/>
                  </a:lnTo>
                  <a:lnTo>
                    <a:pt x="3482" y="872"/>
                  </a:lnTo>
                  <a:lnTo>
                    <a:pt x="3470" y="864"/>
                  </a:lnTo>
                  <a:lnTo>
                    <a:pt x="3428" y="824"/>
                  </a:lnTo>
                  <a:lnTo>
                    <a:pt x="3402" y="796"/>
                  </a:lnTo>
                  <a:lnTo>
                    <a:pt x="3390" y="784"/>
                  </a:lnTo>
                  <a:lnTo>
                    <a:pt x="3380" y="776"/>
                  </a:lnTo>
                  <a:lnTo>
                    <a:pt x="3368" y="768"/>
                  </a:lnTo>
                  <a:lnTo>
                    <a:pt x="3352" y="762"/>
                  </a:lnTo>
                  <a:lnTo>
                    <a:pt x="3346" y="760"/>
                  </a:lnTo>
                  <a:lnTo>
                    <a:pt x="3342" y="760"/>
                  </a:lnTo>
                  <a:lnTo>
                    <a:pt x="3338" y="762"/>
                  </a:lnTo>
                  <a:lnTo>
                    <a:pt x="3338" y="764"/>
                  </a:lnTo>
                  <a:lnTo>
                    <a:pt x="3340" y="772"/>
                  </a:lnTo>
                  <a:lnTo>
                    <a:pt x="3344" y="782"/>
                  </a:lnTo>
                  <a:lnTo>
                    <a:pt x="3348" y="792"/>
                  </a:lnTo>
                  <a:lnTo>
                    <a:pt x="3350" y="798"/>
                  </a:lnTo>
                  <a:lnTo>
                    <a:pt x="3348" y="798"/>
                  </a:lnTo>
                  <a:lnTo>
                    <a:pt x="3346" y="798"/>
                  </a:lnTo>
                  <a:lnTo>
                    <a:pt x="3336" y="790"/>
                  </a:lnTo>
                  <a:lnTo>
                    <a:pt x="3318" y="778"/>
                  </a:lnTo>
                  <a:lnTo>
                    <a:pt x="3296" y="766"/>
                  </a:lnTo>
                  <a:lnTo>
                    <a:pt x="3270" y="754"/>
                  </a:lnTo>
                  <a:lnTo>
                    <a:pt x="3242" y="744"/>
                  </a:lnTo>
                  <a:lnTo>
                    <a:pt x="3208" y="734"/>
                  </a:lnTo>
                  <a:lnTo>
                    <a:pt x="3170" y="728"/>
                  </a:lnTo>
                  <a:lnTo>
                    <a:pt x="3128" y="722"/>
                  </a:lnTo>
                  <a:lnTo>
                    <a:pt x="3082" y="716"/>
                  </a:lnTo>
                  <a:lnTo>
                    <a:pt x="3030" y="712"/>
                  </a:lnTo>
                  <a:lnTo>
                    <a:pt x="3012" y="708"/>
                  </a:lnTo>
                  <a:lnTo>
                    <a:pt x="3000" y="704"/>
                  </a:lnTo>
                  <a:lnTo>
                    <a:pt x="2994" y="702"/>
                  </a:lnTo>
                  <a:lnTo>
                    <a:pt x="2992" y="698"/>
                  </a:lnTo>
                  <a:lnTo>
                    <a:pt x="2992" y="694"/>
                  </a:lnTo>
                  <a:lnTo>
                    <a:pt x="2994" y="690"/>
                  </a:lnTo>
                  <a:lnTo>
                    <a:pt x="3002" y="684"/>
                  </a:lnTo>
                  <a:lnTo>
                    <a:pt x="3008" y="678"/>
                  </a:lnTo>
                  <a:lnTo>
                    <a:pt x="3008" y="676"/>
                  </a:lnTo>
                  <a:lnTo>
                    <a:pt x="3006" y="674"/>
                  </a:lnTo>
                  <a:lnTo>
                    <a:pt x="3002" y="672"/>
                  </a:lnTo>
                  <a:lnTo>
                    <a:pt x="2992" y="670"/>
                  </a:lnTo>
                  <a:lnTo>
                    <a:pt x="2946" y="666"/>
                  </a:lnTo>
                  <a:lnTo>
                    <a:pt x="2904" y="664"/>
                  </a:lnTo>
                  <a:lnTo>
                    <a:pt x="2864" y="664"/>
                  </a:lnTo>
                  <a:lnTo>
                    <a:pt x="2844" y="666"/>
                  </a:lnTo>
                  <a:lnTo>
                    <a:pt x="2822" y="670"/>
                  </a:lnTo>
                  <a:lnTo>
                    <a:pt x="2814" y="670"/>
                  </a:lnTo>
                  <a:lnTo>
                    <a:pt x="2806" y="670"/>
                  </a:lnTo>
                  <a:lnTo>
                    <a:pt x="2800" y="670"/>
                  </a:lnTo>
                  <a:lnTo>
                    <a:pt x="2794" y="668"/>
                  </a:lnTo>
                  <a:lnTo>
                    <a:pt x="2790" y="662"/>
                  </a:lnTo>
                  <a:lnTo>
                    <a:pt x="2786" y="654"/>
                  </a:lnTo>
                  <a:lnTo>
                    <a:pt x="2784" y="648"/>
                  </a:lnTo>
                  <a:lnTo>
                    <a:pt x="2780" y="644"/>
                  </a:lnTo>
                  <a:lnTo>
                    <a:pt x="2778" y="642"/>
                  </a:lnTo>
                  <a:lnTo>
                    <a:pt x="2774" y="642"/>
                  </a:lnTo>
                  <a:lnTo>
                    <a:pt x="2762" y="648"/>
                  </a:lnTo>
                  <a:lnTo>
                    <a:pt x="2748" y="654"/>
                  </a:lnTo>
                  <a:lnTo>
                    <a:pt x="2738" y="654"/>
                  </a:lnTo>
                  <a:lnTo>
                    <a:pt x="2730" y="652"/>
                  </a:lnTo>
                  <a:lnTo>
                    <a:pt x="2722" y="648"/>
                  </a:lnTo>
                  <a:lnTo>
                    <a:pt x="2714" y="644"/>
                  </a:lnTo>
                  <a:lnTo>
                    <a:pt x="2704" y="640"/>
                  </a:lnTo>
                  <a:lnTo>
                    <a:pt x="2692" y="638"/>
                  </a:lnTo>
                  <a:lnTo>
                    <a:pt x="2676" y="640"/>
                  </a:lnTo>
                  <a:lnTo>
                    <a:pt x="2660" y="644"/>
                  </a:lnTo>
                  <a:lnTo>
                    <a:pt x="2652" y="650"/>
                  </a:lnTo>
                  <a:lnTo>
                    <a:pt x="2650" y="658"/>
                  </a:lnTo>
                  <a:lnTo>
                    <a:pt x="2648" y="664"/>
                  </a:lnTo>
                  <a:lnTo>
                    <a:pt x="2642" y="672"/>
                  </a:lnTo>
                  <a:lnTo>
                    <a:pt x="2634" y="680"/>
                  </a:lnTo>
                  <a:lnTo>
                    <a:pt x="2614" y="686"/>
                  </a:lnTo>
                  <a:lnTo>
                    <a:pt x="2586" y="692"/>
                  </a:lnTo>
                  <a:lnTo>
                    <a:pt x="2554" y="696"/>
                  </a:lnTo>
                  <a:lnTo>
                    <a:pt x="2530" y="698"/>
                  </a:lnTo>
                  <a:lnTo>
                    <a:pt x="2516" y="696"/>
                  </a:lnTo>
                  <a:lnTo>
                    <a:pt x="2512" y="694"/>
                  </a:lnTo>
                  <a:lnTo>
                    <a:pt x="2512" y="692"/>
                  </a:lnTo>
                  <a:lnTo>
                    <a:pt x="2512" y="690"/>
                  </a:lnTo>
                  <a:lnTo>
                    <a:pt x="2516" y="686"/>
                  </a:lnTo>
                  <a:lnTo>
                    <a:pt x="2528" y="676"/>
                  </a:lnTo>
                  <a:lnTo>
                    <a:pt x="2550" y="666"/>
                  </a:lnTo>
                  <a:lnTo>
                    <a:pt x="2580" y="652"/>
                  </a:lnTo>
                  <a:lnTo>
                    <a:pt x="2610" y="640"/>
                  </a:lnTo>
                  <a:lnTo>
                    <a:pt x="2632" y="628"/>
                  </a:lnTo>
                  <a:lnTo>
                    <a:pt x="2660" y="610"/>
                  </a:lnTo>
                  <a:lnTo>
                    <a:pt x="2672" y="602"/>
                  </a:lnTo>
                  <a:lnTo>
                    <a:pt x="2688" y="594"/>
                  </a:lnTo>
                  <a:lnTo>
                    <a:pt x="2706" y="586"/>
                  </a:lnTo>
                  <a:lnTo>
                    <a:pt x="2734" y="576"/>
                  </a:lnTo>
                  <a:lnTo>
                    <a:pt x="2762" y="566"/>
                  </a:lnTo>
                  <a:lnTo>
                    <a:pt x="2782" y="554"/>
                  </a:lnTo>
                  <a:lnTo>
                    <a:pt x="2788" y="548"/>
                  </a:lnTo>
                  <a:lnTo>
                    <a:pt x="2794" y="542"/>
                  </a:lnTo>
                  <a:lnTo>
                    <a:pt x="2802" y="528"/>
                  </a:lnTo>
                  <a:lnTo>
                    <a:pt x="2806" y="514"/>
                  </a:lnTo>
                  <a:lnTo>
                    <a:pt x="2806" y="502"/>
                  </a:lnTo>
                  <a:lnTo>
                    <a:pt x="2802" y="490"/>
                  </a:lnTo>
                  <a:lnTo>
                    <a:pt x="2798" y="478"/>
                  </a:lnTo>
                  <a:lnTo>
                    <a:pt x="2792" y="470"/>
                  </a:lnTo>
                  <a:lnTo>
                    <a:pt x="2784" y="464"/>
                  </a:lnTo>
                  <a:lnTo>
                    <a:pt x="2776" y="462"/>
                  </a:lnTo>
                  <a:lnTo>
                    <a:pt x="2768" y="460"/>
                  </a:lnTo>
                  <a:lnTo>
                    <a:pt x="2748" y="454"/>
                  </a:lnTo>
                  <a:lnTo>
                    <a:pt x="2738" y="448"/>
                  </a:lnTo>
                  <a:lnTo>
                    <a:pt x="2724" y="438"/>
                  </a:lnTo>
                  <a:lnTo>
                    <a:pt x="2712" y="430"/>
                  </a:lnTo>
                  <a:lnTo>
                    <a:pt x="2700" y="426"/>
                  </a:lnTo>
                  <a:lnTo>
                    <a:pt x="2686" y="424"/>
                  </a:lnTo>
                  <a:lnTo>
                    <a:pt x="2672" y="424"/>
                  </a:lnTo>
                  <a:lnTo>
                    <a:pt x="2644" y="428"/>
                  </a:lnTo>
                  <a:lnTo>
                    <a:pt x="2628" y="428"/>
                  </a:lnTo>
                  <a:lnTo>
                    <a:pt x="2612" y="426"/>
                  </a:lnTo>
                  <a:lnTo>
                    <a:pt x="2598" y="424"/>
                  </a:lnTo>
                  <a:lnTo>
                    <a:pt x="2590" y="424"/>
                  </a:lnTo>
                  <a:lnTo>
                    <a:pt x="2582" y="426"/>
                  </a:lnTo>
                  <a:lnTo>
                    <a:pt x="2578" y="428"/>
                  </a:lnTo>
                  <a:lnTo>
                    <a:pt x="2574" y="432"/>
                  </a:lnTo>
                  <a:lnTo>
                    <a:pt x="2566" y="436"/>
                  </a:lnTo>
                  <a:lnTo>
                    <a:pt x="2554" y="440"/>
                  </a:lnTo>
                  <a:lnTo>
                    <a:pt x="2538" y="444"/>
                  </a:lnTo>
                  <a:lnTo>
                    <a:pt x="2516" y="444"/>
                  </a:lnTo>
                  <a:lnTo>
                    <a:pt x="2512" y="444"/>
                  </a:lnTo>
                  <a:lnTo>
                    <a:pt x="2512" y="442"/>
                  </a:lnTo>
                  <a:lnTo>
                    <a:pt x="2516" y="436"/>
                  </a:lnTo>
                  <a:lnTo>
                    <a:pt x="2528" y="428"/>
                  </a:lnTo>
                  <a:lnTo>
                    <a:pt x="2538" y="420"/>
                  </a:lnTo>
                  <a:lnTo>
                    <a:pt x="2540" y="416"/>
                  </a:lnTo>
                  <a:lnTo>
                    <a:pt x="2542" y="412"/>
                  </a:lnTo>
                  <a:lnTo>
                    <a:pt x="2540" y="410"/>
                  </a:lnTo>
                  <a:lnTo>
                    <a:pt x="2534" y="406"/>
                  </a:lnTo>
                  <a:lnTo>
                    <a:pt x="2524" y="404"/>
                  </a:lnTo>
                  <a:lnTo>
                    <a:pt x="2508" y="402"/>
                  </a:lnTo>
                  <a:lnTo>
                    <a:pt x="2478" y="400"/>
                  </a:lnTo>
                  <a:lnTo>
                    <a:pt x="2458" y="398"/>
                  </a:lnTo>
                  <a:lnTo>
                    <a:pt x="2448" y="394"/>
                  </a:lnTo>
                  <a:lnTo>
                    <a:pt x="2446" y="394"/>
                  </a:lnTo>
                  <a:lnTo>
                    <a:pt x="2446" y="392"/>
                  </a:lnTo>
                  <a:lnTo>
                    <a:pt x="2450" y="388"/>
                  </a:lnTo>
                  <a:lnTo>
                    <a:pt x="2458" y="386"/>
                  </a:lnTo>
                  <a:lnTo>
                    <a:pt x="2486" y="378"/>
                  </a:lnTo>
                  <a:lnTo>
                    <a:pt x="2492" y="376"/>
                  </a:lnTo>
                  <a:lnTo>
                    <a:pt x="2496" y="374"/>
                  </a:lnTo>
                  <a:lnTo>
                    <a:pt x="2496" y="370"/>
                  </a:lnTo>
                  <a:lnTo>
                    <a:pt x="2496" y="366"/>
                  </a:lnTo>
                  <a:lnTo>
                    <a:pt x="2492" y="364"/>
                  </a:lnTo>
                  <a:lnTo>
                    <a:pt x="2486" y="360"/>
                  </a:lnTo>
                  <a:lnTo>
                    <a:pt x="2470" y="352"/>
                  </a:lnTo>
                  <a:lnTo>
                    <a:pt x="2448" y="348"/>
                  </a:lnTo>
                  <a:lnTo>
                    <a:pt x="2422" y="348"/>
                  </a:lnTo>
                  <a:lnTo>
                    <a:pt x="2408" y="348"/>
                  </a:lnTo>
                  <a:lnTo>
                    <a:pt x="2392" y="352"/>
                  </a:lnTo>
                  <a:lnTo>
                    <a:pt x="2378" y="356"/>
                  </a:lnTo>
                  <a:lnTo>
                    <a:pt x="2362" y="362"/>
                  </a:lnTo>
                  <a:lnTo>
                    <a:pt x="2342" y="370"/>
                  </a:lnTo>
                  <a:lnTo>
                    <a:pt x="2326" y="380"/>
                  </a:lnTo>
                  <a:lnTo>
                    <a:pt x="2314" y="388"/>
                  </a:lnTo>
                  <a:lnTo>
                    <a:pt x="2304" y="396"/>
                  </a:lnTo>
                  <a:lnTo>
                    <a:pt x="2296" y="402"/>
                  </a:lnTo>
                  <a:lnTo>
                    <a:pt x="2292" y="408"/>
                  </a:lnTo>
                  <a:lnTo>
                    <a:pt x="2286" y="420"/>
                  </a:lnTo>
                  <a:lnTo>
                    <a:pt x="2284" y="428"/>
                  </a:lnTo>
                  <a:lnTo>
                    <a:pt x="2280" y="434"/>
                  </a:lnTo>
                  <a:lnTo>
                    <a:pt x="2276" y="436"/>
                  </a:lnTo>
                  <a:lnTo>
                    <a:pt x="2272" y="438"/>
                  </a:lnTo>
                  <a:lnTo>
                    <a:pt x="2256" y="440"/>
                  </a:lnTo>
                  <a:lnTo>
                    <a:pt x="2224" y="442"/>
                  </a:lnTo>
                  <a:lnTo>
                    <a:pt x="2208" y="444"/>
                  </a:lnTo>
                  <a:lnTo>
                    <a:pt x="2206" y="444"/>
                  </a:lnTo>
                  <a:lnTo>
                    <a:pt x="2206" y="446"/>
                  </a:lnTo>
                  <a:lnTo>
                    <a:pt x="2206" y="448"/>
                  </a:lnTo>
                  <a:lnTo>
                    <a:pt x="2210" y="452"/>
                  </a:lnTo>
                  <a:lnTo>
                    <a:pt x="2208" y="456"/>
                  </a:lnTo>
                  <a:lnTo>
                    <a:pt x="2206" y="458"/>
                  </a:lnTo>
                  <a:lnTo>
                    <a:pt x="2192" y="464"/>
                  </a:lnTo>
                  <a:lnTo>
                    <a:pt x="2162" y="472"/>
                  </a:lnTo>
                  <a:lnTo>
                    <a:pt x="2132" y="478"/>
                  </a:lnTo>
                  <a:lnTo>
                    <a:pt x="2118" y="478"/>
                  </a:lnTo>
                  <a:lnTo>
                    <a:pt x="2114" y="476"/>
                  </a:lnTo>
                  <a:lnTo>
                    <a:pt x="2112" y="474"/>
                  </a:lnTo>
                  <a:lnTo>
                    <a:pt x="2112" y="470"/>
                  </a:lnTo>
                  <a:lnTo>
                    <a:pt x="2110" y="468"/>
                  </a:lnTo>
                  <a:lnTo>
                    <a:pt x="2108" y="464"/>
                  </a:lnTo>
                  <a:lnTo>
                    <a:pt x="2106" y="462"/>
                  </a:lnTo>
                  <a:lnTo>
                    <a:pt x="2098" y="462"/>
                  </a:lnTo>
                  <a:lnTo>
                    <a:pt x="2076" y="460"/>
                  </a:lnTo>
                  <a:lnTo>
                    <a:pt x="2034" y="464"/>
                  </a:lnTo>
                  <a:lnTo>
                    <a:pt x="1994" y="472"/>
                  </a:lnTo>
                  <a:lnTo>
                    <a:pt x="1982" y="474"/>
                  </a:lnTo>
                  <a:lnTo>
                    <a:pt x="1974" y="478"/>
                  </a:lnTo>
                  <a:lnTo>
                    <a:pt x="1970" y="482"/>
                  </a:lnTo>
                  <a:lnTo>
                    <a:pt x="1968" y="484"/>
                  </a:lnTo>
                  <a:lnTo>
                    <a:pt x="1970" y="490"/>
                  </a:lnTo>
                  <a:lnTo>
                    <a:pt x="1970" y="494"/>
                  </a:lnTo>
                  <a:lnTo>
                    <a:pt x="1970" y="496"/>
                  </a:lnTo>
                  <a:lnTo>
                    <a:pt x="1968" y="500"/>
                  </a:lnTo>
                  <a:lnTo>
                    <a:pt x="1964" y="502"/>
                  </a:lnTo>
                  <a:lnTo>
                    <a:pt x="1954" y="504"/>
                  </a:lnTo>
                  <a:lnTo>
                    <a:pt x="1942" y="506"/>
                  </a:lnTo>
                  <a:lnTo>
                    <a:pt x="1898" y="512"/>
                  </a:lnTo>
                  <a:lnTo>
                    <a:pt x="1850" y="516"/>
                  </a:lnTo>
                  <a:lnTo>
                    <a:pt x="1818" y="522"/>
                  </a:lnTo>
                  <a:lnTo>
                    <a:pt x="1800" y="526"/>
                  </a:lnTo>
                  <a:lnTo>
                    <a:pt x="1790" y="532"/>
                  </a:lnTo>
                  <a:lnTo>
                    <a:pt x="1784" y="538"/>
                  </a:lnTo>
                  <a:lnTo>
                    <a:pt x="1776" y="542"/>
                  </a:lnTo>
                  <a:lnTo>
                    <a:pt x="1764" y="546"/>
                  </a:lnTo>
                  <a:lnTo>
                    <a:pt x="1742" y="550"/>
                  </a:lnTo>
                  <a:lnTo>
                    <a:pt x="1728" y="550"/>
                  </a:lnTo>
                  <a:lnTo>
                    <a:pt x="1718" y="554"/>
                  </a:lnTo>
                  <a:lnTo>
                    <a:pt x="1708" y="558"/>
                  </a:lnTo>
                  <a:lnTo>
                    <a:pt x="1698" y="562"/>
                  </a:lnTo>
                  <a:lnTo>
                    <a:pt x="1692" y="566"/>
                  </a:lnTo>
                  <a:lnTo>
                    <a:pt x="1686" y="572"/>
                  </a:lnTo>
                  <a:lnTo>
                    <a:pt x="1682" y="578"/>
                  </a:lnTo>
                  <a:lnTo>
                    <a:pt x="1680" y="584"/>
                  </a:lnTo>
                  <a:lnTo>
                    <a:pt x="1678" y="590"/>
                  </a:lnTo>
                  <a:lnTo>
                    <a:pt x="1678" y="596"/>
                  </a:lnTo>
                  <a:lnTo>
                    <a:pt x="1680" y="602"/>
                  </a:lnTo>
                  <a:lnTo>
                    <a:pt x="1682" y="608"/>
                  </a:lnTo>
                  <a:lnTo>
                    <a:pt x="1686" y="612"/>
                  </a:lnTo>
                  <a:lnTo>
                    <a:pt x="1690" y="616"/>
                  </a:lnTo>
                  <a:lnTo>
                    <a:pt x="1696" y="618"/>
                  </a:lnTo>
                  <a:lnTo>
                    <a:pt x="1704" y="620"/>
                  </a:lnTo>
                  <a:lnTo>
                    <a:pt x="1716" y="622"/>
                  </a:lnTo>
                  <a:lnTo>
                    <a:pt x="1724" y="624"/>
                  </a:lnTo>
                  <a:lnTo>
                    <a:pt x="1726" y="628"/>
                  </a:lnTo>
                  <a:lnTo>
                    <a:pt x="1724" y="634"/>
                  </a:lnTo>
                  <a:lnTo>
                    <a:pt x="1716" y="638"/>
                  </a:lnTo>
                  <a:lnTo>
                    <a:pt x="1704" y="644"/>
                  </a:lnTo>
                  <a:lnTo>
                    <a:pt x="1690" y="648"/>
                  </a:lnTo>
                  <a:lnTo>
                    <a:pt x="1672" y="652"/>
                  </a:lnTo>
                  <a:lnTo>
                    <a:pt x="1638" y="658"/>
                  </a:lnTo>
                  <a:lnTo>
                    <a:pt x="1604" y="662"/>
                  </a:lnTo>
                  <a:lnTo>
                    <a:pt x="1542" y="662"/>
                  </a:lnTo>
                  <a:lnTo>
                    <a:pt x="1514" y="662"/>
                  </a:lnTo>
                  <a:lnTo>
                    <a:pt x="1490" y="666"/>
                  </a:lnTo>
                  <a:lnTo>
                    <a:pt x="1480" y="668"/>
                  </a:lnTo>
                  <a:lnTo>
                    <a:pt x="1470" y="672"/>
                  </a:lnTo>
                  <a:lnTo>
                    <a:pt x="1462" y="676"/>
                  </a:lnTo>
                  <a:lnTo>
                    <a:pt x="1458" y="682"/>
                  </a:lnTo>
                  <a:lnTo>
                    <a:pt x="1450" y="692"/>
                  </a:lnTo>
                  <a:lnTo>
                    <a:pt x="1450" y="696"/>
                  </a:lnTo>
                  <a:lnTo>
                    <a:pt x="1452" y="698"/>
                  </a:lnTo>
                  <a:lnTo>
                    <a:pt x="1456" y="702"/>
                  </a:lnTo>
                  <a:lnTo>
                    <a:pt x="1462" y="704"/>
                  </a:lnTo>
                  <a:lnTo>
                    <a:pt x="1470" y="706"/>
                  </a:lnTo>
                  <a:lnTo>
                    <a:pt x="1476" y="710"/>
                  </a:lnTo>
                  <a:lnTo>
                    <a:pt x="1476" y="714"/>
                  </a:lnTo>
                  <a:lnTo>
                    <a:pt x="1476" y="718"/>
                  </a:lnTo>
                  <a:lnTo>
                    <a:pt x="1476" y="724"/>
                  </a:lnTo>
                  <a:lnTo>
                    <a:pt x="1472" y="732"/>
                  </a:lnTo>
                  <a:lnTo>
                    <a:pt x="1468" y="738"/>
                  </a:lnTo>
                  <a:lnTo>
                    <a:pt x="1468" y="744"/>
                  </a:lnTo>
                  <a:lnTo>
                    <a:pt x="1468" y="748"/>
                  </a:lnTo>
                  <a:lnTo>
                    <a:pt x="1472" y="752"/>
                  </a:lnTo>
                  <a:lnTo>
                    <a:pt x="1480" y="756"/>
                  </a:lnTo>
                  <a:lnTo>
                    <a:pt x="1492" y="758"/>
                  </a:lnTo>
                  <a:lnTo>
                    <a:pt x="1506" y="760"/>
                  </a:lnTo>
                  <a:lnTo>
                    <a:pt x="1520" y="764"/>
                  </a:lnTo>
                  <a:lnTo>
                    <a:pt x="1524" y="766"/>
                  </a:lnTo>
                  <a:lnTo>
                    <a:pt x="1528" y="770"/>
                  </a:lnTo>
                  <a:lnTo>
                    <a:pt x="1532" y="774"/>
                  </a:lnTo>
                  <a:lnTo>
                    <a:pt x="1532" y="780"/>
                  </a:lnTo>
                  <a:lnTo>
                    <a:pt x="1534" y="786"/>
                  </a:lnTo>
                  <a:lnTo>
                    <a:pt x="1536" y="790"/>
                  </a:lnTo>
                  <a:lnTo>
                    <a:pt x="1540" y="792"/>
                  </a:lnTo>
                  <a:lnTo>
                    <a:pt x="1546" y="794"/>
                  </a:lnTo>
                  <a:lnTo>
                    <a:pt x="1556" y="796"/>
                  </a:lnTo>
                  <a:lnTo>
                    <a:pt x="1568" y="796"/>
                  </a:lnTo>
                  <a:lnTo>
                    <a:pt x="1580" y="798"/>
                  </a:lnTo>
                  <a:lnTo>
                    <a:pt x="1584" y="800"/>
                  </a:lnTo>
                  <a:lnTo>
                    <a:pt x="1586" y="804"/>
                  </a:lnTo>
                  <a:lnTo>
                    <a:pt x="1588" y="806"/>
                  </a:lnTo>
                  <a:lnTo>
                    <a:pt x="1588" y="812"/>
                  </a:lnTo>
                  <a:lnTo>
                    <a:pt x="1586" y="818"/>
                  </a:lnTo>
                  <a:lnTo>
                    <a:pt x="1582" y="828"/>
                  </a:lnTo>
                  <a:lnTo>
                    <a:pt x="1578" y="836"/>
                  </a:lnTo>
                  <a:lnTo>
                    <a:pt x="1576" y="844"/>
                  </a:lnTo>
                  <a:lnTo>
                    <a:pt x="1576" y="852"/>
                  </a:lnTo>
                  <a:lnTo>
                    <a:pt x="1578" y="858"/>
                  </a:lnTo>
                  <a:lnTo>
                    <a:pt x="1582" y="868"/>
                  </a:lnTo>
                  <a:lnTo>
                    <a:pt x="1590" y="876"/>
                  </a:lnTo>
                  <a:lnTo>
                    <a:pt x="1596" y="882"/>
                  </a:lnTo>
                  <a:lnTo>
                    <a:pt x="1598" y="886"/>
                  </a:lnTo>
                  <a:lnTo>
                    <a:pt x="1598" y="890"/>
                  </a:lnTo>
                  <a:lnTo>
                    <a:pt x="1598" y="896"/>
                  </a:lnTo>
                  <a:lnTo>
                    <a:pt x="1596" y="900"/>
                  </a:lnTo>
                  <a:lnTo>
                    <a:pt x="1590" y="906"/>
                  </a:lnTo>
                  <a:lnTo>
                    <a:pt x="1584" y="912"/>
                  </a:lnTo>
                  <a:lnTo>
                    <a:pt x="1570" y="922"/>
                  </a:lnTo>
                  <a:lnTo>
                    <a:pt x="1566" y="924"/>
                  </a:lnTo>
                  <a:lnTo>
                    <a:pt x="1564" y="922"/>
                  </a:lnTo>
                  <a:lnTo>
                    <a:pt x="1566" y="912"/>
                  </a:lnTo>
                  <a:lnTo>
                    <a:pt x="1568" y="898"/>
                  </a:lnTo>
                  <a:lnTo>
                    <a:pt x="1572" y="884"/>
                  </a:lnTo>
                  <a:lnTo>
                    <a:pt x="1572" y="878"/>
                  </a:lnTo>
                  <a:lnTo>
                    <a:pt x="1572" y="872"/>
                  </a:lnTo>
                  <a:lnTo>
                    <a:pt x="1570" y="866"/>
                  </a:lnTo>
                  <a:lnTo>
                    <a:pt x="1566" y="864"/>
                  </a:lnTo>
                  <a:lnTo>
                    <a:pt x="1560" y="864"/>
                  </a:lnTo>
                  <a:lnTo>
                    <a:pt x="1552" y="866"/>
                  </a:lnTo>
                  <a:lnTo>
                    <a:pt x="1542" y="868"/>
                  </a:lnTo>
                  <a:lnTo>
                    <a:pt x="1538" y="868"/>
                  </a:lnTo>
                  <a:lnTo>
                    <a:pt x="1536" y="866"/>
                  </a:lnTo>
                  <a:lnTo>
                    <a:pt x="1536" y="864"/>
                  </a:lnTo>
                  <a:lnTo>
                    <a:pt x="1542" y="856"/>
                  </a:lnTo>
                  <a:lnTo>
                    <a:pt x="1550" y="844"/>
                  </a:lnTo>
                  <a:lnTo>
                    <a:pt x="1560" y="832"/>
                  </a:lnTo>
                  <a:lnTo>
                    <a:pt x="1562" y="826"/>
                  </a:lnTo>
                  <a:lnTo>
                    <a:pt x="1564" y="820"/>
                  </a:lnTo>
                  <a:lnTo>
                    <a:pt x="1562" y="816"/>
                  </a:lnTo>
                  <a:lnTo>
                    <a:pt x="1558" y="812"/>
                  </a:lnTo>
                  <a:lnTo>
                    <a:pt x="1552" y="810"/>
                  </a:lnTo>
                  <a:lnTo>
                    <a:pt x="1540" y="810"/>
                  </a:lnTo>
                  <a:lnTo>
                    <a:pt x="1518" y="810"/>
                  </a:lnTo>
                  <a:lnTo>
                    <a:pt x="1504" y="806"/>
                  </a:lnTo>
                  <a:lnTo>
                    <a:pt x="1492" y="798"/>
                  </a:lnTo>
                  <a:lnTo>
                    <a:pt x="1482" y="792"/>
                  </a:lnTo>
                  <a:lnTo>
                    <a:pt x="1472" y="782"/>
                  </a:lnTo>
                  <a:lnTo>
                    <a:pt x="1460" y="774"/>
                  </a:lnTo>
                  <a:lnTo>
                    <a:pt x="1442" y="768"/>
                  </a:lnTo>
                  <a:lnTo>
                    <a:pt x="1416" y="762"/>
                  </a:lnTo>
                  <a:lnTo>
                    <a:pt x="1400" y="760"/>
                  </a:lnTo>
                  <a:lnTo>
                    <a:pt x="1386" y="760"/>
                  </a:lnTo>
                  <a:lnTo>
                    <a:pt x="1374" y="760"/>
                  </a:lnTo>
                  <a:lnTo>
                    <a:pt x="1364" y="762"/>
                  </a:lnTo>
                  <a:lnTo>
                    <a:pt x="1358" y="764"/>
                  </a:lnTo>
                  <a:lnTo>
                    <a:pt x="1352" y="768"/>
                  </a:lnTo>
                  <a:lnTo>
                    <a:pt x="1346" y="776"/>
                  </a:lnTo>
                  <a:lnTo>
                    <a:pt x="1342" y="784"/>
                  </a:lnTo>
                  <a:lnTo>
                    <a:pt x="1340" y="790"/>
                  </a:lnTo>
                  <a:lnTo>
                    <a:pt x="1336" y="794"/>
                  </a:lnTo>
                  <a:lnTo>
                    <a:pt x="1334" y="794"/>
                  </a:lnTo>
                  <a:lnTo>
                    <a:pt x="1330" y="792"/>
                  </a:lnTo>
                  <a:lnTo>
                    <a:pt x="1316" y="788"/>
                  </a:lnTo>
                  <a:lnTo>
                    <a:pt x="1302" y="788"/>
                  </a:lnTo>
                  <a:lnTo>
                    <a:pt x="1292" y="792"/>
                  </a:lnTo>
                  <a:lnTo>
                    <a:pt x="1284" y="796"/>
                  </a:lnTo>
                  <a:lnTo>
                    <a:pt x="1282" y="800"/>
                  </a:lnTo>
                  <a:lnTo>
                    <a:pt x="1282" y="804"/>
                  </a:lnTo>
                  <a:lnTo>
                    <a:pt x="1282" y="808"/>
                  </a:lnTo>
                  <a:lnTo>
                    <a:pt x="1284" y="812"/>
                  </a:lnTo>
                  <a:lnTo>
                    <a:pt x="1288" y="816"/>
                  </a:lnTo>
                  <a:lnTo>
                    <a:pt x="1294" y="820"/>
                  </a:lnTo>
                  <a:lnTo>
                    <a:pt x="1314" y="828"/>
                  </a:lnTo>
                  <a:lnTo>
                    <a:pt x="1332" y="834"/>
                  </a:lnTo>
                  <a:lnTo>
                    <a:pt x="1342" y="840"/>
                  </a:lnTo>
                  <a:lnTo>
                    <a:pt x="1344" y="842"/>
                  </a:lnTo>
                  <a:lnTo>
                    <a:pt x="1344" y="844"/>
                  </a:lnTo>
                  <a:lnTo>
                    <a:pt x="1340" y="846"/>
                  </a:lnTo>
                  <a:lnTo>
                    <a:pt x="1332" y="848"/>
                  </a:lnTo>
                  <a:lnTo>
                    <a:pt x="1318" y="848"/>
                  </a:lnTo>
                  <a:lnTo>
                    <a:pt x="1280" y="844"/>
                  </a:lnTo>
                  <a:lnTo>
                    <a:pt x="1270" y="842"/>
                  </a:lnTo>
                  <a:lnTo>
                    <a:pt x="1264" y="840"/>
                  </a:lnTo>
                  <a:lnTo>
                    <a:pt x="1260" y="836"/>
                  </a:lnTo>
                  <a:lnTo>
                    <a:pt x="1256" y="830"/>
                  </a:lnTo>
                  <a:lnTo>
                    <a:pt x="1256" y="824"/>
                  </a:lnTo>
                  <a:lnTo>
                    <a:pt x="1256" y="818"/>
                  </a:lnTo>
                  <a:lnTo>
                    <a:pt x="1260" y="804"/>
                  </a:lnTo>
                  <a:lnTo>
                    <a:pt x="1264" y="788"/>
                  </a:lnTo>
                  <a:lnTo>
                    <a:pt x="1268" y="772"/>
                  </a:lnTo>
                  <a:lnTo>
                    <a:pt x="1270" y="758"/>
                  </a:lnTo>
                  <a:lnTo>
                    <a:pt x="1268" y="750"/>
                  </a:lnTo>
                  <a:lnTo>
                    <a:pt x="1266" y="744"/>
                  </a:lnTo>
                  <a:lnTo>
                    <a:pt x="1258" y="734"/>
                  </a:lnTo>
                  <a:lnTo>
                    <a:pt x="1250" y="726"/>
                  </a:lnTo>
                  <a:lnTo>
                    <a:pt x="1244" y="722"/>
                  </a:lnTo>
                  <a:lnTo>
                    <a:pt x="1240" y="722"/>
                  </a:lnTo>
                  <a:lnTo>
                    <a:pt x="1236" y="724"/>
                  </a:lnTo>
                  <a:lnTo>
                    <a:pt x="1234" y="730"/>
                  </a:lnTo>
                  <a:lnTo>
                    <a:pt x="1234" y="738"/>
                  </a:lnTo>
                  <a:lnTo>
                    <a:pt x="1238" y="752"/>
                  </a:lnTo>
                  <a:lnTo>
                    <a:pt x="1240" y="762"/>
                  </a:lnTo>
                  <a:lnTo>
                    <a:pt x="1238" y="772"/>
                  </a:lnTo>
                  <a:lnTo>
                    <a:pt x="1236" y="778"/>
                  </a:lnTo>
                  <a:lnTo>
                    <a:pt x="1230" y="784"/>
                  </a:lnTo>
                  <a:lnTo>
                    <a:pt x="1224" y="788"/>
                  </a:lnTo>
                  <a:lnTo>
                    <a:pt x="1216" y="792"/>
                  </a:lnTo>
                  <a:lnTo>
                    <a:pt x="1198" y="798"/>
                  </a:lnTo>
                  <a:lnTo>
                    <a:pt x="1182" y="804"/>
                  </a:lnTo>
                  <a:lnTo>
                    <a:pt x="1176" y="808"/>
                  </a:lnTo>
                  <a:lnTo>
                    <a:pt x="1170" y="812"/>
                  </a:lnTo>
                  <a:lnTo>
                    <a:pt x="1168" y="818"/>
                  </a:lnTo>
                  <a:lnTo>
                    <a:pt x="1168" y="824"/>
                  </a:lnTo>
                  <a:lnTo>
                    <a:pt x="1172" y="832"/>
                  </a:lnTo>
                  <a:lnTo>
                    <a:pt x="1178" y="842"/>
                  </a:lnTo>
                  <a:lnTo>
                    <a:pt x="1200" y="870"/>
                  </a:lnTo>
                  <a:lnTo>
                    <a:pt x="1208" y="878"/>
                  </a:lnTo>
                  <a:lnTo>
                    <a:pt x="1212" y="886"/>
                  </a:lnTo>
                  <a:lnTo>
                    <a:pt x="1212" y="894"/>
                  </a:lnTo>
                  <a:lnTo>
                    <a:pt x="1210" y="902"/>
                  </a:lnTo>
                  <a:lnTo>
                    <a:pt x="1204" y="912"/>
                  </a:lnTo>
                  <a:lnTo>
                    <a:pt x="1194" y="926"/>
                  </a:lnTo>
                  <a:lnTo>
                    <a:pt x="1184" y="940"/>
                  </a:lnTo>
                  <a:lnTo>
                    <a:pt x="1180" y="950"/>
                  </a:lnTo>
                  <a:lnTo>
                    <a:pt x="1180" y="956"/>
                  </a:lnTo>
                  <a:lnTo>
                    <a:pt x="1182" y="962"/>
                  </a:lnTo>
                  <a:lnTo>
                    <a:pt x="1190" y="974"/>
                  </a:lnTo>
                  <a:lnTo>
                    <a:pt x="1192" y="982"/>
                  </a:lnTo>
                  <a:lnTo>
                    <a:pt x="1194" y="992"/>
                  </a:lnTo>
                  <a:lnTo>
                    <a:pt x="1194" y="996"/>
                  </a:lnTo>
                  <a:lnTo>
                    <a:pt x="1196" y="1000"/>
                  </a:lnTo>
                  <a:lnTo>
                    <a:pt x="1200" y="1002"/>
                  </a:lnTo>
                  <a:lnTo>
                    <a:pt x="1204" y="1002"/>
                  </a:lnTo>
                  <a:lnTo>
                    <a:pt x="1218" y="1000"/>
                  </a:lnTo>
                  <a:lnTo>
                    <a:pt x="1234" y="996"/>
                  </a:lnTo>
                  <a:lnTo>
                    <a:pt x="1254" y="992"/>
                  </a:lnTo>
                  <a:lnTo>
                    <a:pt x="1276" y="992"/>
                  </a:lnTo>
                  <a:lnTo>
                    <a:pt x="1288" y="992"/>
                  </a:lnTo>
                  <a:lnTo>
                    <a:pt x="1298" y="994"/>
                  </a:lnTo>
                  <a:lnTo>
                    <a:pt x="1310" y="998"/>
                  </a:lnTo>
                  <a:lnTo>
                    <a:pt x="1322" y="1004"/>
                  </a:lnTo>
                  <a:lnTo>
                    <a:pt x="1340" y="1016"/>
                  </a:lnTo>
                  <a:lnTo>
                    <a:pt x="1352" y="1028"/>
                  </a:lnTo>
                  <a:lnTo>
                    <a:pt x="1358" y="1036"/>
                  </a:lnTo>
                  <a:lnTo>
                    <a:pt x="1360" y="1044"/>
                  </a:lnTo>
                  <a:lnTo>
                    <a:pt x="1360" y="1050"/>
                  </a:lnTo>
                  <a:lnTo>
                    <a:pt x="1356" y="1054"/>
                  </a:lnTo>
                  <a:lnTo>
                    <a:pt x="1350" y="1066"/>
                  </a:lnTo>
                  <a:lnTo>
                    <a:pt x="1342" y="1078"/>
                  </a:lnTo>
                  <a:lnTo>
                    <a:pt x="1334" y="1092"/>
                  </a:lnTo>
                  <a:lnTo>
                    <a:pt x="1332" y="1096"/>
                  </a:lnTo>
                  <a:lnTo>
                    <a:pt x="1330" y="1098"/>
                  </a:lnTo>
                  <a:lnTo>
                    <a:pt x="1330" y="1092"/>
                  </a:lnTo>
                  <a:lnTo>
                    <a:pt x="1332" y="1082"/>
                  </a:lnTo>
                  <a:lnTo>
                    <a:pt x="1334" y="1066"/>
                  </a:lnTo>
                  <a:lnTo>
                    <a:pt x="1334" y="1052"/>
                  </a:lnTo>
                  <a:lnTo>
                    <a:pt x="1330" y="1038"/>
                  </a:lnTo>
                  <a:lnTo>
                    <a:pt x="1322" y="1026"/>
                  </a:lnTo>
                  <a:lnTo>
                    <a:pt x="1318" y="1020"/>
                  </a:lnTo>
                  <a:lnTo>
                    <a:pt x="1312" y="1016"/>
                  </a:lnTo>
                  <a:lnTo>
                    <a:pt x="1304" y="1014"/>
                  </a:lnTo>
                  <a:lnTo>
                    <a:pt x="1298" y="1012"/>
                  </a:lnTo>
                  <a:lnTo>
                    <a:pt x="1288" y="1010"/>
                  </a:lnTo>
                  <a:lnTo>
                    <a:pt x="1278" y="1010"/>
                  </a:lnTo>
                  <a:lnTo>
                    <a:pt x="1266" y="1012"/>
                  </a:lnTo>
                  <a:lnTo>
                    <a:pt x="1254" y="1016"/>
                  </a:lnTo>
                  <a:lnTo>
                    <a:pt x="1242" y="1020"/>
                  </a:lnTo>
                  <a:lnTo>
                    <a:pt x="1234" y="1026"/>
                  </a:lnTo>
                  <a:lnTo>
                    <a:pt x="1228" y="1032"/>
                  </a:lnTo>
                  <a:lnTo>
                    <a:pt x="1224" y="1036"/>
                  </a:lnTo>
                  <a:lnTo>
                    <a:pt x="1222" y="1044"/>
                  </a:lnTo>
                  <a:lnTo>
                    <a:pt x="1222" y="1050"/>
                  </a:lnTo>
                  <a:lnTo>
                    <a:pt x="1226" y="1062"/>
                  </a:lnTo>
                  <a:lnTo>
                    <a:pt x="1230" y="1076"/>
                  </a:lnTo>
                  <a:lnTo>
                    <a:pt x="1234" y="1088"/>
                  </a:lnTo>
                  <a:lnTo>
                    <a:pt x="1234" y="1092"/>
                  </a:lnTo>
                  <a:lnTo>
                    <a:pt x="1232" y="1098"/>
                  </a:lnTo>
                  <a:lnTo>
                    <a:pt x="1228" y="1102"/>
                  </a:lnTo>
                  <a:lnTo>
                    <a:pt x="1222" y="1106"/>
                  </a:lnTo>
                  <a:lnTo>
                    <a:pt x="1210" y="1112"/>
                  </a:lnTo>
                  <a:lnTo>
                    <a:pt x="1202" y="1120"/>
                  </a:lnTo>
                  <a:lnTo>
                    <a:pt x="1198" y="1128"/>
                  </a:lnTo>
                  <a:lnTo>
                    <a:pt x="1196" y="1136"/>
                  </a:lnTo>
                  <a:lnTo>
                    <a:pt x="1194" y="1144"/>
                  </a:lnTo>
                  <a:lnTo>
                    <a:pt x="1188" y="1152"/>
                  </a:lnTo>
                  <a:lnTo>
                    <a:pt x="1180" y="1160"/>
                  </a:lnTo>
                  <a:lnTo>
                    <a:pt x="1166" y="1168"/>
                  </a:lnTo>
                  <a:lnTo>
                    <a:pt x="1152" y="1176"/>
                  </a:lnTo>
                  <a:lnTo>
                    <a:pt x="1144" y="1184"/>
                  </a:lnTo>
                  <a:lnTo>
                    <a:pt x="1136" y="1196"/>
                  </a:lnTo>
                  <a:lnTo>
                    <a:pt x="1130" y="1200"/>
                  </a:lnTo>
                  <a:lnTo>
                    <a:pt x="1118" y="1202"/>
                  </a:lnTo>
                  <a:lnTo>
                    <a:pt x="1100" y="1200"/>
                  </a:lnTo>
                  <a:lnTo>
                    <a:pt x="1070" y="1196"/>
                  </a:lnTo>
                  <a:lnTo>
                    <a:pt x="1044" y="1190"/>
                  </a:lnTo>
                  <a:lnTo>
                    <a:pt x="1036" y="1186"/>
                  </a:lnTo>
                  <a:lnTo>
                    <a:pt x="1040" y="1184"/>
                  </a:lnTo>
                  <a:lnTo>
                    <a:pt x="1052" y="1180"/>
                  </a:lnTo>
                  <a:lnTo>
                    <a:pt x="1072" y="1176"/>
                  </a:lnTo>
                  <a:lnTo>
                    <a:pt x="1094" y="1168"/>
                  </a:lnTo>
                  <a:lnTo>
                    <a:pt x="1104" y="1162"/>
                  </a:lnTo>
                  <a:lnTo>
                    <a:pt x="1114" y="1156"/>
                  </a:lnTo>
                  <a:lnTo>
                    <a:pt x="1122" y="1148"/>
                  </a:lnTo>
                  <a:lnTo>
                    <a:pt x="1128" y="1138"/>
                  </a:lnTo>
                  <a:lnTo>
                    <a:pt x="1138" y="1122"/>
                  </a:lnTo>
                  <a:lnTo>
                    <a:pt x="1146" y="1112"/>
                  </a:lnTo>
                  <a:lnTo>
                    <a:pt x="1154" y="1106"/>
                  </a:lnTo>
                  <a:lnTo>
                    <a:pt x="1160" y="1104"/>
                  </a:lnTo>
                  <a:lnTo>
                    <a:pt x="1166" y="1100"/>
                  </a:lnTo>
                  <a:lnTo>
                    <a:pt x="1170" y="1096"/>
                  </a:lnTo>
                  <a:lnTo>
                    <a:pt x="1174" y="1088"/>
                  </a:lnTo>
                  <a:lnTo>
                    <a:pt x="1176" y="1072"/>
                  </a:lnTo>
                  <a:lnTo>
                    <a:pt x="1176" y="1058"/>
                  </a:lnTo>
                  <a:lnTo>
                    <a:pt x="1174" y="1044"/>
                  </a:lnTo>
                  <a:lnTo>
                    <a:pt x="1166" y="1034"/>
                  </a:lnTo>
                  <a:lnTo>
                    <a:pt x="1160" y="1026"/>
                  </a:lnTo>
                  <a:lnTo>
                    <a:pt x="1152" y="1016"/>
                  </a:lnTo>
                  <a:lnTo>
                    <a:pt x="1146" y="1004"/>
                  </a:lnTo>
                  <a:lnTo>
                    <a:pt x="1142" y="988"/>
                  </a:lnTo>
                  <a:lnTo>
                    <a:pt x="1142" y="968"/>
                  </a:lnTo>
                  <a:lnTo>
                    <a:pt x="1150" y="928"/>
                  </a:lnTo>
                  <a:lnTo>
                    <a:pt x="1152" y="910"/>
                  </a:lnTo>
                  <a:lnTo>
                    <a:pt x="1154" y="896"/>
                  </a:lnTo>
                  <a:lnTo>
                    <a:pt x="1152" y="882"/>
                  </a:lnTo>
                  <a:lnTo>
                    <a:pt x="1148" y="868"/>
                  </a:lnTo>
                  <a:lnTo>
                    <a:pt x="1140" y="856"/>
                  </a:lnTo>
                  <a:lnTo>
                    <a:pt x="1126" y="844"/>
                  </a:lnTo>
                  <a:lnTo>
                    <a:pt x="1116" y="832"/>
                  </a:lnTo>
                  <a:lnTo>
                    <a:pt x="1114" y="828"/>
                  </a:lnTo>
                  <a:lnTo>
                    <a:pt x="1112" y="824"/>
                  </a:lnTo>
                  <a:lnTo>
                    <a:pt x="1114" y="822"/>
                  </a:lnTo>
                  <a:lnTo>
                    <a:pt x="1118" y="818"/>
                  </a:lnTo>
                  <a:lnTo>
                    <a:pt x="1126" y="812"/>
                  </a:lnTo>
                  <a:lnTo>
                    <a:pt x="1136" y="804"/>
                  </a:lnTo>
                  <a:lnTo>
                    <a:pt x="1146" y="796"/>
                  </a:lnTo>
                  <a:lnTo>
                    <a:pt x="1150" y="790"/>
                  </a:lnTo>
                  <a:lnTo>
                    <a:pt x="1154" y="782"/>
                  </a:lnTo>
                  <a:lnTo>
                    <a:pt x="1156" y="774"/>
                  </a:lnTo>
                  <a:lnTo>
                    <a:pt x="1156" y="764"/>
                  </a:lnTo>
                  <a:lnTo>
                    <a:pt x="1156" y="754"/>
                  </a:lnTo>
                  <a:lnTo>
                    <a:pt x="1152" y="744"/>
                  </a:lnTo>
                  <a:lnTo>
                    <a:pt x="1148" y="738"/>
                  </a:lnTo>
                  <a:lnTo>
                    <a:pt x="1142" y="732"/>
                  </a:lnTo>
                  <a:lnTo>
                    <a:pt x="1134" y="728"/>
                  </a:lnTo>
                  <a:lnTo>
                    <a:pt x="1126" y="724"/>
                  </a:lnTo>
                  <a:lnTo>
                    <a:pt x="1106" y="722"/>
                  </a:lnTo>
                  <a:lnTo>
                    <a:pt x="1086" y="722"/>
                  </a:lnTo>
                  <a:lnTo>
                    <a:pt x="1064" y="724"/>
                  </a:lnTo>
                  <a:lnTo>
                    <a:pt x="1044" y="724"/>
                  </a:lnTo>
                  <a:lnTo>
                    <a:pt x="1028" y="722"/>
                  </a:lnTo>
                  <a:lnTo>
                    <a:pt x="1020" y="722"/>
                  </a:lnTo>
                  <a:lnTo>
                    <a:pt x="1012" y="722"/>
                  </a:lnTo>
                  <a:lnTo>
                    <a:pt x="1006" y="726"/>
                  </a:lnTo>
                  <a:lnTo>
                    <a:pt x="1002" y="732"/>
                  </a:lnTo>
                  <a:lnTo>
                    <a:pt x="994" y="748"/>
                  </a:lnTo>
                  <a:lnTo>
                    <a:pt x="988" y="766"/>
                  </a:lnTo>
                  <a:lnTo>
                    <a:pt x="980" y="788"/>
                  </a:lnTo>
                  <a:lnTo>
                    <a:pt x="970" y="808"/>
                  </a:lnTo>
                  <a:lnTo>
                    <a:pt x="964" y="816"/>
                  </a:lnTo>
                  <a:lnTo>
                    <a:pt x="958" y="824"/>
                  </a:lnTo>
                  <a:lnTo>
                    <a:pt x="948" y="832"/>
                  </a:lnTo>
                  <a:lnTo>
                    <a:pt x="938" y="838"/>
                  </a:lnTo>
                  <a:lnTo>
                    <a:pt x="916" y="848"/>
                  </a:lnTo>
                  <a:lnTo>
                    <a:pt x="908" y="854"/>
                  </a:lnTo>
                  <a:lnTo>
                    <a:pt x="906" y="858"/>
                  </a:lnTo>
                  <a:lnTo>
                    <a:pt x="904" y="862"/>
                  </a:lnTo>
                  <a:lnTo>
                    <a:pt x="906" y="866"/>
                  </a:lnTo>
                  <a:lnTo>
                    <a:pt x="912" y="874"/>
                  </a:lnTo>
                  <a:lnTo>
                    <a:pt x="920" y="884"/>
                  </a:lnTo>
                  <a:lnTo>
                    <a:pt x="922" y="888"/>
                  </a:lnTo>
                  <a:lnTo>
                    <a:pt x="926" y="894"/>
                  </a:lnTo>
                  <a:lnTo>
                    <a:pt x="926" y="902"/>
                  </a:lnTo>
                  <a:lnTo>
                    <a:pt x="926" y="910"/>
                  </a:lnTo>
                  <a:lnTo>
                    <a:pt x="922" y="918"/>
                  </a:lnTo>
                  <a:lnTo>
                    <a:pt x="916" y="928"/>
                  </a:lnTo>
                  <a:lnTo>
                    <a:pt x="912" y="938"/>
                  </a:lnTo>
                  <a:lnTo>
                    <a:pt x="910" y="948"/>
                  </a:lnTo>
                  <a:lnTo>
                    <a:pt x="912" y="954"/>
                  </a:lnTo>
                  <a:lnTo>
                    <a:pt x="916" y="962"/>
                  </a:lnTo>
                  <a:lnTo>
                    <a:pt x="924" y="968"/>
                  </a:lnTo>
                  <a:lnTo>
                    <a:pt x="932" y="974"/>
                  </a:lnTo>
                  <a:lnTo>
                    <a:pt x="952" y="986"/>
                  </a:lnTo>
                  <a:lnTo>
                    <a:pt x="974" y="996"/>
                  </a:lnTo>
                  <a:lnTo>
                    <a:pt x="982" y="1002"/>
                  </a:lnTo>
                  <a:lnTo>
                    <a:pt x="990" y="1008"/>
                  </a:lnTo>
                  <a:lnTo>
                    <a:pt x="996" y="1014"/>
                  </a:lnTo>
                  <a:lnTo>
                    <a:pt x="998" y="1022"/>
                  </a:lnTo>
                  <a:lnTo>
                    <a:pt x="998" y="1030"/>
                  </a:lnTo>
                  <a:lnTo>
                    <a:pt x="992" y="1040"/>
                  </a:lnTo>
                  <a:lnTo>
                    <a:pt x="982" y="1054"/>
                  </a:lnTo>
                  <a:lnTo>
                    <a:pt x="978" y="1058"/>
                  </a:lnTo>
                  <a:lnTo>
                    <a:pt x="974" y="1060"/>
                  </a:lnTo>
                  <a:lnTo>
                    <a:pt x="970" y="1060"/>
                  </a:lnTo>
                  <a:lnTo>
                    <a:pt x="966" y="1060"/>
                  </a:lnTo>
                  <a:lnTo>
                    <a:pt x="956" y="1052"/>
                  </a:lnTo>
                  <a:lnTo>
                    <a:pt x="942" y="1040"/>
                  </a:lnTo>
                  <a:lnTo>
                    <a:pt x="918" y="1024"/>
                  </a:lnTo>
                  <a:lnTo>
                    <a:pt x="884" y="1004"/>
                  </a:lnTo>
                  <a:lnTo>
                    <a:pt x="862" y="994"/>
                  </a:lnTo>
                  <a:lnTo>
                    <a:pt x="838" y="984"/>
                  </a:lnTo>
                  <a:lnTo>
                    <a:pt x="810" y="974"/>
                  </a:lnTo>
                  <a:lnTo>
                    <a:pt x="786" y="966"/>
                  </a:lnTo>
                  <a:lnTo>
                    <a:pt x="762" y="960"/>
                  </a:lnTo>
                  <a:lnTo>
                    <a:pt x="742" y="956"/>
                  </a:lnTo>
                  <a:lnTo>
                    <a:pt x="724" y="954"/>
                  </a:lnTo>
                  <a:lnTo>
                    <a:pt x="706" y="952"/>
                  </a:lnTo>
                  <a:lnTo>
                    <a:pt x="692" y="952"/>
                  </a:lnTo>
                  <a:lnTo>
                    <a:pt x="678" y="954"/>
                  </a:lnTo>
                  <a:lnTo>
                    <a:pt x="668" y="956"/>
                  </a:lnTo>
                  <a:lnTo>
                    <a:pt x="660" y="960"/>
                  </a:lnTo>
                  <a:lnTo>
                    <a:pt x="654" y="964"/>
                  </a:lnTo>
                  <a:lnTo>
                    <a:pt x="650" y="968"/>
                  </a:lnTo>
                  <a:lnTo>
                    <a:pt x="650" y="974"/>
                  </a:lnTo>
                  <a:lnTo>
                    <a:pt x="650" y="980"/>
                  </a:lnTo>
                  <a:lnTo>
                    <a:pt x="654" y="986"/>
                  </a:lnTo>
                  <a:lnTo>
                    <a:pt x="660" y="994"/>
                  </a:lnTo>
                  <a:lnTo>
                    <a:pt x="664" y="998"/>
                  </a:lnTo>
                  <a:lnTo>
                    <a:pt x="664" y="1004"/>
                  </a:lnTo>
                  <a:lnTo>
                    <a:pt x="664" y="1010"/>
                  </a:lnTo>
                  <a:lnTo>
                    <a:pt x="662" y="1016"/>
                  </a:lnTo>
                  <a:lnTo>
                    <a:pt x="654" y="1028"/>
                  </a:lnTo>
                  <a:lnTo>
                    <a:pt x="642" y="1038"/>
                  </a:lnTo>
                  <a:lnTo>
                    <a:pt x="628" y="1044"/>
                  </a:lnTo>
                  <a:lnTo>
                    <a:pt x="622" y="1046"/>
                  </a:lnTo>
                  <a:lnTo>
                    <a:pt x="618" y="1046"/>
                  </a:lnTo>
                  <a:lnTo>
                    <a:pt x="612" y="1046"/>
                  </a:lnTo>
                  <a:lnTo>
                    <a:pt x="608" y="1042"/>
                  </a:lnTo>
                  <a:lnTo>
                    <a:pt x="606" y="1038"/>
                  </a:lnTo>
                  <a:lnTo>
                    <a:pt x="606" y="1030"/>
                  </a:lnTo>
                  <a:lnTo>
                    <a:pt x="604" y="1018"/>
                  </a:lnTo>
                  <a:lnTo>
                    <a:pt x="602" y="1010"/>
                  </a:lnTo>
                  <a:lnTo>
                    <a:pt x="596" y="1006"/>
                  </a:lnTo>
                  <a:lnTo>
                    <a:pt x="590" y="1006"/>
                  </a:lnTo>
                  <a:lnTo>
                    <a:pt x="582" y="1010"/>
                  </a:lnTo>
                  <a:lnTo>
                    <a:pt x="570" y="1016"/>
                  </a:lnTo>
                  <a:lnTo>
                    <a:pt x="542" y="1034"/>
                  </a:lnTo>
                  <a:lnTo>
                    <a:pt x="526" y="1042"/>
                  </a:lnTo>
                  <a:lnTo>
                    <a:pt x="520" y="1042"/>
                  </a:lnTo>
                  <a:lnTo>
                    <a:pt x="516" y="1042"/>
                  </a:lnTo>
                  <a:lnTo>
                    <a:pt x="506" y="1040"/>
                  </a:lnTo>
                  <a:lnTo>
                    <a:pt x="498" y="1036"/>
                  </a:lnTo>
                  <a:lnTo>
                    <a:pt x="488" y="1032"/>
                  </a:lnTo>
                  <a:lnTo>
                    <a:pt x="478" y="1032"/>
                  </a:lnTo>
                  <a:lnTo>
                    <a:pt x="470" y="1032"/>
                  </a:lnTo>
                  <a:lnTo>
                    <a:pt x="462" y="1034"/>
                  </a:lnTo>
                  <a:lnTo>
                    <a:pt x="440" y="1046"/>
                  </a:lnTo>
                  <a:lnTo>
                    <a:pt x="420" y="1056"/>
                  </a:lnTo>
                  <a:lnTo>
                    <a:pt x="412" y="1060"/>
                  </a:lnTo>
                  <a:lnTo>
                    <a:pt x="406" y="1060"/>
                  </a:lnTo>
                  <a:lnTo>
                    <a:pt x="400" y="1060"/>
                  </a:lnTo>
                  <a:lnTo>
                    <a:pt x="396" y="1058"/>
                  </a:lnTo>
                  <a:lnTo>
                    <a:pt x="392" y="1054"/>
                  </a:lnTo>
                  <a:lnTo>
                    <a:pt x="390" y="1052"/>
                  </a:lnTo>
                  <a:lnTo>
                    <a:pt x="388" y="1042"/>
                  </a:lnTo>
                  <a:lnTo>
                    <a:pt x="392" y="1030"/>
                  </a:lnTo>
                  <a:lnTo>
                    <a:pt x="396" y="1020"/>
                  </a:lnTo>
                  <a:lnTo>
                    <a:pt x="406" y="1012"/>
                  </a:lnTo>
                  <a:lnTo>
                    <a:pt x="410" y="1006"/>
                  </a:lnTo>
                  <a:lnTo>
                    <a:pt x="412" y="1004"/>
                  </a:lnTo>
                  <a:lnTo>
                    <a:pt x="410" y="1004"/>
                  </a:lnTo>
                  <a:lnTo>
                    <a:pt x="402" y="1004"/>
                  </a:lnTo>
                  <a:lnTo>
                    <a:pt x="388" y="1008"/>
                  </a:lnTo>
                  <a:lnTo>
                    <a:pt x="368" y="1014"/>
                  </a:lnTo>
                  <a:lnTo>
                    <a:pt x="342" y="1024"/>
                  </a:lnTo>
                  <a:lnTo>
                    <a:pt x="312" y="1038"/>
                  </a:lnTo>
                  <a:lnTo>
                    <a:pt x="276" y="1054"/>
                  </a:lnTo>
                  <a:lnTo>
                    <a:pt x="242" y="1070"/>
                  </a:lnTo>
                  <a:lnTo>
                    <a:pt x="216" y="1078"/>
                  </a:lnTo>
                  <a:lnTo>
                    <a:pt x="196" y="1084"/>
                  </a:lnTo>
                  <a:lnTo>
                    <a:pt x="180" y="1086"/>
                  </a:lnTo>
                  <a:lnTo>
                    <a:pt x="168" y="1088"/>
                  </a:lnTo>
                  <a:lnTo>
                    <a:pt x="158" y="1094"/>
                  </a:lnTo>
                  <a:lnTo>
                    <a:pt x="152" y="1106"/>
                  </a:lnTo>
                  <a:lnTo>
                    <a:pt x="144" y="1124"/>
                  </a:lnTo>
                  <a:lnTo>
                    <a:pt x="138" y="1142"/>
                  </a:lnTo>
                  <a:lnTo>
                    <a:pt x="132" y="1152"/>
                  </a:lnTo>
                  <a:lnTo>
                    <a:pt x="126" y="1158"/>
                  </a:lnTo>
                  <a:lnTo>
                    <a:pt x="120" y="1158"/>
                  </a:lnTo>
                  <a:lnTo>
                    <a:pt x="106" y="1156"/>
                  </a:lnTo>
                  <a:lnTo>
                    <a:pt x="98" y="1156"/>
                  </a:lnTo>
                  <a:lnTo>
                    <a:pt x="86" y="1160"/>
                  </a:lnTo>
                  <a:lnTo>
                    <a:pt x="78" y="1164"/>
                  </a:lnTo>
                  <a:lnTo>
                    <a:pt x="54" y="1230"/>
                  </a:lnTo>
                  <a:lnTo>
                    <a:pt x="44" y="1256"/>
                  </a:lnTo>
                  <a:lnTo>
                    <a:pt x="36" y="1274"/>
                  </a:lnTo>
                  <a:lnTo>
                    <a:pt x="28" y="1292"/>
                  </a:lnTo>
                  <a:lnTo>
                    <a:pt x="20" y="1312"/>
                  </a:lnTo>
                  <a:lnTo>
                    <a:pt x="8" y="1346"/>
                  </a:lnTo>
                  <a:lnTo>
                    <a:pt x="0" y="1382"/>
                  </a:lnTo>
                  <a:lnTo>
                    <a:pt x="0" y="1562"/>
                  </a:lnTo>
                  <a:lnTo>
                    <a:pt x="60" y="1706"/>
                  </a:lnTo>
                  <a:lnTo>
                    <a:pt x="180" y="1898"/>
                  </a:lnTo>
                  <a:lnTo>
                    <a:pt x="236" y="2142"/>
                  </a:lnTo>
                  <a:lnTo>
                    <a:pt x="172" y="2176"/>
                  </a:lnTo>
                  <a:lnTo>
                    <a:pt x="166" y="2200"/>
                  </a:lnTo>
                  <a:lnTo>
                    <a:pt x="124" y="2214"/>
                  </a:lnTo>
                  <a:lnTo>
                    <a:pt x="104" y="2206"/>
                  </a:lnTo>
                  <a:lnTo>
                    <a:pt x="92" y="2204"/>
                  </a:lnTo>
                  <a:lnTo>
                    <a:pt x="86" y="2204"/>
                  </a:lnTo>
                  <a:lnTo>
                    <a:pt x="84" y="2208"/>
                  </a:lnTo>
                  <a:lnTo>
                    <a:pt x="70" y="2258"/>
                  </a:lnTo>
                  <a:lnTo>
                    <a:pt x="60" y="2304"/>
                  </a:lnTo>
                  <a:lnTo>
                    <a:pt x="76" y="2364"/>
                  </a:lnTo>
                  <a:lnTo>
                    <a:pt x="114" y="2388"/>
                  </a:lnTo>
                  <a:lnTo>
                    <a:pt x="142" y="2422"/>
                  </a:lnTo>
                  <a:lnTo>
                    <a:pt x="148" y="2454"/>
                  </a:lnTo>
                  <a:lnTo>
                    <a:pt x="130" y="2486"/>
                  </a:lnTo>
                  <a:lnTo>
                    <a:pt x="98" y="2508"/>
                  </a:lnTo>
                  <a:lnTo>
                    <a:pt x="70" y="2552"/>
                  </a:lnTo>
                  <a:lnTo>
                    <a:pt x="80" y="2588"/>
                  </a:lnTo>
                  <a:lnTo>
                    <a:pt x="132" y="2652"/>
                  </a:lnTo>
                  <a:lnTo>
                    <a:pt x="156" y="2704"/>
                  </a:lnTo>
                  <a:lnTo>
                    <a:pt x="182" y="2744"/>
                  </a:lnTo>
                  <a:lnTo>
                    <a:pt x="180" y="2776"/>
                  </a:lnTo>
                  <a:lnTo>
                    <a:pt x="182" y="2792"/>
                  </a:lnTo>
                  <a:lnTo>
                    <a:pt x="186" y="2844"/>
                  </a:lnTo>
                  <a:lnTo>
                    <a:pt x="190" y="2864"/>
                  </a:lnTo>
                  <a:lnTo>
                    <a:pt x="186" y="2882"/>
                  </a:lnTo>
                  <a:lnTo>
                    <a:pt x="188" y="2896"/>
                  </a:lnTo>
                  <a:lnTo>
                    <a:pt x="182" y="2898"/>
                  </a:lnTo>
                  <a:lnTo>
                    <a:pt x="178" y="2898"/>
                  </a:lnTo>
                  <a:lnTo>
                    <a:pt x="176" y="2896"/>
                  </a:lnTo>
                  <a:lnTo>
                    <a:pt x="176" y="2894"/>
                  </a:lnTo>
                  <a:lnTo>
                    <a:pt x="174" y="2888"/>
                  </a:lnTo>
                  <a:lnTo>
                    <a:pt x="172" y="2886"/>
                  </a:lnTo>
                  <a:lnTo>
                    <a:pt x="170" y="2886"/>
                  </a:lnTo>
                  <a:lnTo>
                    <a:pt x="172" y="2886"/>
                  </a:lnTo>
                  <a:lnTo>
                    <a:pt x="174" y="2888"/>
                  </a:lnTo>
                  <a:lnTo>
                    <a:pt x="176" y="2894"/>
                  </a:lnTo>
                  <a:lnTo>
                    <a:pt x="176" y="2896"/>
                  </a:lnTo>
                  <a:lnTo>
                    <a:pt x="178" y="2898"/>
                  </a:lnTo>
                  <a:lnTo>
                    <a:pt x="182" y="2898"/>
                  </a:lnTo>
                  <a:lnTo>
                    <a:pt x="188" y="2896"/>
                  </a:lnTo>
                  <a:lnTo>
                    <a:pt x="174" y="2986"/>
                  </a:lnTo>
                  <a:lnTo>
                    <a:pt x="174" y="3028"/>
                  </a:lnTo>
                  <a:lnTo>
                    <a:pt x="168" y="3124"/>
                  </a:lnTo>
                  <a:lnTo>
                    <a:pt x="174" y="3168"/>
                  </a:lnTo>
                  <a:lnTo>
                    <a:pt x="210" y="3264"/>
                  </a:lnTo>
                  <a:lnTo>
                    <a:pt x="248" y="3338"/>
                  </a:lnTo>
                  <a:lnTo>
                    <a:pt x="248" y="3362"/>
                  </a:lnTo>
                  <a:lnTo>
                    <a:pt x="254" y="3368"/>
                  </a:lnTo>
                  <a:lnTo>
                    <a:pt x="258" y="3372"/>
                  </a:lnTo>
                  <a:lnTo>
                    <a:pt x="262" y="3384"/>
                  </a:lnTo>
                  <a:lnTo>
                    <a:pt x="264" y="3394"/>
                  </a:lnTo>
                  <a:lnTo>
                    <a:pt x="268" y="3400"/>
                  </a:lnTo>
                  <a:lnTo>
                    <a:pt x="272" y="3406"/>
                  </a:lnTo>
                  <a:lnTo>
                    <a:pt x="276" y="3412"/>
                  </a:lnTo>
                  <a:lnTo>
                    <a:pt x="278" y="3416"/>
                  </a:lnTo>
                  <a:lnTo>
                    <a:pt x="278" y="3424"/>
                  </a:lnTo>
                  <a:lnTo>
                    <a:pt x="280" y="3432"/>
                  </a:lnTo>
                  <a:lnTo>
                    <a:pt x="282" y="3438"/>
                  </a:lnTo>
                  <a:lnTo>
                    <a:pt x="286" y="3444"/>
                  </a:lnTo>
                  <a:lnTo>
                    <a:pt x="294" y="3452"/>
                  </a:lnTo>
                  <a:lnTo>
                    <a:pt x="302" y="3456"/>
                  </a:lnTo>
                  <a:lnTo>
                    <a:pt x="320" y="3464"/>
                  </a:lnTo>
                  <a:lnTo>
                    <a:pt x="334" y="3470"/>
                  </a:lnTo>
                  <a:lnTo>
                    <a:pt x="338" y="3474"/>
                  </a:lnTo>
                  <a:lnTo>
                    <a:pt x="338" y="3478"/>
                  </a:lnTo>
                  <a:lnTo>
                    <a:pt x="338" y="3480"/>
                  </a:lnTo>
                  <a:lnTo>
                    <a:pt x="340" y="3484"/>
                  </a:lnTo>
                  <a:lnTo>
                    <a:pt x="350" y="3490"/>
                  </a:lnTo>
                  <a:lnTo>
                    <a:pt x="360" y="3496"/>
                  </a:lnTo>
                  <a:lnTo>
                    <a:pt x="366" y="3500"/>
                  </a:lnTo>
                  <a:lnTo>
                    <a:pt x="374" y="3508"/>
                  </a:lnTo>
                  <a:lnTo>
                    <a:pt x="382" y="3512"/>
                  </a:lnTo>
                  <a:lnTo>
                    <a:pt x="388" y="3514"/>
                  </a:lnTo>
                  <a:lnTo>
                    <a:pt x="394" y="3514"/>
                  </a:lnTo>
                  <a:lnTo>
                    <a:pt x="404" y="3516"/>
                  </a:lnTo>
                  <a:lnTo>
                    <a:pt x="410" y="3516"/>
                  </a:lnTo>
                  <a:lnTo>
                    <a:pt x="414" y="3522"/>
                  </a:lnTo>
                  <a:lnTo>
                    <a:pt x="420" y="3524"/>
                  </a:lnTo>
                  <a:lnTo>
                    <a:pt x="424" y="3526"/>
                  </a:lnTo>
                  <a:lnTo>
                    <a:pt x="428" y="3524"/>
                  </a:lnTo>
                  <a:lnTo>
                    <a:pt x="432" y="3522"/>
                  </a:lnTo>
                  <a:lnTo>
                    <a:pt x="442" y="3514"/>
                  </a:lnTo>
                  <a:lnTo>
                    <a:pt x="446" y="3512"/>
                  </a:lnTo>
                  <a:lnTo>
                    <a:pt x="450" y="3512"/>
                  </a:lnTo>
                  <a:lnTo>
                    <a:pt x="456" y="3510"/>
                  </a:lnTo>
                  <a:lnTo>
                    <a:pt x="458" y="3508"/>
                  </a:lnTo>
                  <a:lnTo>
                    <a:pt x="462" y="3504"/>
                  </a:lnTo>
                  <a:lnTo>
                    <a:pt x="464" y="3502"/>
                  </a:lnTo>
                  <a:lnTo>
                    <a:pt x="468" y="3502"/>
                  </a:lnTo>
                  <a:lnTo>
                    <a:pt x="472" y="3500"/>
                  </a:lnTo>
                  <a:lnTo>
                    <a:pt x="476" y="3498"/>
                  </a:lnTo>
                  <a:lnTo>
                    <a:pt x="480" y="3494"/>
                  </a:lnTo>
                  <a:lnTo>
                    <a:pt x="482" y="3492"/>
                  </a:lnTo>
                  <a:lnTo>
                    <a:pt x="488" y="3490"/>
                  </a:lnTo>
                  <a:lnTo>
                    <a:pt x="492" y="3490"/>
                  </a:lnTo>
                  <a:lnTo>
                    <a:pt x="500" y="3492"/>
                  </a:lnTo>
                  <a:lnTo>
                    <a:pt x="508" y="3496"/>
                  </a:lnTo>
                  <a:lnTo>
                    <a:pt x="514" y="3502"/>
                  </a:lnTo>
                  <a:lnTo>
                    <a:pt x="518" y="3512"/>
                  </a:lnTo>
                  <a:lnTo>
                    <a:pt x="520" y="3522"/>
                  </a:lnTo>
                  <a:lnTo>
                    <a:pt x="524" y="3542"/>
                  </a:lnTo>
                  <a:lnTo>
                    <a:pt x="526" y="3558"/>
                  </a:lnTo>
                  <a:lnTo>
                    <a:pt x="528" y="3562"/>
                  </a:lnTo>
                  <a:lnTo>
                    <a:pt x="532" y="3564"/>
                  </a:lnTo>
                  <a:lnTo>
                    <a:pt x="542" y="3566"/>
                  </a:lnTo>
                  <a:lnTo>
                    <a:pt x="550" y="3568"/>
                  </a:lnTo>
                  <a:lnTo>
                    <a:pt x="554" y="3570"/>
                  </a:lnTo>
                  <a:lnTo>
                    <a:pt x="558" y="3572"/>
                  </a:lnTo>
                  <a:lnTo>
                    <a:pt x="562" y="3576"/>
                  </a:lnTo>
                  <a:lnTo>
                    <a:pt x="566" y="3574"/>
                  </a:lnTo>
                  <a:lnTo>
                    <a:pt x="570" y="3574"/>
                  </a:lnTo>
                  <a:lnTo>
                    <a:pt x="580" y="3574"/>
                  </a:lnTo>
                  <a:lnTo>
                    <a:pt x="586" y="3574"/>
                  </a:lnTo>
                  <a:lnTo>
                    <a:pt x="590" y="3576"/>
                  </a:lnTo>
                  <a:lnTo>
                    <a:pt x="596" y="3580"/>
                  </a:lnTo>
                  <a:lnTo>
                    <a:pt x="600" y="3584"/>
                  </a:lnTo>
                  <a:lnTo>
                    <a:pt x="604" y="3584"/>
                  </a:lnTo>
                  <a:lnTo>
                    <a:pt x="608" y="3582"/>
                  </a:lnTo>
                  <a:lnTo>
                    <a:pt x="614" y="3580"/>
                  </a:lnTo>
                  <a:lnTo>
                    <a:pt x="620" y="3582"/>
                  </a:lnTo>
                  <a:lnTo>
                    <a:pt x="636" y="3584"/>
                  </a:lnTo>
                  <a:lnTo>
                    <a:pt x="650" y="3588"/>
                  </a:lnTo>
                  <a:lnTo>
                    <a:pt x="652" y="3588"/>
                  </a:lnTo>
                  <a:lnTo>
                    <a:pt x="654" y="3586"/>
                  </a:lnTo>
                  <a:lnTo>
                    <a:pt x="654" y="3582"/>
                  </a:lnTo>
                  <a:lnTo>
                    <a:pt x="656" y="3580"/>
                  </a:lnTo>
                  <a:lnTo>
                    <a:pt x="658" y="3582"/>
                  </a:lnTo>
                  <a:lnTo>
                    <a:pt x="662" y="3586"/>
                  </a:lnTo>
                  <a:lnTo>
                    <a:pt x="664" y="3590"/>
                  </a:lnTo>
                  <a:lnTo>
                    <a:pt x="670" y="3592"/>
                  </a:lnTo>
                  <a:lnTo>
                    <a:pt x="678" y="3594"/>
                  </a:lnTo>
                  <a:lnTo>
                    <a:pt x="688" y="3598"/>
                  </a:lnTo>
                  <a:lnTo>
                    <a:pt x="692" y="3600"/>
                  </a:lnTo>
                  <a:lnTo>
                    <a:pt x="696" y="3600"/>
                  </a:lnTo>
                  <a:lnTo>
                    <a:pt x="696" y="3596"/>
                  </a:lnTo>
                  <a:lnTo>
                    <a:pt x="698" y="3592"/>
                  </a:lnTo>
                  <a:lnTo>
                    <a:pt x="700" y="3592"/>
                  </a:lnTo>
                  <a:lnTo>
                    <a:pt x="702" y="3592"/>
                  </a:lnTo>
                  <a:lnTo>
                    <a:pt x="706" y="3598"/>
                  </a:lnTo>
                  <a:lnTo>
                    <a:pt x="710" y="3600"/>
                  </a:lnTo>
                  <a:lnTo>
                    <a:pt x="712" y="3600"/>
                  </a:lnTo>
                  <a:lnTo>
                    <a:pt x="716" y="3598"/>
                  </a:lnTo>
                  <a:lnTo>
                    <a:pt x="724" y="3594"/>
                  </a:lnTo>
                  <a:lnTo>
                    <a:pt x="726" y="3592"/>
                  </a:lnTo>
                  <a:lnTo>
                    <a:pt x="730" y="3594"/>
                  </a:lnTo>
                  <a:lnTo>
                    <a:pt x="732" y="3594"/>
                  </a:lnTo>
                  <a:lnTo>
                    <a:pt x="734" y="3594"/>
                  </a:lnTo>
                  <a:lnTo>
                    <a:pt x="738" y="3590"/>
                  </a:lnTo>
                  <a:lnTo>
                    <a:pt x="740" y="3588"/>
                  </a:lnTo>
                  <a:lnTo>
                    <a:pt x="746" y="3588"/>
                  </a:lnTo>
                  <a:lnTo>
                    <a:pt x="752" y="3588"/>
                  </a:lnTo>
                  <a:lnTo>
                    <a:pt x="762" y="3590"/>
                  </a:lnTo>
                  <a:lnTo>
                    <a:pt x="770" y="3594"/>
                  </a:lnTo>
                  <a:lnTo>
                    <a:pt x="774" y="3594"/>
                  </a:lnTo>
                  <a:lnTo>
                    <a:pt x="776" y="3592"/>
                  </a:lnTo>
                  <a:lnTo>
                    <a:pt x="778" y="3590"/>
                  </a:lnTo>
                  <a:lnTo>
                    <a:pt x="780" y="3588"/>
                  </a:lnTo>
                  <a:lnTo>
                    <a:pt x="782" y="3586"/>
                  </a:lnTo>
                  <a:lnTo>
                    <a:pt x="786" y="3586"/>
                  </a:lnTo>
                  <a:lnTo>
                    <a:pt x="794" y="3586"/>
                  </a:lnTo>
                  <a:lnTo>
                    <a:pt x="810" y="3590"/>
                  </a:lnTo>
                  <a:lnTo>
                    <a:pt x="820" y="3594"/>
                  </a:lnTo>
                  <a:lnTo>
                    <a:pt x="824" y="3594"/>
                  </a:lnTo>
                  <a:lnTo>
                    <a:pt x="828" y="3590"/>
                  </a:lnTo>
                  <a:lnTo>
                    <a:pt x="832" y="3588"/>
                  </a:lnTo>
                  <a:lnTo>
                    <a:pt x="840" y="3586"/>
                  </a:lnTo>
                  <a:lnTo>
                    <a:pt x="866" y="3582"/>
                  </a:lnTo>
                  <a:lnTo>
                    <a:pt x="892" y="3582"/>
                  </a:lnTo>
                  <a:lnTo>
                    <a:pt x="900" y="3584"/>
                  </a:lnTo>
                  <a:lnTo>
                    <a:pt x="904" y="3586"/>
                  </a:lnTo>
                  <a:lnTo>
                    <a:pt x="904" y="3588"/>
                  </a:lnTo>
                  <a:lnTo>
                    <a:pt x="904" y="3598"/>
                  </a:lnTo>
                  <a:lnTo>
                    <a:pt x="904" y="3606"/>
                  </a:lnTo>
                  <a:lnTo>
                    <a:pt x="904" y="3608"/>
                  </a:lnTo>
                  <a:lnTo>
                    <a:pt x="906" y="3610"/>
                  </a:lnTo>
                  <a:lnTo>
                    <a:pt x="916" y="3612"/>
                  </a:lnTo>
                  <a:lnTo>
                    <a:pt x="920" y="3612"/>
                  </a:lnTo>
                  <a:lnTo>
                    <a:pt x="924" y="3614"/>
                  </a:lnTo>
                  <a:lnTo>
                    <a:pt x="926" y="3616"/>
                  </a:lnTo>
                  <a:lnTo>
                    <a:pt x="926" y="3620"/>
                  </a:lnTo>
                  <a:lnTo>
                    <a:pt x="926" y="3626"/>
                  </a:lnTo>
                  <a:lnTo>
                    <a:pt x="926" y="3630"/>
                  </a:lnTo>
                  <a:lnTo>
                    <a:pt x="928" y="3634"/>
                  </a:lnTo>
                  <a:lnTo>
                    <a:pt x="932" y="3638"/>
                  </a:lnTo>
                  <a:lnTo>
                    <a:pt x="932" y="3642"/>
                  </a:lnTo>
                  <a:lnTo>
                    <a:pt x="932" y="3646"/>
                  </a:lnTo>
                  <a:lnTo>
                    <a:pt x="934" y="3652"/>
                  </a:lnTo>
                  <a:lnTo>
                    <a:pt x="938" y="3654"/>
                  </a:lnTo>
                  <a:lnTo>
                    <a:pt x="936" y="3656"/>
                  </a:lnTo>
                  <a:lnTo>
                    <a:pt x="936" y="3658"/>
                  </a:lnTo>
                  <a:lnTo>
                    <a:pt x="940" y="3662"/>
                  </a:lnTo>
                  <a:lnTo>
                    <a:pt x="944" y="3664"/>
                  </a:lnTo>
                  <a:lnTo>
                    <a:pt x="946" y="3664"/>
                  </a:lnTo>
                  <a:lnTo>
                    <a:pt x="950" y="3664"/>
                  </a:lnTo>
                  <a:lnTo>
                    <a:pt x="952" y="3662"/>
                  </a:lnTo>
                  <a:lnTo>
                    <a:pt x="956" y="3664"/>
                  </a:lnTo>
                  <a:lnTo>
                    <a:pt x="958" y="3666"/>
                  </a:lnTo>
                  <a:lnTo>
                    <a:pt x="962" y="3670"/>
                  </a:lnTo>
                  <a:lnTo>
                    <a:pt x="966" y="3674"/>
                  </a:lnTo>
                  <a:lnTo>
                    <a:pt x="972" y="3676"/>
                  </a:lnTo>
                  <a:lnTo>
                    <a:pt x="976" y="3680"/>
                  </a:lnTo>
                  <a:lnTo>
                    <a:pt x="982" y="3690"/>
                  </a:lnTo>
                  <a:lnTo>
                    <a:pt x="986" y="3696"/>
                  </a:lnTo>
                  <a:lnTo>
                    <a:pt x="992" y="3702"/>
                  </a:lnTo>
                  <a:lnTo>
                    <a:pt x="1000" y="3708"/>
                  </a:lnTo>
                  <a:lnTo>
                    <a:pt x="1008" y="3712"/>
                  </a:lnTo>
                  <a:lnTo>
                    <a:pt x="1016" y="3716"/>
                  </a:lnTo>
                  <a:lnTo>
                    <a:pt x="1024" y="3716"/>
                  </a:lnTo>
                  <a:lnTo>
                    <a:pt x="1032" y="3716"/>
                  </a:lnTo>
                  <a:lnTo>
                    <a:pt x="1038" y="3712"/>
                  </a:lnTo>
                  <a:lnTo>
                    <a:pt x="1044" y="3708"/>
                  </a:lnTo>
                  <a:lnTo>
                    <a:pt x="1048" y="3708"/>
                  </a:lnTo>
                  <a:lnTo>
                    <a:pt x="1052" y="3710"/>
                  </a:lnTo>
                  <a:lnTo>
                    <a:pt x="1052" y="3714"/>
                  </a:lnTo>
                  <a:lnTo>
                    <a:pt x="1050" y="3720"/>
                  </a:lnTo>
                  <a:lnTo>
                    <a:pt x="1046" y="3726"/>
                  </a:lnTo>
                  <a:lnTo>
                    <a:pt x="1040" y="3730"/>
                  </a:lnTo>
                  <a:lnTo>
                    <a:pt x="1028" y="3734"/>
                  </a:lnTo>
                  <a:lnTo>
                    <a:pt x="1016" y="3736"/>
                  </a:lnTo>
                  <a:lnTo>
                    <a:pt x="1006" y="3734"/>
                  </a:lnTo>
                  <a:lnTo>
                    <a:pt x="992" y="3732"/>
                  </a:lnTo>
                  <a:lnTo>
                    <a:pt x="992" y="3734"/>
                  </a:lnTo>
                  <a:lnTo>
                    <a:pt x="994" y="3740"/>
                  </a:lnTo>
                  <a:lnTo>
                    <a:pt x="1018" y="3770"/>
                  </a:lnTo>
                  <a:lnTo>
                    <a:pt x="1048" y="3804"/>
                  </a:lnTo>
                  <a:lnTo>
                    <a:pt x="1060" y="3814"/>
                  </a:lnTo>
                  <a:lnTo>
                    <a:pt x="1070" y="3820"/>
                  </a:lnTo>
                  <a:lnTo>
                    <a:pt x="1078" y="3822"/>
                  </a:lnTo>
                  <a:lnTo>
                    <a:pt x="1090" y="3818"/>
                  </a:lnTo>
                  <a:lnTo>
                    <a:pt x="1102" y="3810"/>
                  </a:lnTo>
                  <a:lnTo>
                    <a:pt x="1116" y="3798"/>
                  </a:lnTo>
                  <a:lnTo>
                    <a:pt x="1124" y="3790"/>
                  </a:lnTo>
                  <a:lnTo>
                    <a:pt x="1128" y="3782"/>
                  </a:lnTo>
                  <a:lnTo>
                    <a:pt x="1128" y="3772"/>
                  </a:lnTo>
                  <a:lnTo>
                    <a:pt x="1128" y="3764"/>
                  </a:lnTo>
                  <a:lnTo>
                    <a:pt x="1128" y="3756"/>
                  </a:lnTo>
                  <a:lnTo>
                    <a:pt x="1128" y="3750"/>
                  </a:lnTo>
                  <a:lnTo>
                    <a:pt x="1132" y="3744"/>
                  </a:lnTo>
                  <a:lnTo>
                    <a:pt x="1138" y="3742"/>
                  </a:lnTo>
                  <a:lnTo>
                    <a:pt x="1144" y="3740"/>
                  </a:lnTo>
                  <a:lnTo>
                    <a:pt x="1148" y="3740"/>
                  </a:lnTo>
                  <a:lnTo>
                    <a:pt x="1148" y="3742"/>
                  </a:lnTo>
                  <a:lnTo>
                    <a:pt x="1146" y="3746"/>
                  </a:lnTo>
                  <a:lnTo>
                    <a:pt x="1142" y="3754"/>
                  </a:lnTo>
                  <a:lnTo>
                    <a:pt x="1142" y="3760"/>
                  </a:lnTo>
                  <a:lnTo>
                    <a:pt x="1144" y="3764"/>
                  </a:lnTo>
                  <a:lnTo>
                    <a:pt x="1146" y="3770"/>
                  </a:lnTo>
                  <a:lnTo>
                    <a:pt x="1146" y="3774"/>
                  </a:lnTo>
                  <a:lnTo>
                    <a:pt x="1144" y="3778"/>
                  </a:lnTo>
                  <a:lnTo>
                    <a:pt x="1144" y="3782"/>
                  </a:lnTo>
                  <a:lnTo>
                    <a:pt x="1144" y="3788"/>
                  </a:lnTo>
                  <a:lnTo>
                    <a:pt x="1146" y="3794"/>
                  </a:lnTo>
                  <a:lnTo>
                    <a:pt x="1150" y="3804"/>
                  </a:lnTo>
                  <a:lnTo>
                    <a:pt x="1154" y="3814"/>
                  </a:lnTo>
                  <a:lnTo>
                    <a:pt x="1154" y="3822"/>
                  </a:lnTo>
                  <a:lnTo>
                    <a:pt x="1150" y="3838"/>
                  </a:lnTo>
                  <a:lnTo>
                    <a:pt x="1148" y="3848"/>
                  </a:lnTo>
                  <a:lnTo>
                    <a:pt x="1148" y="3864"/>
                  </a:lnTo>
                  <a:lnTo>
                    <a:pt x="1148" y="3884"/>
                  </a:lnTo>
                  <a:lnTo>
                    <a:pt x="1152" y="3912"/>
                  </a:lnTo>
                  <a:lnTo>
                    <a:pt x="1170" y="4010"/>
                  </a:lnTo>
                  <a:lnTo>
                    <a:pt x="1176" y="4042"/>
                  </a:lnTo>
                  <a:lnTo>
                    <a:pt x="1184" y="4060"/>
                  </a:lnTo>
                  <a:lnTo>
                    <a:pt x="1194" y="4084"/>
                  </a:lnTo>
                  <a:lnTo>
                    <a:pt x="1210" y="4122"/>
                  </a:lnTo>
                  <a:lnTo>
                    <a:pt x="1224" y="4164"/>
                  </a:lnTo>
                  <a:lnTo>
                    <a:pt x="1230" y="4184"/>
                  </a:lnTo>
                  <a:lnTo>
                    <a:pt x="1232" y="4204"/>
                  </a:lnTo>
                  <a:lnTo>
                    <a:pt x="1236" y="4220"/>
                  </a:lnTo>
                  <a:lnTo>
                    <a:pt x="1240" y="4232"/>
                  </a:lnTo>
                  <a:lnTo>
                    <a:pt x="1254" y="4256"/>
                  </a:lnTo>
                  <a:lnTo>
                    <a:pt x="1262" y="4268"/>
                  </a:lnTo>
                  <a:lnTo>
                    <a:pt x="1268" y="4284"/>
                  </a:lnTo>
                  <a:lnTo>
                    <a:pt x="1276" y="4304"/>
                  </a:lnTo>
                  <a:lnTo>
                    <a:pt x="1282" y="4330"/>
                  </a:lnTo>
                  <a:lnTo>
                    <a:pt x="1290" y="4358"/>
                  </a:lnTo>
                  <a:lnTo>
                    <a:pt x="1296" y="4384"/>
                  </a:lnTo>
                  <a:lnTo>
                    <a:pt x="1306" y="4406"/>
                  </a:lnTo>
                  <a:lnTo>
                    <a:pt x="1314" y="4424"/>
                  </a:lnTo>
                  <a:lnTo>
                    <a:pt x="1324" y="4436"/>
                  </a:lnTo>
                  <a:lnTo>
                    <a:pt x="1328" y="4442"/>
                  </a:lnTo>
                  <a:lnTo>
                    <a:pt x="1334" y="4444"/>
                  </a:lnTo>
                  <a:lnTo>
                    <a:pt x="1338" y="4446"/>
                  </a:lnTo>
                  <a:lnTo>
                    <a:pt x="1344" y="4446"/>
                  </a:lnTo>
                  <a:lnTo>
                    <a:pt x="1348" y="4444"/>
                  </a:lnTo>
                  <a:lnTo>
                    <a:pt x="1354" y="4440"/>
                  </a:lnTo>
                  <a:lnTo>
                    <a:pt x="1362" y="4432"/>
                  </a:lnTo>
                  <a:lnTo>
                    <a:pt x="1366" y="4424"/>
                  </a:lnTo>
                  <a:lnTo>
                    <a:pt x="1368" y="4416"/>
                  </a:lnTo>
                  <a:lnTo>
                    <a:pt x="1368" y="4410"/>
                  </a:lnTo>
                  <a:lnTo>
                    <a:pt x="1368" y="4406"/>
                  </a:lnTo>
                  <a:lnTo>
                    <a:pt x="1372" y="4400"/>
                  </a:lnTo>
                  <a:lnTo>
                    <a:pt x="1376" y="4396"/>
                  </a:lnTo>
                  <a:lnTo>
                    <a:pt x="1384" y="4394"/>
                  </a:lnTo>
                  <a:lnTo>
                    <a:pt x="1402" y="4390"/>
                  </a:lnTo>
                  <a:lnTo>
                    <a:pt x="1412" y="4390"/>
                  </a:lnTo>
                  <a:lnTo>
                    <a:pt x="1418" y="4390"/>
                  </a:lnTo>
                  <a:lnTo>
                    <a:pt x="1420" y="4390"/>
                  </a:lnTo>
                  <a:lnTo>
                    <a:pt x="1420" y="4388"/>
                  </a:lnTo>
                  <a:lnTo>
                    <a:pt x="1420" y="4386"/>
                  </a:lnTo>
                  <a:lnTo>
                    <a:pt x="1416" y="4384"/>
                  </a:lnTo>
                  <a:lnTo>
                    <a:pt x="1408" y="4382"/>
                  </a:lnTo>
                  <a:lnTo>
                    <a:pt x="1404" y="4380"/>
                  </a:lnTo>
                  <a:lnTo>
                    <a:pt x="1400" y="4376"/>
                  </a:lnTo>
                  <a:lnTo>
                    <a:pt x="1402" y="4370"/>
                  </a:lnTo>
                  <a:lnTo>
                    <a:pt x="1406" y="4362"/>
                  </a:lnTo>
                  <a:lnTo>
                    <a:pt x="1410" y="4354"/>
                  </a:lnTo>
                  <a:lnTo>
                    <a:pt x="1412" y="4348"/>
                  </a:lnTo>
                  <a:lnTo>
                    <a:pt x="1412" y="4342"/>
                  </a:lnTo>
                  <a:lnTo>
                    <a:pt x="1414" y="4340"/>
                  </a:lnTo>
                  <a:lnTo>
                    <a:pt x="1428" y="4338"/>
                  </a:lnTo>
                  <a:lnTo>
                    <a:pt x="1434" y="4336"/>
                  </a:lnTo>
                  <a:lnTo>
                    <a:pt x="1436" y="4334"/>
                  </a:lnTo>
                  <a:lnTo>
                    <a:pt x="1438" y="4332"/>
                  </a:lnTo>
                  <a:lnTo>
                    <a:pt x="1438" y="4322"/>
                  </a:lnTo>
                  <a:lnTo>
                    <a:pt x="1436" y="4312"/>
                  </a:lnTo>
                  <a:lnTo>
                    <a:pt x="1434" y="4298"/>
                  </a:lnTo>
                  <a:lnTo>
                    <a:pt x="1432" y="4284"/>
                  </a:lnTo>
                  <a:lnTo>
                    <a:pt x="1434" y="4266"/>
                  </a:lnTo>
                  <a:lnTo>
                    <a:pt x="1440" y="4246"/>
                  </a:lnTo>
                  <a:lnTo>
                    <a:pt x="1448" y="4226"/>
                  </a:lnTo>
                  <a:lnTo>
                    <a:pt x="1454" y="4206"/>
                  </a:lnTo>
                  <a:lnTo>
                    <a:pt x="1456" y="4196"/>
                  </a:lnTo>
                  <a:lnTo>
                    <a:pt x="1454" y="4186"/>
                  </a:lnTo>
                  <a:lnTo>
                    <a:pt x="1452" y="4172"/>
                  </a:lnTo>
                  <a:lnTo>
                    <a:pt x="1448" y="4154"/>
                  </a:lnTo>
                  <a:lnTo>
                    <a:pt x="1448" y="4144"/>
                  </a:lnTo>
                  <a:lnTo>
                    <a:pt x="1450" y="4138"/>
                  </a:lnTo>
                  <a:lnTo>
                    <a:pt x="1450" y="4128"/>
                  </a:lnTo>
                  <a:lnTo>
                    <a:pt x="1446" y="4108"/>
                  </a:lnTo>
                  <a:lnTo>
                    <a:pt x="1444" y="4098"/>
                  </a:lnTo>
                  <a:lnTo>
                    <a:pt x="1442" y="4088"/>
                  </a:lnTo>
                  <a:lnTo>
                    <a:pt x="1444" y="4082"/>
                  </a:lnTo>
                  <a:lnTo>
                    <a:pt x="1444" y="4076"/>
                  </a:lnTo>
                  <a:lnTo>
                    <a:pt x="1448" y="4074"/>
                  </a:lnTo>
                  <a:lnTo>
                    <a:pt x="1452" y="4070"/>
                  </a:lnTo>
                  <a:lnTo>
                    <a:pt x="1460" y="4068"/>
                  </a:lnTo>
                  <a:lnTo>
                    <a:pt x="1470" y="4066"/>
                  </a:lnTo>
                  <a:lnTo>
                    <a:pt x="1480" y="4064"/>
                  </a:lnTo>
                  <a:lnTo>
                    <a:pt x="1488" y="4058"/>
                  </a:lnTo>
                  <a:lnTo>
                    <a:pt x="1490" y="4054"/>
                  </a:lnTo>
                  <a:lnTo>
                    <a:pt x="1492" y="4050"/>
                  </a:lnTo>
                  <a:lnTo>
                    <a:pt x="1494" y="4040"/>
                  </a:lnTo>
                  <a:lnTo>
                    <a:pt x="1496" y="4038"/>
                  </a:lnTo>
                  <a:lnTo>
                    <a:pt x="1498" y="4038"/>
                  </a:lnTo>
                  <a:lnTo>
                    <a:pt x="1502" y="4040"/>
                  </a:lnTo>
                  <a:lnTo>
                    <a:pt x="1506" y="4042"/>
                  </a:lnTo>
                  <a:lnTo>
                    <a:pt x="1512" y="4042"/>
                  </a:lnTo>
                  <a:lnTo>
                    <a:pt x="1520" y="4040"/>
                  </a:lnTo>
                  <a:lnTo>
                    <a:pt x="1530" y="4032"/>
                  </a:lnTo>
                  <a:lnTo>
                    <a:pt x="1536" y="4024"/>
                  </a:lnTo>
                  <a:lnTo>
                    <a:pt x="1538" y="4020"/>
                  </a:lnTo>
                  <a:lnTo>
                    <a:pt x="1538" y="4016"/>
                  </a:lnTo>
                  <a:lnTo>
                    <a:pt x="1538" y="4014"/>
                  </a:lnTo>
                  <a:lnTo>
                    <a:pt x="1538" y="4010"/>
                  </a:lnTo>
                  <a:lnTo>
                    <a:pt x="1542" y="4004"/>
                  </a:lnTo>
                  <a:lnTo>
                    <a:pt x="1550" y="3996"/>
                  </a:lnTo>
                  <a:lnTo>
                    <a:pt x="1566" y="3982"/>
                  </a:lnTo>
                  <a:lnTo>
                    <a:pt x="1584" y="3966"/>
                  </a:lnTo>
                  <a:lnTo>
                    <a:pt x="1600" y="3950"/>
                  </a:lnTo>
                  <a:lnTo>
                    <a:pt x="1624" y="3918"/>
                  </a:lnTo>
                  <a:lnTo>
                    <a:pt x="1644" y="3892"/>
                  </a:lnTo>
                  <a:lnTo>
                    <a:pt x="1654" y="3880"/>
                  </a:lnTo>
                  <a:lnTo>
                    <a:pt x="1666" y="3870"/>
                  </a:lnTo>
                  <a:lnTo>
                    <a:pt x="1674" y="3866"/>
                  </a:lnTo>
                  <a:lnTo>
                    <a:pt x="1680" y="3864"/>
                  </a:lnTo>
                  <a:lnTo>
                    <a:pt x="1688" y="3864"/>
                  </a:lnTo>
                  <a:lnTo>
                    <a:pt x="1692" y="3864"/>
                  </a:lnTo>
                  <a:lnTo>
                    <a:pt x="1696" y="3860"/>
                  </a:lnTo>
                  <a:lnTo>
                    <a:pt x="1704" y="3852"/>
                  </a:lnTo>
                  <a:lnTo>
                    <a:pt x="1714" y="3840"/>
                  </a:lnTo>
                  <a:lnTo>
                    <a:pt x="1722" y="3828"/>
                  </a:lnTo>
                  <a:lnTo>
                    <a:pt x="1724" y="3816"/>
                  </a:lnTo>
                  <a:lnTo>
                    <a:pt x="1724" y="3808"/>
                  </a:lnTo>
                  <a:lnTo>
                    <a:pt x="1722" y="3802"/>
                  </a:lnTo>
                  <a:lnTo>
                    <a:pt x="1720" y="3796"/>
                  </a:lnTo>
                  <a:lnTo>
                    <a:pt x="1720" y="3790"/>
                  </a:lnTo>
                  <a:lnTo>
                    <a:pt x="1724" y="3784"/>
                  </a:lnTo>
                  <a:lnTo>
                    <a:pt x="1736" y="3778"/>
                  </a:lnTo>
                  <a:lnTo>
                    <a:pt x="1748" y="3772"/>
                  </a:lnTo>
                  <a:lnTo>
                    <a:pt x="1756" y="3766"/>
                  </a:lnTo>
                  <a:lnTo>
                    <a:pt x="1768" y="3758"/>
                  </a:lnTo>
                  <a:lnTo>
                    <a:pt x="1770" y="3756"/>
                  </a:lnTo>
                  <a:lnTo>
                    <a:pt x="1772" y="3756"/>
                  </a:lnTo>
                  <a:lnTo>
                    <a:pt x="1774" y="3766"/>
                  </a:lnTo>
                  <a:lnTo>
                    <a:pt x="1774" y="3772"/>
                  </a:lnTo>
                  <a:lnTo>
                    <a:pt x="1778" y="3776"/>
                  </a:lnTo>
                  <a:lnTo>
                    <a:pt x="1780" y="3778"/>
                  </a:lnTo>
                  <a:lnTo>
                    <a:pt x="1784" y="3778"/>
                  </a:lnTo>
                  <a:lnTo>
                    <a:pt x="1790" y="3774"/>
                  </a:lnTo>
                  <a:lnTo>
                    <a:pt x="1794" y="3774"/>
                  </a:lnTo>
                  <a:lnTo>
                    <a:pt x="1798" y="3774"/>
                  </a:lnTo>
                  <a:lnTo>
                    <a:pt x="1804" y="3776"/>
                  </a:lnTo>
                  <a:lnTo>
                    <a:pt x="1808" y="3776"/>
                  </a:lnTo>
                  <a:lnTo>
                    <a:pt x="1810" y="3774"/>
                  </a:lnTo>
                  <a:lnTo>
                    <a:pt x="1808" y="3768"/>
                  </a:lnTo>
                  <a:lnTo>
                    <a:pt x="1806" y="3760"/>
                  </a:lnTo>
                  <a:lnTo>
                    <a:pt x="1806" y="3758"/>
                  </a:lnTo>
                  <a:lnTo>
                    <a:pt x="1810" y="3756"/>
                  </a:lnTo>
                  <a:lnTo>
                    <a:pt x="1812" y="3762"/>
                  </a:lnTo>
                  <a:lnTo>
                    <a:pt x="1816" y="3766"/>
                  </a:lnTo>
                  <a:lnTo>
                    <a:pt x="1818" y="3766"/>
                  </a:lnTo>
                  <a:lnTo>
                    <a:pt x="1820" y="3766"/>
                  </a:lnTo>
                  <a:lnTo>
                    <a:pt x="1824" y="3766"/>
                  </a:lnTo>
                  <a:lnTo>
                    <a:pt x="1826" y="3766"/>
                  </a:lnTo>
                  <a:lnTo>
                    <a:pt x="1828" y="3768"/>
                  </a:lnTo>
                  <a:lnTo>
                    <a:pt x="1830" y="3770"/>
                  </a:lnTo>
                  <a:lnTo>
                    <a:pt x="1832" y="3770"/>
                  </a:lnTo>
                  <a:lnTo>
                    <a:pt x="1836" y="3764"/>
                  </a:lnTo>
                  <a:lnTo>
                    <a:pt x="1842" y="3760"/>
                  </a:lnTo>
                  <a:lnTo>
                    <a:pt x="1844" y="3760"/>
                  </a:lnTo>
                  <a:lnTo>
                    <a:pt x="1848" y="3762"/>
                  </a:lnTo>
                  <a:lnTo>
                    <a:pt x="1852" y="3766"/>
                  </a:lnTo>
                  <a:lnTo>
                    <a:pt x="1856" y="3764"/>
                  </a:lnTo>
                  <a:lnTo>
                    <a:pt x="1860" y="3762"/>
                  </a:lnTo>
                  <a:lnTo>
                    <a:pt x="1864" y="3756"/>
                  </a:lnTo>
                  <a:lnTo>
                    <a:pt x="1866" y="3748"/>
                  </a:lnTo>
                  <a:lnTo>
                    <a:pt x="1868" y="3740"/>
                  </a:lnTo>
                  <a:lnTo>
                    <a:pt x="1868" y="3734"/>
                  </a:lnTo>
                  <a:lnTo>
                    <a:pt x="1866" y="3726"/>
                  </a:lnTo>
                  <a:lnTo>
                    <a:pt x="1864" y="3716"/>
                  </a:lnTo>
                  <a:lnTo>
                    <a:pt x="1866" y="3706"/>
                  </a:lnTo>
                  <a:lnTo>
                    <a:pt x="1866" y="3698"/>
                  </a:lnTo>
                  <a:lnTo>
                    <a:pt x="1866" y="3690"/>
                  </a:lnTo>
                  <a:lnTo>
                    <a:pt x="1864" y="3686"/>
                  </a:lnTo>
                  <a:lnTo>
                    <a:pt x="1866" y="3684"/>
                  </a:lnTo>
                  <a:lnTo>
                    <a:pt x="1868" y="3680"/>
                  </a:lnTo>
                  <a:lnTo>
                    <a:pt x="1870" y="3676"/>
                  </a:lnTo>
                  <a:lnTo>
                    <a:pt x="1872" y="3678"/>
                  </a:lnTo>
                  <a:lnTo>
                    <a:pt x="1872" y="3684"/>
                  </a:lnTo>
                  <a:lnTo>
                    <a:pt x="1876" y="3710"/>
                  </a:lnTo>
                  <a:lnTo>
                    <a:pt x="1880" y="3720"/>
                  </a:lnTo>
                  <a:lnTo>
                    <a:pt x="1882" y="3724"/>
                  </a:lnTo>
                  <a:lnTo>
                    <a:pt x="1884" y="3726"/>
                  </a:lnTo>
                  <a:lnTo>
                    <a:pt x="1888" y="3726"/>
                  </a:lnTo>
                  <a:lnTo>
                    <a:pt x="1890" y="3726"/>
                  </a:lnTo>
                  <a:lnTo>
                    <a:pt x="1898" y="3722"/>
                  </a:lnTo>
                  <a:lnTo>
                    <a:pt x="1900" y="3720"/>
                  </a:lnTo>
                  <a:lnTo>
                    <a:pt x="1904" y="3720"/>
                  </a:lnTo>
                  <a:lnTo>
                    <a:pt x="1906" y="3722"/>
                  </a:lnTo>
                  <a:lnTo>
                    <a:pt x="1910" y="3726"/>
                  </a:lnTo>
                  <a:lnTo>
                    <a:pt x="1916" y="3738"/>
                  </a:lnTo>
                  <a:lnTo>
                    <a:pt x="1922" y="3760"/>
                  </a:lnTo>
                  <a:lnTo>
                    <a:pt x="1926" y="3768"/>
                  </a:lnTo>
                  <a:lnTo>
                    <a:pt x="1928" y="3772"/>
                  </a:lnTo>
                  <a:lnTo>
                    <a:pt x="1928" y="3774"/>
                  </a:lnTo>
                  <a:lnTo>
                    <a:pt x="1928" y="3780"/>
                  </a:lnTo>
                  <a:lnTo>
                    <a:pt x="1926" y="3786"/>
                  </a:lnTo>
                  <a:lnTo>
                    <a:pt x="1926" y="3792"/>
                  </a:lnTo>
                  <a:lnTo>
                    <a:pt x="1930" y="3804"/>
                  </a:lnTo>
                  <a:lnTo>
                    <a:pt x="1934" y="3814"/>
                  </a:lnTo>
                  <a:lnTo>
                    <a:pt x="1936" y="3810"/>
                  </a:lnTo>
                  <a:lnTo>
                    <a:pt x="1936" y="3800"/>
                  </a:lnTo>
                  <a:lnTo>
                    <a:pt x="1938" y="3806"/>
                  </a:lnTo>
                  <a:lnTo>
                    <a:pt x="1942" y="3816"/>
                  </a:lnTo>
                  <a:lnTo>
                    <a:pt x="1946" y="3828"/>
                  </a:lnTo>
                  <a:lnTo>
                    <a:pt x="1952" y="3838"/>
                  </a:lnTo>
                  <a:lnTo>
                    <a:pt x="1968" y="3862"/>
                  </a:lnTo>
                  <a:lnTo>
                    <a:pt x="1972" y="3864"/>
                  </a:lnTo>
                  <a:lnTo>
                    <a:pt x="1974" y="3860"/>
                  </a:lnTo>
                  <a:lnTo>
                    <a:pt x="1976" y="3856"/>
                  </a:lnTo>
                  <a:lnTo>
                    <a:pt x="1978" y="3854"/>
                  </a:lnTo>
                  <a:lnTo>
                    <a:pt x="1980" y="3854"/>
                  </a:lnTo>
                  <a:lnTo>
                    <a:pt x="1982" y="3854"/>
                  </a:lnTo>
                  <a:lnTo>
                    <a:pt x="1990" y="3862"/>
                  </a:lnTo>
                  <a:lnTo>
                    <a:pt x="1994" y="3870"/>
                  </a:lnTo>
                  <a:lnTo>
                    <a:pt x="1998" y="3876"/>
                  </a:lnTo>
                  <a:lnTo>
                    <a:pt x="2004" y="3882"/>
                  </a:lnTo>
                  <a:lnTo>
                    <a:pt x="2008" y="3886"/>
                  </a:lnTo>
                  <a:lnTo>
                    <a:pt x="2008" y="3888"/>
                  </a:lnTo>
                  <a:lnTo>
                    <a:pt x="2006" y="3890"/>
                  </a:lnTo>
                  <a:lnTo>
                    <a:pt x="2002" y="3892"/>
                  </a:lnTo>
                  <a:lnTo>
                    <a:pt x="2000" y="3892"/>
                  </a:lnTo>
                  <a:lnTo>
                    <a:pt x="1996" y="3890"/>
                  </a:lnTo>
                  <a:lnTo>
                    <a:pt x="1992" y="3886"/>
                  </a:lnTo>
                  <a:lnTo>
                    <a:pt x="1990" y="3886"/>
                  </a:lnTo>
                  <a:lnTo>
                    <a:pt x="1988" y="3888"/>
                  </a:lnTo>
                  <a:lnTo>
                    <a:pt x="1986" y="3890"/>
                  </a:lnTo>
                  <a:lnTo>
                    <a:pt x="1986" y="3894"/>
                  </a:lnTo>
                  <a:lnTo>
                    <a:pt x="1992" y="3904"/>
                  </a:lnTo>
                  <a:lnTo>
                    <a:pt x="1998" y="3910"/>
                  </a:lnTo>
                  <a:lnTo>
                    <a:pt x="2000" y="3912"/>
                  </a:lnTo>
                  <a:lnTo>
                    <a:pt x="2000" y="3910"/>
                  </a:lnTo>
                  <a:lnTo>
                    <a:pt x="2002" y="3904"/>
                  </a:lnTo>
                  <a:lnTo>
                    <a:pt x="2004" y="3900"/>
                  </a:lnTo>
                  <a:lnTo>
                    <a:pt x="2006" y="3900"/>
                  </a:lnTo>
                  <a:lnTo>
                    <a:pt x="2010" y="3912"/>
                  </a:lnTo>
                  <a:lnTo>
                    <a:pt x="2016" y="3930"/>
                  </a:lnTo>
                  <a:lnTo>
                    <a:pt x="2024" y="3950"/>
                  </a:lnTo>
                  <a:lnTo>
                    <a:pt x="2028" y="3960"/>
                  </a:lnTo>
                  <a:lnTo>
                    <a:pt x="2032" y="3972"/>
                  </a:lnTo>
                  <a:lnTo>
                    <a:pt x="2032" y="3982"/>
                  </a:lnTo>
                  <a:lnTo>
                    <a:pt x="2030" y="3992"/>
                  </a:lnTo>
                  <a:lnTo>
                    <a:pt x="2016" y="4034"/>
                  </a:lnTo>
                  <a:lnTo>
                    <a:pt x="2014" y="4050"/>
                  </a:lnTo>
                  <a:lnTo>
                    <a:pt x="2014" y="4056"/>
                  </a:lnTo>
                  <a:lnTo>
                    <a:pt x="2016" y="4058"/>
                  </a:lnTo>
                  <a:lnTo>
                    <a:pt x="2020" y="4058"/>
                  </a:lnTo>
                  <a:lnTo>
                    <a:pt x="2022" y="4056"/>
                  </a:lnTo>
                  <a:lnTo>
                    <a:pt x="2026" y="4050"/>
                  </a:lnTo>
                  <a:lnTo>
                    <a:pt x="2028" y="4044"/>
                  </a:lnTo>
                  <a:lnTo>
                    <a:pt x="2030" y="4042"/>
                  </a:lnTo>
                  <a:lnTo>
                    <a:pt x="2034" y="4042"/>
                  </a:lnTo>
                  <a:lnTo>
                    <a:pt x="2036" y="4042"/>
                  </a:lnTo>
                  <a:lnTo>
                    <a:pt x="2036" y="4044"/>
                  </a:lnTo>
                  <a:lnTo>
                    <a:pt x="2032" y="4048"/>
                  </a:lnTo>
                  <a:lnTo>
                    <a:pt x="2032" y="4054"/>
                  </a:lnTo>
                  <a:lnTo>
                    <a:pt x="2032" y="4056"/>
                  </a:lnTo>
                  <a:lnTo>
                    <a:pt x="2036" y="4060"/>
                  </a:lnTo>
                  <a:lnTo>
                    <a:pt x="2040" y="4064"/>
                  </a:lnTo>
                  <a:lnTo>
                    <a:pt x="2042" y="4064"/>
                  </a:lnTo>
                  <a:lnTo>
                    <a:pt x="2046" y="4062"/>
                  </a:lnTo>
                  <a:lnTo>
                    <a:pt x="2048" y="4060"/>
                  </a:lnTo>
                  <a:lnTo>
                    <a:pt x="2050" y="4060"/>
                  </a:lnTo>
                  <a:lnTo>
                    <a:pt x="2052" y="4062"/>
                  </a:lnTo>
                  <a:lnTo>
                    <a:pt x="2056" y="4066"/>
                  </a:lnTo>
                  <a:lnTo>
                    <a:pt x="2062" y="4070"/>
                  </a:lnTo>
                  <a:lnTo>
                    <a:pt x="2066" y="4068"/>
                  </a:lnTo>
                  <a:lnTo>
                    <a:pt x="2068" y="4066"/>
                  </a:lnTo>
                  <a:lnTo>
                    <a:pt x="2072" y="4060"/>
                  </a:lnTo>
                  <a:lnTo>
                    <a:pt x="2080" y="4048"/>
                  </a:lnTo>
                  <a:lnTo>
                    <a:pt x="2086" y="4042"/>
                  </a:lnTo>
                  <a:lnTo>
                    <a:pt x="2092" y="4038"/>
                  </a:lnTo>
                  <a:lnTo>
                    <a:pt x="2106" y="4032"/>
                  </a:lnTo>
                  <a:lnTo>
                    <a:pt x="2112" y="4028"/>
                  </a:lnTo>
                  <a:lnTo>
                    <a:pt x="2118" y="4024"/>
                  </a:lnTo>
                  <a:lnTo>
                    <a:pt x="2122" y="4016"/>
                  </a:lnTo>
                  <a:lnTo>
                    <a:pt x="2124" y="4008"/>
                  </a:lnTo>
                  <a:lnTo>
                    <a:pt x="2126" y="3998"/>
                  </a:lnTo>
                  <a:lnTo>
                    <a:pt x="2122" y="3986"/>
                  </a:lnTo>
                  <a:lnTo>
                    <a:pt x="2128" y="3990"/>
                  </a:lnTo>
                  <a:lnTo>
                    <a:pt x="2130" y="3992"/>
                  </a:lnTo>
                  <a:lnTo>
                    <a:pt x="2132" y="3998"/>
                  </a:lnTo>
                  <a:lnTo>
                    <a:pt x="2132" y="4002"/>
                  </a:lnTo>
                  <a:lnTo>
                    <a:pt x="2136" y="4004"/>
                  </a:lnTo>
                  <a:lnTo>
                    <a:pt x="2138" y="4008"/>
                  </a:lnTo>
                  <a:lnTo>
                    <a:pt x="2140" y="4020"/>
                  </a:lnTo>
                  <a:lnTo>
                    <a:pt x="2144" y="4028"/>
                  </a:lnTo>
                  <a:lnTo>
                    <a:pt x="2146" y="4030"/>
                  </a:lnTo>
                  <a:lnTo>
                    <a:pt x="2148" y="4032"/>
                  </a:lnTo>
                  <a:lnTo>
                    <a:pt x="2152" y="4030"/>
                  </a:lnTo>
                  <a:lnTo>
                    <a:pt x="2156" y="4028"/>
                  </a:lnTo>
                  <a:lnTo>
                    <a:pt x="2158" y="4028"/>
                  </a:lnTo>
                  <a:lnTo>
                    <a:pt x="2156" y="4032"/>
                  </a:lnTo>
                  <a:lnTo>
                    <a:pt x="2152" y="4040"/>
                  </a:lnTo>
                  <a:lnTo>
                    <a:pt x="2150" y="4046"/>
                  </a:lnTo>
                  <a:lnTo>
                    <a:pt x="2150" y="4052"/>
                  </a:lnTo>
                  <a:lnTo>
                    <a:pt x="2154" y="4060"/>
                  </a:lnTo>
                  <a:lnTo>
                    <a:pt x="2156" y="4070"/>
                  </a:lnTo>
                  <a:lnTo>
                    <a:pt x="2158" y="4092"/>
                  </a:lnTo>
                  <a:lnTo>
                    <a:pt x="2160" y="4114"/>
                  </a:lnTo>
                  <a:lnTo>
                    <a:pt x="2164" y="4128"/>
                  </a:lnTo>
                  <a:lnTo>
                    <a:pt x="2168" y="4140"/>
                  </a:lnTo>
                  <a:lnTo>
                    <a:pt x="2172" y="4154"/>
                  </a:lnTo>
                  <a:lnTo>
                    <a:pt x="2172" y="4172"/>
                  </a:lnTo>
                  <a:lnTo>
                    <a:pt x="2174" y="4172"/>
                  </a:lnTo>
                  <a:lnTo>
                    <a:pt x="2176" y="4166"/>
                  </a:lnTo>
                  <a:lnTo>
                    <a:pt x="2178" y="4168"/>
                  </a:lnTo>
                  <a:lnTo>
                    <a:pt x="2180" y="4172"/>
                  </a:lnTo>
                  <a:lnTo>
                    <a:pt x="2184" y="4186"/>
                  </a:lnTo>
                  <a:lnTo>
                    <a:pt x="2188" y="4198"/>
                  </a:lnTo>
                  <a:lnTo>
                    <a:pt x="2190" y="4208"/>
                  </a:lnTo>
                  <a:lnTo>
                    <a:pt x="2192" y="4216"/>
                  </a:lnTo>
                  <a:lnTo>
                    <a:pt x="2194" y="4224"/>
                  </a:lnTo>
                  <a:lnTo>
                    <a:pt x="2192" y="4232"/>
                  </a:lnTo>
                  <a:lnTo>
                    <a:pt x="2192" y="4240"/>
                  </a:lnTo>
                  <a:lnTo>
                    <a:pt x="2192" y="4242"/>
                  </a:lnTo>
                  <a:lnTo>
                    <a:pt x="2194" y="4246"/>
                  </a:lnTo>
                  <a:lnTo>
                    <a:pt x="2194" y="4248"/>
                  </a:lnTo>
                  <a:lnTo>
                    <a:pt x="2194" y="4250"/>
                  </a:lnTo>
                  <a:lnTo>
                    <a:pt x="2192" y="4258"/>
                  </a:lnTo>
                  <a:lnTo>
                    <a:pt x="2190" y="4266"/>
                  </a:lnTo>
                  <a:lnTo>
                    <a:pt x="2192" y="4268"/>
                  </a:lnTo>
                  <a:lnTo>
                    <a:pt x="2196" y="4268"/>
                  </a:lnTo>
                  <a:lnTo>
                    <a:pt x="2198" y="4268"/>
                  </a:lnTo>
                  <a:lnTo>
                    <a:pt x="2200" y="4270"/>
                  </a:lnTo>
                  <a:lnTo>
                    <a:pt x="2200" y="4276"/>
                  </a:lnTo>
                  <a:lnTo>
                    <a:pt x="2196" y="4286"/>
                  </a:lnTo>
                  <a:lnTo>
                    <a:pt x="2196" y="4298"/>
                  </a:lnTo>
                  <a:lnTo>
                    <a:pt x="2194" y="4306"/>
                  </a:lnTo>
                  <a:lnTo>
                    <a:pt x="2192" y="4310"/>
                  </a:lnTo>
                  <a:lnTo>
                    <a:pt x="2190" y="4320"/>
                  </a:lnTo>
                  <a:lnTo>
                    <a:pt x="2188" y="4344"/>
                  </a:lnTo>
                  <a:lnTo>
                    <a:pt x="2188" y="4352"/>
                  </a:lnTo>
                  <a:lnTo>
                    <a:pt x="2190" y="4352"/>
                  </a:lnTo>
                  <a:lnTo>
                    <a:pt x="2198" y="4336"/>
                  </a:lnTo>
                  <a:lnTo>
                    <a:pt x="2198" y="4340"/>
                  </a:lnTo>
                  <a:lnTo>
                    <a:pt x="2198" y="4346"/>
                  </a:lnTo>
                  <a:lnTo>
                    <a:pt x="2190" y="4360"/>
                  </a:lnTo>
                  <a:lnTo>
                    <a:pt x="2186" y="4368"/>
                  </a:lnTo>
                  <a:lnTo>
                    <a:pt x="2188" y="4372"/>
                  </a:lnTo>
                  <a:lnTo>
                    <a:pt x="2188" y="4374"/>
                  </a:lnTo>
                  <a:lnTo>
                    <a:pt x="2186" y="4380"/>
                  </a:lnTo>
                  <a:lnTo>
                    <a:pt x="2182" y="4390"/>
                  </a:lnTo>
                  <a:lnTo>
                    <a:pt x="2182" y="4396"/>
                  </a:lnTo>
                  <a:lnTo>
                    <a:pt x="2182" y="4400"/>
                  </a:lnTo>
                  <a:lnTo>
                    <a:pt x="2180" y="4406"/>
                  </a:lnTo>
                  <a:lnTo>
                    <a:pt x="2178" y="4416"/>
                  </a:lnTo>
                  <a:lnTo>
                    <a:pt x="2176" y="4426"/>
                  </a:lnTo>
                  <a:lnTo>
                    <a:pt x="2178" y="4434"/>
                  </a:lnTo>
                  <a:lnTo>
                    <a:pt x="2180" y="4440"/>
                  </a:lnTo>
                  <a:lnTo>
                    <a:pt x="2182" y="4442"/>
                  </a:lnTo>
                  <a:lnTo>
                    <a:pt x="2184" y="4442"/>
                  </a:lnTo>
                  <a:lnTo>
                    <a:pt x="2186" y="4438"/>
                  </a:lnTo>
                  <a:lnTo>
                    <a:pt x="2190" y="4432"/>
                  </a:lnTo>
                  <a:lnTo>
                    <a:pt x="2190" y="4430"/>
                  </a:lnTo>
                  <a:lnTo>
                    <a:pt x="2192" y="4430"/>
                  </a:lnTo>
                  <a:lnTo>
                    <a:pt x="2198" y="4438"/>
                  </a:lnTo>
                  <a:lnTo>
                    <a:pt x="2204" y="4450"/>
                  </a:lnTo>
                  <a:lnTo>
                    <a:pt x="2210" y="4464"/>
                  </a:lnTo>
                  <a:lnTo>
                    <a:pt x="2220" y="4480"/>
                  </a:lnTo>
                  <a:lnTo>
                    <a:pt x="2224" y="4484"/>
                  </a:lnTo>
                  <a:lnTo>
                    <a:pt x="2228" y="4484"/>
                  </a:lnTo>
                  <a:lnTo>
                    <a:pt x="2232" y="4486"/>
                  </a:lnTo>
                  <a:lnTo>
                    <a:pt x="2234" y="4488"/>
                  </a:lnTo>
                  <a:lnTo>
                    <a:pt x="2234" y="4494"/>
                  </a:lnTo>
                  <a:lnTo>
                    <a:pt x="2234" y="4498"/>
                  </a:lnTo>
                  <a:lnTo>
                    <a:pt x="2236" y="4502"/>
                  </a:lnTo>
                  <a:lnTo>
                    <a:pt x="2238" y="4508"/>
                  </a:lnTo>
                  <a:lnTo>
                    <a:pt x="2248" y="4516"/>
                  </a:lnTo>
                  <a:lnTo>
                    <a:pt x="2254" y="4526"/>
                  </a:lnTo>
                  <a:lnTo>
                    <a:pt x="2258" y="4536"/>
                  </a:lnTo>
                  <a:lnTo>
                    <a:pt x="2262" y="4544"/>
                  </a:lnTo>
                  <a:lnTo>
                    <a:pt x="2266" y="4562"/>
                  </a:lnTo>
                  <a:lnTo>
                    <a:pt x="2266" y="4578"/>
                  </a:lnTo>
                  <a:lnTo>
                    <a:pt x="2266" y="4588"/>
                  </a:lnTo>
                  <a:lnTo>
                    <a:pt x="2264" y="4592"/>
                  </a:lnTo>
                  <a:lnTo>
                    <a:pt x="2264" y="4596"/>
                  </a:lnTo>
                  <a:lnTo>
                    <a:pt x="2268" y="4600"/>
                  </a:lnTo>
                  <a:lnTo>
                    <a:pt x="2270" y="4602"/>
                  </a:lnTo>
                  <a:lnTo>
                    <a:pt x="2272" y="4606"/>
                  </a:lnTo>
                  <a:lnTo>
                    <a:pt x="2274" y="4612"/>
                  </a:lnTo>
                  <a:lnTo>
                    <a:pt x="2272" y="4622"/>
                  </a:lnTo>
                  <a:lnTo>
                    <a:pt x="2272" y="4634"/>
                  </a:lnTo>
                  <a:lnTo>
                    <a:pt x="2276" y="4638"/>
                  </a:lnTo>
                  <a:lnTo>
                    <a:pt x="2278" y="4640"/>
                  </a:lnTo>
                  <a:lnTo>
                    <a:pt x="2278" y="4644"/>
                  </a:lnTo>
                  <a:lnTo>
                    <a:pt x="2278" y="4648"/>
                  </a:lnTo>
                  <a:lnTo>
                    <a:pt x="2282" y="4654"/>
                  </a:lnTo>
                  <a:lnTo>
                    <a:pt x="2292" y="4666"/>
                  </a:lnTo>
                  <a:lnTo>
                    <a:pt x="2296" y="4672"/>
                  </a:lnTo>
                  <a:lnTo>
                    <a:pt x="2300" y="4680"/>
                  </a:lnTo>
                  <a:lnTo>
                    <a:pt x="2302" y="4688"/>
                  </a:lnTo>
                  <a:lnTo>
                    <a:pt x="2302" y="4696"/>
                  </a:lnTo>
                  <a:lnTo>
                    <a:pt x="2302" y="4700"/>
                  </a:lnTo>
                  <a:lnTo>
                    <a:pt x="2302" y="4702"/>
                  </a:lnTo>
                  <a:lnTo>
                    <a:pt x="2308" y="4708"/>
                  </a:lnTo>
                  <a:lnTo>
                    <a:pt x="2320" y="4716"/>
                  </a:lnTo>
                  <a:lnTo>
                    <a:pt x="2330" y="4724"/>
                  </a:lnTo>
                  <a:lnTo>
                    <a:pt x="2344" y="4736"/>
                  </a:lnTo>
                  <a:lnTo>
                    <a:pt x="2354" y="4746"/>
                  </a:lnTo>
                  <a:lnTo>
                    <a:pt x="2364" y="4754"/>
                  </a:lnTo>
                  <a:lnTo>
                    <a:pt x="2376" y="4760"/>
                  </a:lnTo>
                  <a:lnTo>
                    <a:pt x="2382" y="4764"/>
                  </a:lnTo>
                  <a:lnTo>
                    <a:pt x="2384" y="4766"/>
                  </a:lnTo>
                  <a:lnTo>
                    <a:pt x="2386" y="4770"/>
                  </a:lnTo>
                  <a:lnTo>
                    <a:pt x="2390" y="4776"/>
                  </a:lnTo>
                  <a:lnTo>
                    <a:pt x="2392" y="4774"/>
                  </a:lnTo>
                  <a:lnTo>
                    <a:pt x="2396" y="4770"/>
                  </a:lnTo>
                  <a:lnTo>
                    <a:pt x="2400" y="4770"/>
                  </a:lnTo>
                  <a:lnTo>
                    <a:pt x="2404" y="4770"/>
                  </a:lnTo>
                  <a:lnTo>
                    <a:pt x="2408" y="4770"/>
                  </a:lnTo>
                  <a:lnTo>
                    <a:pt x="2410" y="4768"/>
                  </a:lnTo>
                  <a:lnTo>
                    <a:pt x="2410" y="4764"/>
                  </a:lnTo>
                  <a:lnTo>
                    <a:pt x="2414" y="4764"/>
                  </a:lnTo>
                  <a:lnTo>
                    <a:pt x="2416" y="4766"/>
                  </a:lnTo>
                  <a:lnTo>
                    <a:pt x="2414" y="4770"/>
                  </a:lnTo>
                  <a:lnTo>
                    <a:pt x="2414" y="4772"/>
                  </a:lnTo>
                  <a:lnTo>
                    <a:pt x="2418" y="4774"/>
                  </a:lnTo>
                  <a:lnTo>
                    <a:pt x="2420" y="4774"/>
                  </a:lnTo>
                  <a:lnTo>
                    <a:pt x="2422" y="4772"/>
                  </a:lnTo>
                  <a:lnTo>
                    <a:pt x="2422" y="4766"/>
                  </a:lnTo>
                  <a:lnTo>
                    <a:pt x="2420" y="4756"/>
                  </a:lnTo>
                  <a:lnTo>
                    <a:pt x="2416" y="4750"/>
                  </a:lnTo>
                  <a:lnTo>
                    <a:pt x="2414" y="4744"/>
                  </a:lnTo>
                  <a:lnTo>
                    <a:pt x="2412" y="4740"/>
                  </a:lnTo>
                  <a:lnTo>
                    <a:pt x="2410" y="4730"/>
                  </a:lnTo>
                  <a:lnTo>
                    <a:pt x="2406" y="4718"/>
                  </a:lnTo>
                  <a:lnTo>
                    <a:pt x="2402" y="4714"/>
                  </a:lnTo>
                  <a:lnTo>
                    <a:pt x="2398" y="4708"/>
                  </a:lnTo>
                  <a:lnTo>
                    <a:pt x="2392" y="4704"/>
                  </a:lnTo>
                  <a:lnTo>
                    <a:pt x="2388" y="4698"/>
                  </a:lnTo>
                  <a:lnTo>
                    <a:pt x="2388" y="4690"/>
                  </a:lnTo>
                  <a:lnTo>
                    <a:pt x="2388" y="4684"/>
                  </a:lnTo>
                  <a:lnTo>
                    <a:pt x="2390" y="4672"/>
                  </a:lnTo>
                  <a:lnTo>
                    <a:pt x="2390" y="4668"/>
                  </a:lnTo>
                  <a:lnTo>
                    <a:pt x="2386" y="4664"/>
                  </a:lnTo>
                  <a:lnTo>
                    <a:pt x="2384" y="4658"/>
                  </a:lnTo>
                  <a:lnTo>
                    <a:pt x="2386" y="4654"/>
                  </a:lnTo>
                  <a:lnTo>
                    <a:pt x="2386" y="4648"/>
                  </a:lnTo>
                  <a:lnTo>
                    <a:pt x="2388" y="4642"/>
                  </a:lnTo>
                  <a:lnTo>
                    <a:pt x="2388" y="4636"/>
                  </a:lnTo>
                  <a:lnTo>
                    <a:pt x="2388" y="4628"/>
                  </a:lnTo>
                  <a:lnTo>
                    <a:pt x="2390" y="4616"/>
                  </a:lnTo>
                  <a:lnTo>
                    <a:pt x="2386" y="4600"/>
                  </a:lnTo>
                  <a:lnTo>
                    <a:pt x="2384" y="4592"/>
                  </a:lnTo>
                  <a:lnTo>
                    <a:pt x="2378" y="4584"/>
                  </a:lnTo>
                  <a:lnTo>
                    <a:pt x="2366" y="4570"/>
                  </a:lnTo>
                  <a:lnTo>
                    <a:pt x="2354" y="4558"/>
                  </a:lnTo>
                  <a:lnTo>
                    <a:pt x="2350" y="4552"/>
                  </a:lnTo>
                  <a:lnTo>
                    <a:pt x="2348" y="4546"/>
                  </a:lnTo>
                  <a:lnTo>
                    <a:pt x="2344" y="4540"/>
                  </a:lnTo>
                  <a:lnTo>
                    <a:pt x="2342" y="4538"/>
                  </a:lnTo>
                  <a:lnTo>
                    <a:pt x="2334" y="4536"/>
                  </a:lnTo>
                  <a:lnTo>
                    <a:pt x="2324" y="4526"/>
                  </a:lnTo>
                  <a:lnTo>
                    <a:pt x="2310" y="4508"/>
                  </a:lnTo>
                  <a:lnTo>
                    <a:pt x="2306" y="4502"/>
                  </a:lnTo>
                  <a:lnTo>
                    <a:pt x="2304" y="4502"/>
                  </a:lnTo>
                  <a:lnTo>
                    <a:pt x="2300" y="4504"/>
                  </a:lnTo>
                  <a:lnTo>
                    <a:pt x="2296" y="4504"/>
                  </a:lnTo>
                  <a:lnTo>
                    <a:pt x="2292" y="4504"/>
                  </a:lnTo>
                  <a:lnTo>
                    <a:pt x="2286" y="4500"/>
                  </a:lnTo>
                  <a:lnTo>
                    <a:pt x="2276" y="4494"/>
                  </a:lnTo>
                  <a:lnTo>
                    <a:pt x="2272" y="4486"/>
                  </a:lnTo>
                  <a:lnTo>
                    <a:pt x="2270" y="4476"/>
                  </a:lnTo>
                  <a:lnTo>
                    <a:pt x="2264" y="4454"/>
                  </a:lnTo>
                  <a:lnTo>
                    <a:pt x="2262" y="4434"/>
                  </a:lnTo>
                  <a:lnTo>
                    <a:pt x="2260" y="4428"/>
                  </a:lnTo>
                  <a:lnTo>
                    <a:pt x="2258" y="4426"/>
                  </a:lnTo>
                  <a:lnTo>
                    <a:pt x="2254" y="4426"/>
                  </a:lnTo>
                  <a:lnTo>
                    <a:pt x="2252" y="4424"/>
                  </a:lnTo>
                  <a:lnTo>
                    <a:pt x="2248" y="4416"/>
                  </a:lnTo>
                  <a:lnTo>
                    <a:pt x="2244" y="4402"/>
                  </a:lnTo>
                  <a:lnTo>
                    <a:pt x="2244" y="4388"/>
                  </a:lnTo>
                  <a:lnTo>
                    <a:pt x="2242" y="4386"/>
                  </a:lnTo>
                  <a:lnTo>
                    <a:pt x="2240" y="4384"/>
                  </a:lnTo>
                  <a:lnTo>
                    <a:pt x="2230" y="4388"/>
                  </a:lnTo>
                  <a:lnTo>
                    <a:pt x="2226" y="4390"/>
                  </a:lnTo>
                  <a:lnTo>
                    <a:pt x="2222" y="4390"/>
                  </a:lnTo>
                  <a:lnTo>
                    <a:pt x="2220" y="4388"/>
                  </a:lnTo>
                  <a:lnTo>
                    <a:pt x="2220" y="4382"/>
                  </a:lnTo>
                  <a:lnTo>
                    <a:pt x="2218" y="4352"/>
                  </a:lnTo>
                  <a:lnTo>
                    <a:pt x="2218" y="4330"/>
                  </a:lnTo>
                  <a:lnTo>
                    <a:pt x="2220" y="4320"/>
                  </a:lnTo>
                  <a:lnTo>
                    <a:pt x="2224" y="4316"/>
                  </a:lnTo>
                  <a:lnTo>
                    <a:pt x="2226" y="4310"/>
                  </a:lnTo>
                  <a:lnTo>
                    <a:pt x="2228" y="4306"/>
                  </a:lnTo>
                  <a:lnTo>
                    <a:pt x="2232" y="4296"/>
                  </a:lnTo>
                  <a:lnTo>
                    <a:pt x="2234" y="4284"/>
                  </a:lnTo>
                  <a:lnTo>
                    <a:pt x="2236" y="4274"/>
                  </a:lnTo>
                  <a:lnTo>
                    <a:pt x="2242" y="4258"/>
                  </a:lnTo>
                  <a:lnTo>
                    <a:pt x="2248" y="4232"/>
                  </a:lnTo>
                  <a:lnTo>
                    <a:pt x="2252" y="4208"/>
                  </a:lnTo>
                  <a:lnTo>
                    <a:pt x="2252" y="4200"/>
                  </a:lnTo>
                  <a:lnTo>
                    <a:pt x="2252" y="4196"/>
                  </a:lnTo>
                  <a:lnTo>
                    <a:pt x="2248" y="4192"/>
                  </a:lnTo>
                  <a:lnTo>
                    <a:pt x="2248" y="4190"/>
                  </a:lnTo>
                  <a:lnTo>
                    <a:pt x="2248" y="4186"/>
                  </a:lnTo>
                  <a:lnTo>
                    <a:pt x="2250" y="4184"/>
                  </a:lnTo>
                  <a:lnTo>
                    <a:pt x="2252" y="4180"/>
                  </a:lnTo>
                  <a:lnTo>
                    <a:pt x="2256" y="4178"/>
                  </a:lnTo>
                  <a:lnTo>
                    <a:pt x="2272" y="4176"/>
                  </a:lnTo>
                  <a:lnTo>
                    <a:pt x="2278" y="4178"/>
                  </a:lnTo>
                  <a:lnTo>
                    <a:pt x="2282" y="4180"/>
                  </a:lnTo>
                  <a:lnTo>
                    <a:pt x="2286" y="4182"/>
                  </a:lnTo>
                  <a:lnTo>
                    <a:pt x="2286" y="4184"/>
                  </a:lnTo>
                  <a:lnTo>
                    <a:pt x="2284" y="4194"/>
                  </a:lnTo>
                  <a:lnTo>
                    <a:pt x="2282" y="4210"/>
                  </a:lnTo>
                  <a:lnTo>
                    <a:pt x="2282" y="4220"/>
                  </a:lnTo>
                  <a:lnTo>
                    <a:pt x="2284" y="4222"/>
                  </a:lnTo>
                  <a:lnTo>
                    <a:pt x="2286" y="4222"/>
                  </a:lnTo>
                  <a:lnTo>
                    <a:pt x="2292" y="4222"/>
                  </a:lnTo>
                  <a:lnTo>
                    <a:pt x="2296" y="4222"/>
                  </a:lnTo>
                  <a:lnTo>
                    <a:pt x="2300" y="4222"/>
                  </a:lnTo>
                  <a:lnTo>
                    <a:pt x="2304" y="4224"/>
                  </a:lnTo>
                  <a:lnTo>
                    <a:pt x="2306" y="4224"/>
                  </a:lnTo>
                  <a:lnTo>
                    <a:pt x="2310" y="4220"/>
                  </a:lnTo>
                  <a:lnTo>
                    <a:pt x="2316" y="4218"/>
                  </a:lnTo>
                  <a:lnTo>
                    <a:pt x="2318" y="4218"/>
                  </a:lnTo>
                  <a:lnTo>
                    <a:pt x="2322" y="4220"/>
                  </a:lnTo>
                  <a:lnTo>
                    <a:pt x="2330" y="4228"/>
                  </a:lnTo>
                  <a:lnTo>
                    <a:pt x="2336" y="4236"/>
                  </a:lnTo>
                  <a:lnTo>
                    <a:pt x="2342" y="4244"/>
                  </a:lnTo>
                  <a:lnTo>
                    <a:pt x="2346" y="4246"/>
                  </a:lnTo>
                  <a:lnTo>
                    <a:pt x="2350" y="4248"/>
                  </a:lnTo>
                  <a:lnTo>
                    <a:pt x="2354" y="4250"/>
                  </a:lnTo>
                  <a:lnTo>
                    <a:pt x="2356" y="4252"/>
                  </a:lnTo>
                  <a:lnTo>
                    <a:pt x="2360" y="4258"/>
                  </a:lnTo>
                  <a:lnTo>
                    <a:pt x="2362" y="4266"/>
                  </a:lnTo>
                  <a:lnTo>
                    <a:pt x="2364" y="4268"/>
                  </a:lnTo>
                  <a:lnTo>
                    <a:pt x="2368" y="4268"/>
                  </a:lnTo>
                  <a:lnTo>
                    <a:pt x="2362" y="4256"/>
                  </a:lnTo>
                  <a:lnTo>
                    <a:pt x="2362" y="4246"/>
                  </a:lnTo>
                  <a:lnTo>
                    <a:pt x="2362" y="4256"/>
                  </a:lnTo>
                  <a:lnTo>
                    <a:pt x="2368" y="4268"/>
                  </a:lnTo>
                  <a:lnTo>
                    <a:pt x="2374" y="4280"/>
                  </a:lnTo>
                  <a:lnTo>
                    <a:pt x="2376" y="4286"/>
                  </a:lnTo>
                  <a:lnTo>
                    <a:pt x="2374" y="4292"/>
                  </a:lnTo>
                  <a:lnTo>
                    <a:pt x="2374" y="4300"/>
                  </a:lnTo>
                  <a:lnTo>
                    <a:pt x="2376" y="4310"/>
                  </a:lnTo>
                  <a:lnTo>
                    <a:pt x="2378" y="4310"/>
                  </a:lnTo>
                  <a:lnTo>
                    <a:pt x="2380" y="4308"/>
                  </a:lnTo>
                  <a:lnTo>
                    <a:pt x="2386" y="4308"/>
                  </a:lnTo>
                  <a:lnTo>
                    <a:pt x="2388" y="4308"/>
                  </a:lnTo>
                  <a:lnTo>
                    <a:pt x="2388" y="4304"/>
                  </a:lnTo>
                  <a:lnTo>
                    <a:pt x="2388" y="4298"/>
                  </a:lnTo>
                  <a:lnTo>
                    <a:pt x="2388" y="4296"/>
                  </a:lnTo>
                  <a:lnTo>
                    <a:pt x="2390" y="4294"/>
                  </a:lnTo>
                  <a:lnTo>
                    <a:pt x="2392" y="4296"/>
                  </a:lnTo>
                  <a:lnTo>
                    <a:pt x="2396" y="4300"/>
                  </a:lnTo>
                  <a:lnTo>
                    <a:pt x="2398" y="4304"/>
                  </a:lnTo>
                  <a:lnTo>
                    <a:pt x="2398" y="4308"/>
                  </a:lnTo>
                  <a:lnTo>
                    <a:pt x="2394" y="4314"/>
                  </a:lnTo>
                  <a:lnTo>
                    <a:pt x="2390" y="4320"/>
                  </a:lnTo>
                  <a:lnTo>
                    <a:pt x="2390" y="4322"/>
                  </a:lnTo>
                  <a:lnTo>
                    <a:pt x="2392" y="4324"/>
                  </a:lnTo>
                  <a:lnTo>
                    <a:pt x="2396" y="4326"/>
                  </a:lnTo>
                  <a:lnTo>
                    <a:pt x="2398" y="4326"/>
                  </a:lnTo>
                  <a:lnTo>
                    <a:pt x="2402" y="4324"/>
                  </a:lnTo>
                  <a:lnTo>
                    <a:pt x="2404" y="4322"/>
                  </a:lnTo>
                  <a:lnTo>
                    <a:pt x="2406" y="4320"/>
                  </a:lnTo>
                  <a:lnTo>
                    <a:pt x="2406" y="4322"/>
                  </a:lnTo>
                  <a:lnTo>
                    <a:pt x="2412" y="4324"/>
                  </a:lnTo>
                  <a:lnTo>
                    <a:pt x="2416" y="4324"/>
                  </a:lnTo>
                  <a:lnTo>
                    <a:pt x="2422" y="4326"/>
                  </a:lnTo>
                  <a:lnTo>
                    <a:pt x="2424" y="4328"/>
                  </a:lnTo>
                  <a:lnTo>
                    <a:pt x="2428" y="4334"/>
                  </a:lnTo>
                  <a:lnTo>
                    <a:pt x="2430" y="4340"/>
                  </a:lnTo>
                  <a:lnTo>
                    <a:pt x="2434" y="4344"/>
                  </a:lnTo>
                  <a:lnTo>
                    <a:pt x="2436" y="4344"/>
                  </a:lnTo>
                  <a:lnTo>
                    <a:pt x="2438" y="4344"/>
                  </a:lnTo>
                  <a:lnTo>
                    <a:pt x="2444" y="4342"/>
                  </a:lnTo>
                  <a:lnTo>
                    <a:pt x="2446" y="4342"/>
                  </a:lnTo>
                  <a:lnTo>
                    <a:pt x="2450" y="4346"/>
                  </a:lnTo>
                  <a:lnTo>
                    <a:pt x="2452" y="4350"/>
                  </a:lnTo>
                  <a:lnTo>
                    <a:pt x="2452" y="4352"/>
                  </a:lnTo>
                  <a:lnTo>
                    <a:pt x="2448" y="4360"/>
                  </a:lnTo>
                  <a:lnTo>
                    <a:pt x="2444" y="4370"/>
                  </a:lnTo>
                  <a:lnTo>
                    <a:pt x="2442" y="4378"/>
                  </a:lnTo>
                  <a:lnTo>
                    <a:pt x="2440" y="4388"/>
                  </a:lnTo>
                  <a:lnTo>
                    <a:pt x="2440" y="4410"/>
                  </a:lnTo>
                  <a:lnTo>
                    <a:pt x="2442" y="4422"/>
                  </a:lnTo>
                  <a:lnTo>
                    <a:pt x="2444" y="4424"/>
                  </a:lnTo>
                  <a:lnTo>
                    <a:pt x="2446" y="4424"/>
                  </a:lnTo>
                  <a:lnTo>
                    <a:pt x="2450" y="4422"/>
                  </a:lnTo>
                  <a:lnTo>
                    <a:pt x="2456" y="4416"/>
                  </a:lnTo>
                  <a:lnTo>
                    <a:pt x="2478" y="4396"/>
                  </a:lnTo>
                  <a:lnTo>
                    <a:pt x="2488" y="4388"/>
                  </a:lnTo>
                  <a:lnTo>
                    <a:pt x="2496" y="4384"/>
                  </a:lnTo>
                  <a:lnTo>
                    <a:pt x="2500" y="4382"/>
                  </a:lnTo>
                  <a:lnTo>
                    <a:pt x="2502" y="4380"/>
                  </a:lnTo>
                  <a:lnTo>
                    <a:pt x="2502" y="4376"/>
                  </a:lnTo>
                  <a:lnTo>
                    <a:pt x="2502" y="4374"/>
                  </a:lnTo>
                  <a:lnTo>
                    <a:pt x="2508" y="4372"/>
                  </a:lnTo>
                  <a:lnTo>
                    <a:pt x="2512" y="4370"/>
                  </a:lnTo>
                  <a:lnTo>
                    <a:pt x="2516" y="4364"/>
                  </a:lnTo>
                  <a:lnTo>
                    <a:pt x="2520" y="4346"/>
                  </a:lnTo>
                  <a:lnTo>
                    <a:pt x="2524" y="4328"/>
                  </a:lnTo>
                  <a:lnTo>
                    <a:pt x="2526" y="4324"/>
                  </a:lnTo>
                  <a:lnTo>
                    <a:pt x="2526" y="4322"/>
                  </a:lnTo>
                  <a:lnTo>
                    <a:pt x="2528" y="4324"/>
                  </a:lnTo>
                  <a:lnTo>
                    <a:pt x="2534" y="4328"/>
                  </a:lnTo>
                  <a:lnTo>
                    <a:pt x="2536" y="4330"/>
                  </a:lnTo>
                  <a:lnTo>
                    <a:pt x="2538" y="4332"/>
                  </a:lnTo>
                  <a:lnTo>
                    <a:pt x="2544" y="4332"/>
                  </a:lnTo>
                  <a:lnTo>
                    <a:pt x="2548" y="4330"/>
                  </a:lnTo>
                  <a:lnTo>
                    <a:pt x="2556" y="4326"/>
                  </a:lnTo>
                  <a:lnTo>
                    <a:pt x="2566" y="4318"/>
                  </a:lnTo>
                  <a:lnTo>
                    <a:pt x="2576" y="4310"/>
                  </a:lnTo>
                  <a:lnTo>
                    <a:pt x="2584" y="4304"/>
                  </a:lnTo>
                  <a:lnTo>
                    <a:pt x="2598" y="4296"/>
                  </a:lnTo>
                  <a:lnTo>
                    <a:pt x="2604" y="4292"/>
                  </a:lnTo>
                  <a:lnTo>
                    <a:pt x="2610" y="4286"/>
                  </a:lnTo>
                  <a:lnTo>
                    <a:pt x="2614" y="4280"/>
                  </a:lnTo>
                  <a:lnTo>
                    <a:pt x="2618" y="4272"/>
                  </a:lnTo>
                  <a:lnTo>
                    <a:pt x="2622" y="4252"/>
                  </a:lnTo>
                  <a:lnTo>
                    <a:pt x="2622" y="4238"/>
                  </a:lnTo>
                  <a:lnTo>
                    <a:pt x="2624" y="4228"/>
                  </a:lnTo>
                  <a:lnTo>
                    <a:pt x="2624" y="4224"/>
                  </a:lnTo>
                  <a:lnTo>
                    <a:pt x="2626" y="4222"/>
                  </a:lnTo>
                  <a:lnTo>
                    <a:pt x="2628" y="4222"/>
                  </a:lnTo>
                  <a:lnTo>
                    <a:pt x="2630" y="4220"/>
                  </a:lnTo>
                  <a:lnTo>
                    <a:pt x="2630" y="4214"/>
                  </a:lnTo>
                  <a:lnTo>
                    <a:pt x="2628" y="4206"/>
                  </a:lnTo>
                  <a:lnTo>
                    <a:pt x="2624" y="4198"/>
                  </a:lnTo>
                  <a:lnTo>
                    <a:pt x="2622" y="4194"/>
                  </a:lnTo>
                  <a:lnTo>
                    <a:pt x="2622" y="4190"/>
                  </a:lnTo>
                  <a:lnTo>
                    <a:pt x="2624" y="4174"/>
                  </a:lnTo>
                  <a:lnTo>
                    <a:pt x="2624" y="4152"/>
                  </a:lnTo>
                  <a:lnTo>
                    <a:pt x="2622" y="4138"/>
                  </a:lnTo>
                  <a:lnTo>
                    <a:pt x="2616" y="4122"/>
                  </a:lnTo>
                  <a:lnTo>
                    <a:pt x="2606" y="4096"/>
                  </a:lnTo>
                  <a:lnTo>
                    <a:pt x="2598" y="4080"/>
                  </a:lnTo>
                  <a:lnTo>
                    <a:pt x="2590" y="4068"/>
                  </a:lnTo>
                  <a:lnTo>
                    <a:pt x="2584" y="4056"/>
                  </a:lnTo>
                  <a:lnTo>
                    <a:pt x="2580" y="4046"/>
                  </a:lnTo>
                  <a:lnTo>
                    <a:pt x="2572" y="4042"/>
                  </a:lnTo>
                  <a:lnTo>
                    <a:pt x="2562" y="4034"/>
                  </a:lnTo>
                  <a:lnTo>
                    <a:pt x="2548" y="4020"/>
                  </a:lnTo>
                  <a:lnTo>
                    <a:pt x="2534" y="4002"/>
                  </a:lnTo>
                  <a:lnTo>
                    <a:pt x="2522" y="3986"/>
                  </a:lnTo>
                  <a:lnTo>
                    <a:pt x="2514" y="3972"/>
                  </a:lnTo>
                  <a:lnTo>
                    <a:pt x="2510" y="3966"/>
                  </a:lnTo>
                  <a:lnTo>
                    <a:pt x="2510" y="3960"/>
                  </a:lnTo>
                  <a:lnTo>
                    <a:pt x="2508" y="3954"/>
                  </a:lnTo>
                  <a:lnTo>
                    <a:pt x="2506" y="3950"/>
                  </a:lnTo>
                  <a:lnTo>
                    <a:pt x="2500" y="3946"/>
                  </a:lnTo>
                  <a:lnTo>
                    <a:pt x="2492" y="3940"/>
                  </a:lnTo>
                  <a:lnTo>
                    <a:pt x="2486" y="3934"/>
                  </a:lnTo>
                  <a:lnTo>
                    <a:pt x="2482" y="3926"/>
                  </a:lnTo>
                  <a:lnTo>
                    <a:pt x="2478" y="3916"/>
                  </a:lnTo>
                  <a:lnTo>
                    <a:pt x="2478" y="3904"/>
                  </a:lnTo>
                  <a:lnTo>
                    <a:pt x="2480" y="3894"/>
                  </a:lnTo>
                  <a:lnTo>
                    <a:pt x="2482" y="3884"/>
                  </a:lnTo>
                  <a:lnTo>
                    <a:pt x="2486" y="3874"/>
                  </a:lnTo>
                  <a:lnTo>
                    <a:pt x="2492" y="3864"/>
                  </a:lnTo>
                  <a:lnTo>
                    <a:pt x="2498" y="3856"/>
                  </a:lnTo>
                  <a:lnTo>
                    <a:pt x="2506" y="3848"/>
                  </a:lnTo>
                  <a:lnTo>
                    <a:pt x="2512" y="3842"/>
                  </a:lnTo>
                  <a:lnTo>
                    <a:pt x="2516" y="3836"/>
                  </a:lnTo>
                  <a:lnTo>
                    <a:pt x="2518" y="3826"/>
                  </a:lnTo>
                  <a:lnTo>
                    <a:pt x="2520" y="3816"/>
                  </a:lnTo>
                  <a:lnTo>
                    <a:pt x="2522" y="3812"/>
                  </a:lnTo>
                  <a:lnTo>
                    <a:pt x="2526" y="3808"/>
                  </a:lnTo>
                  <a:lnTo>
                    <a:pt x="2532" y="3806"/>
                  </a:lnTo>
                  <a:lnTo>
                    <a:pt x="2534" y="3806"/>
                  </a:lnTo>
                  <a:lnTo>
                    <a:pt x="2536" y="3808"/>
                  </a:lnTo>
                  <a:lnTo>
                    <a:pt x="2540" y="3808"/>
                  </a:lnTo>
                  <a:lnTo>
                    <a:pt x="2544" y="3804"/>
                  </a:lnTo>
                  <a:lnTo>
                    <a:pt x="2546" y="3800"/>
                  </a:lnTo>
                  <a:lnTo>
                    <a:pt x="2548" y="3794"/>
                  </a:lnTo>
                  <a:lnTo>
                    <a:pt x="2554" y="3790"/>
                  </a:lnTo>
                  <a:lnTo>
                    <a:pt x="2562" y="3784"/>
                  </a:lnTo>
                  <a:lnTo>
                    <a:pt x="2568" y="3782"/>
                  </a:lnTo>
                  <a:lnTo>
                    <a:pt x="2572" y="3782"/>
                  </a:lnTo>
                  <a:lnTo>
                    <a:pt x="2574" y="3778"/>
                  </a:lnTo>
                  <a:lnTo>
                    <a:pt x="2576" y="3780"/>
                  </a:lnTo>
                  <a:lnTo>
                    <a:pt x="2578" y="3780"/>
                  </a:lnTo>
                  <a:lnTo>
                    <a:pt x="2582" y="3780"/>
                  </a:lnTo>
                  <a:lnTo>
                    <a:pt x="2584" y="3776"/>
                  </a:lnTo>
                  <a:lnTo>
                    <a:pt x="2584" y="3774"/>
                  </a:lnTo>
                  <a:lnTo>
                    <a:pt x="2586" y="3776"/>
                  </a:lnTo>
                  <a:lnTo>
                    <a:pt x="2590" y="3778"/>
                  </a:lnTo>
                  <a:lnTo>
                    <a:pt x="2592" y="3778"/>
                  </a:lnTo>
                  <a:lnTo>
                    <a:pt x="2594" y="3774"/>
                  </a:lnTo>
                  <a:lnTo>
                    <a:pt x="2592" y="3772"/>
                  </a:lnTo>
                  <a:lnTo>
                    <a:pt x="2592" y="3768"/>
                  </a:lnTo>
                  <a:lnTo>
                    <a:pt x="2592" y="3762"/>
                  </a:lnTo>
                  <a:lnTo>
                    <a:pt x="2592" y="3760"/>
                  </a:lnTo>
                  <a:lnTo>
                    <a:pt x="2594" y="3762"/>
                  </a:lnTo>
                  <a:lnTo>
                    <a:pt x="2596" y="3766"/>
                  </a:lnTo>
                  <a:lnTo>
                    <a:pt x="2602" y="3772"/>
                  </a:lnTo>
                  <a:lnTo>
                    <a:pt x="2604" y="3774"/>
                  </a:lnTo>
                  <a:lnTo>
                    <a:pt x="2610" y="3776"/>
                  </a:lnTo>
                  <a:lnTo>
                    <a:pt x="2614" y="3776"/>
                  </a:lnTo>
                  <a:lnTo>
                    <a:pt x="2616" y="3778"/>
                  </a:lnTo>
                  <a:lnTo>
                    <a:pt x="2614" y="3782"/>
                  </a:lnTo>
                  <a:lnTo>
                    <a:pt x="2614" y="3784"/>
                  </a:lnTo>
                  <a:lnTo>
                    <a:pt x="2616" y="3786"/>
                  </a:lnTo>
                  <a:lnTo>
                    <a:pt x="2620" y="3786"/>
                  </a:lnTo>
                  <a:lnTo>
                    <a:pt x="2630" y="3784"/>
                  </a:lnTo>
                  <a:lnTo>
                    <a:pt x="2632" y="3782"/>
                  </a:lnTo>
                  <a:lnTo>
                    <a:pt x="2634" y="3778"/>
                  </a:lnTo>
                  <a:lnTo>
                    <a:pt x="2632" y="3772"/>
                  </a:lnTo>
                  <a:lnTo>
                    <a:pt x="2634" y="3772"/>
                  </a:lnTo>
                  <a:lnTo>
                    <a:pt x="2636" y="3778"/>
                  </a:lnTo>
                  <a:lnTo>
                    <a:pt x="2640" y="3782"/>
                  </a:lnTo>
                  <a:lnTo>
                    <a:pt x="2642" y="3782"/>
                  </a:lnTo>
                  <a:lnTo>
                    <a:pt x="2644" y="3782"/>
                  </a:lnTo>
                  <a:lnTo>
                    <a:pt x="2648" y="3784"/>
                  </a:lnTo>
                  <a:lnTo>
                    <a:pt x="2648" y="3786"/>
                  </a:lnTo>
                  <a:lnTo>
                    <a:pt x="2646" y="3788"/>
                  </a:lnTo>
                  <a:lnTo>
                    <a:pt x="2642" y="3794"/>
                  </a:lnTo>
                  <a:lnTo>
                    <a:pt x="2640" y="3802"/>
                  </a:lnTo>
                  <a:lnTo>
                    <a:pt x="2638" y="3810"/>
                  </a:lnTo>
                  <a:lnTo>
                    <a:pt x="2640" y="3816"/>
                  </a:lnTo>
                  <a:lnTo>
                    <a:pt x="2642" y="3818"/>
                  </a:lnTo>
                  <a:lnTo>
                    <a:pt x="2642" y="3820"/>
                  </a:lnTo>
                  <a:lnTo>
                    <a:pt x="2642" y="3824"/>
                  </a:lnTo>
                  <a:lnTo>
                    <a:pt x="2644" y="3828"/>
                  </a:lnTo>
                  <a:lnTo>
                    <a:pt x="2646" y="3832"/>
                  </a:lnTo>
                  <a:lnTo>
                    <a:pt x="2648" y="3836"/>
                  </a:lnTo>
                  <a:lnTo>
                    <a:pt x="2648" y="3840"/>
                  </a:lnTo>
                  <a:lnTo>
                    <a:pt x="2648" y="3842"/>
                  </a:lnTo>
                  <a:lnTo>
                    <a:pt x="2652" y="3844"/>
                  </a:lnTo>
                  <a:lnTo>
                    <a:pt x="2664" y="3842"/>
                  </a:lnTo>
                  <a:lnTo>
                    <a:pt x="2672" y="3838"/>
                  </a:lnTo>
                  <a:lnTo>
                    <a:pt x="2674" y="3836"/>
                  </a:lnTo>
                  <a:lnTo>
                    <a:pt x="2674" y="3834"/>
                  </a:lnTo>
                  <a:lnTo>
                    <a:pt x="2670" y="3828"/>
                  </a:lnTo>
                  <a:lnTo>
                    <a:pt x="2668" y="3820"/>
                  </a:lnTo>
                  <a:lnTo>
                    <a:pt x="2666" y="3814"/>
                  </a:lnTo>
                  <a:lnTo>
                    <a:pt x="2662" y="3812"/>
                  </a:lnTo>
                  <a:lnTo>
                    <a:pt x="2660" y="3812"/>
                  </a:lnTo>
                  <a:lnTo>
                    <a:pt x="2658" y="3810"/>
                  </a:lnTo>
                  <a:lnTo>
                    <a:pt x="2660" y="3804"/>
                  </a:lnTo>
                  <a:lnTo>
                    <a:pt x="2666" y="3800"/>
                  </a:lnTo>
                  <a:lnTo>
                    <a:pt x="2684" y="3788"/>
                  </a:lnTo>
                  <a:lnTo>
                    <a:pt x="2692" y="3784"/>
                  </a:lnTo>
                  <a:lnTo>
                    <a:pt x="2698" y="3782"/>
                  </a:lnTo>
                  <a:lnTo>
                    <a:pt x="2704" y="3784"/>
                  </a:lnTo>
                  <a:lnTo>
                    <a:pt x="2716" y="3780"/>
                  </a:lnTo>
                  <a:lnTo>
                    <a:pt x="2722" y="3778"/>
                  </a:lnTo>
                  <a:lnTo>
                    <a:pt x="2726" y="3774"/>
                  </a:lnTo>
                  <a:lnTo>
                    <a:pt x="2730" y="3768"/>
                  </a:lnTo>
                  <a:lnTo>
                    <a:pt x="2730" y="3764"/>
                  </a:lnTo>
                  <a:lnTo>
                    <a:pt x="2736" y="3766"/>
                  </a:lnTo>
                  <a:lnTo>
                    <a:pt x="2740" y="3768"/>
                  </a:lnTo>
                  <a:lnTo>
                    <a:pt x="2742" y="3772"/>
                  </a:lnTo>
                  <a:lnTo>
                    <a:pt x="2746" y="3768"/>
                  </a:lnTo>
                  <a:lnTo>
                    <a:pt x="2750" y="3764"/>
                  </a:lnTo>
                  <a:lnTo>
                    <a:pt x="2752" y="3766"/>
                  </a:lnTo>
                  <a:lnTo>
                    <a:pt x="2754" y="3768"/>
                  </a:lnTo>
                  <a:lnTo>
                    <a:pt x="2758" y="3764"/>
                  </a:lnTo>
                  <a:lnTo>
                    <a:pt x="2762" y="3760"/>
                  </a:lnTo>
                  <a:lnTo>
                    <a:pt x="2764" y="3760"/>
                  </a:lnTo>
                  <a:lnTo>
                    <a:pt x="2768" y="3760"/>
                  </a:lnTo>
                  <a:lnTo>
                    <a:pt x="2772" y="3762"/>
                  </a:lnTo>
                  <a:lnTo>
                    <a:pt x="2774" y="3760"/>
                  </a:lnTo>
                  <a:lnTo>
                    <a:pt x="2774" y="3756"/>
                  </a:lnTo>
                  <a:lnTo>
                    <a:pt x="2776" y="3750"/>
                  </a:lnTo>
                  <a:lnTo>
                    <a:pt x="2778" y="3752"/>
                  </a:lnTo>
                  <a:lnTo>
                    <a:pt x="2780" y="3754"/>
                  </a:lnTo>
                  <a:lnTo>
                    <a:pt x="2782" y="3754"/>
                  </a:lnTo>
                  <a:lnTo>
                    <a:pt x="2784" y="3752"/>
                  </a:lnTo>
                  <a:lnTo>
                    <a:pt x="2788" y="3748"/>
                  </a:lnTo>
                  <a:lnTo>
                    <a:pt x="2790" y="3748"/>
                  </a:lnTo>
                  <a:lnTo>
                    <a:pt x="2792" y="3748"/>
                  </a:lnTo>
                  <a:lnTo>
                    <a:pt x="2796" y="3744"/>
                  </a:lnTo>
                  <a:lnTo>
                    <a:pt x="2798" y="3740"/>
                  </a:lnTo>
                  <a:lnTo>
                    <a:pt x="2798" y="3736"/>
                  </a:lnTo>
                  <a:lnTo>
                    <a:pt x="2794" y="3724"/>
                  </a:lnTo>
                  <a:lnTo>
                    <a:pt x="2792" y="3714"/>
                  </a:lnTo>
                  <a:lnTo>
                    <a:pt x="2790" y="3712"/>
                  </a:lnTo>
                  <a:lnTo>
                    <a:pt x="2792" y="3708"/>
                  </a:lnTo>
                  <a:lnTo>
                    <a:pt x="2794" y="3708"/>
                  </a:lnTo>
                  <a:lnTo>
                    <a:pt x="2796" y="3710"/>
                  </a:lnTo>
                  <a:lnTo>
                    <a:pt x="2804" y="3720"/>
                  </a:lnTo>
                  <a:lnTo>
                    <a:pt x="2808" y="3726"/>
                  </a:lnTo>
                  <a:lnTo>
                    <a:pt x="2812" y="3730"/>
                  </a:lnTo>
                  <a:lnTo>
                    <a:pt x="2810" y="3734"/>
                  </a:lnTo>
                  <a:lnTo>
                    <a:pt x="2810" y="3738"/>
                  </a:lnTo>
                  <a:lnTo>
                    <a:pt x="2812" y="3738"/>
                  </a:lnTo>
                  <a:lnTo>
                    <a:pt x="2818" y="3740"/>
                  </a:lnTo>
                  <a:lnTo>
                    <a:pt x="2820" y="3742"/>
                  </a:lnTo>
                  <a:lnTo>
                    <a:pt x="2824" y="3742"/>
                  </a:lnTo>
                  <a:lnTo>
                    <a:pt x="2826" y="3740"/>
                  </a:lnTo>
                  <a:lnTo>
                    <a:pt x="2828" y="3736"/>
                  </a:lnTo>
                  <a:lnTo>
                    <a:pt x="2828" y="3734"/>
                  </a:lnTo>
                  <a:lnTo>
                    <a:pt x="2826" y="3730"/>
                  </a:lnTo>
                  <a:lnTo>
                    <a:pt x="2826" y="3726"/>
                  </a:lnTo>
                  <a:lnTo>
                    <a:pt x="2826" y="3724"/>
                  </a:lnTo>
                  <a:lnTo>
                    <a:pt x="2828" y="3724"/>
                  </a:lnTo>
                  <a:lnTo>
                    <a:pt x="2830" y="3728"/>
                  </a:lnTo>
                  <a:lnTo>
                    <a:pt x="2834" y="3730"/>
                  </a:lnTo>
                  <a:lnTo>
                    <a:pt x="2836" y="3732"/>
                  </a:lnTo>
                  <a:lnTo>
                    <a:pt x="2838" y="3730"/>
                  </a:lnTo>
                  <a:lnTo>
                    <a:pt x="2840" y="3728"/>
                  </a:lnTo>
                  <a:lnTo>
                    <a:pt x="2838" y="3724"/>
                  </a:lnTo>
                  <a:lnTo>
                    <a:pt x="2836" y="3720"/>
                  </a:lnTo>
                  <a:lnTo>
                    <a:pt x="2838" y="3718"/>
                  </a:lnTo>
                  <a:lnTo>
                    <a:pt x="2840" y="3716"/>
                  </a:lnTo>
                  <a:lnTo>
                    <a:pt x="2842" y="3716"/>
                  </a:lnTo>
                  <a:lnTo>
                    <a:pt x="2844" y="3718"/>
                  </a:lnTo>
                  <a:lnTo>
                    <a:pt x="2846" y="3724"/>
                  </a:lnTo>
                  <a:lnTo>
                    <a:pt x="2846" y="3726"/>
                  </a:lnTo>
                  <a:lnTo>
                    <a:pt x="2848" y="3728"/>
                  </a:lnTo>
                  <a:lnTo>
                    <a:pt x="2850" y="3728"/>
                  </a:lnTo>
                  <a:lnTo>
                    <a:pt x="2854" y="3724"/>
                  </a:lnTo>
                  <a:lnTo>
                    <a:pt x="2860" y="3718"/>
                  </a:lnTo>
                  <a:lnTo>
                    <a:pt x="2864" y="3716"/>
                  </a:lnTo>
                  <a:lnTo>
                    <a:pt x="2874" y="3722"/>
                  </a:lnTo>
                  <a:lnTo>
                    <a:pt x="2876" y="3722"/>
                  </a:lnTo>
                  <a:lnTo>
                    <a:pt x="2878" y="3722"/>
                  </a:lnTo>
                  <a:lnTo>
                    <a:pt x="2878" y="3718"/>
                  </a:lnTo>
                  <a:lnTo>
                    <a:pt x="2878" y="3714"/>
                  </a:lnTo>
                  <a:lnTo>
                    <a:pt x="2878" y="3712"/>
                  </a:lnTo>
                  <a:lnTo>
                    <a:pt x="2880" y="3712"/>
                  </a:lnTo>
                  <a:lnTo>
                    <a:pt x="2882" y="3712"/>
                  </a:lnTo>
                  <a:lnTo>
                    <a:pt x="2884" y="3716"/>
                  </a:lnTo>
                  <a:lnTo>
                    <a:pt x="2886" y="3718"/>
                  </a:lnTo>
                  <a:lnTo>
                    <a:pt x="2894" y="3716"/>
                  </a:lnTo>
                  <a:lnTo>
                    <a:pt x="2902" y="3712"/>
                  </a:lnTo>
                  <a:lnTo>
                    <a:pt x="2910" y="3710"/>
                  </a:lnTo>
                  <a:lnTo>
                    <a:pt x="2914" y="3706"/>
                  </a:lnTo>
                  <a:lnTo>
                    <a:pt x="2916" y="3702"/>
                  </a:lnTo>
                  <a:lnTo>
                    <a:pt x="2918" y="3698"/>
                  </a:lnTo>
                  <a:lnTo>
                    <a:pt x="2918" y="3696"/>
                  </a:lnTo>
                  <a:lnTo>
                    <a:pt x="2922" y="3694"/>
                  </a:lnTo>
                  <a:lnTo>
                    <a:pt x="2926" y="3692"/>
                  </a:lnTo>
                  <a:lnTo>
                    <a:pt x="2924" y="3690"/>
                  </a:lnTo>
                  <a:lnTo>
                    <a:pt x="2922" y="3688"/>
                  </a:lnTo>
                  <a:lnTo>
                    <a:pt x="2924" y="3686"/>
                  </a:lnTo>
                  <a:lnTo>
                    <a:pt x="2926" y="3684"/>
                  </a:lnTo>
                  <a:lnTo>
                    <a:pt x="2930" y="3678"/>
                  </a:lnTo>
                  <a:lnTo>
                    <a:pt x="2932" y="3674"/>
                  </a:lnTo>
                  <a:lnTo>
                    <a:pt x="2936" y="3674"/>
                  </a:lnTo>
                  <a:lnTo>
                    <a:pt x="2940" y="3674"/>
                  </a:lnTo>
                  <a:lnTo>
                    <a:pt x="2944" y="3672"/>
                  </a:lnTo>
                  <a:lnTo>
                    <a:pt x="2948" y="3668"/>
                  </a:lnTo>
                  <a:lnTo>
                    <a:pt x="2954" y="3662"/>
                  </a:lnTo>
                  <a:lnTo>
                    <a:pt x="2956" y="3662"/>
                  </a:lnTo>
                  <a:lnTo>
                    <a:pt x="2956" y="3664"/>
                  </a:lnTo>
                  <a:lnTo>
                    <a:pt x="2958" y="3666"/>
                  </a:lnTo>
                  <a:lnTo>
                    <a:pt x="2960" y="3662"/>
                  </a:lnTo>
                  <a:lnTo>
                    <a:pt x="2974" y="3648"/>
                  </a:lnTo>
                  <a:lnTo>
                    <a:pt x="2980" y="3642"/>
                  </a:lnTo>
                  <a:lnTo>
                    <a:pt x="2980" y="3638"/>
                  </a:lnTo>
                  <a:lnTo>
                    <a:pt x="2978" y="3636"/>
                  </a:lnTo>
                  <a:lnTo>
                    <a:pt x="2976" y="3632"/>
                  </a:lnTo>
                  <a:lnTo>
                    <a:pt x="2978" y="3626"/>
                  </a:lnTo>
                  <a:lnTo>
                    <a:pt x="2980" y="3624"/>
                  </a:lnTo>
                  <a:lnTo>
                    <a:pt x="2982" y="3624"/>
                  </a:lnTo>
                  <a:lnTo>
                    <a:pt x="2984" y="3626"/>
                  </a:lnTo>
                  <a:lnTo>
                    <a:pt x="2986" y="3628"/>
                  </a:lnTo>
                  <a:lnTo>
                    <a:pt x="2988" y="3626"/>
                  </a:lnTo>
                  <a:lnTo>
                    <a:pt x="2990" y="3626"/>
                  </a:lnTo>
                  <a:lnTo>
                    <a:pt x="2994" y="3628"/>
                  </a:lnTo>
                  <a:lnTo>
                    <a:pt x="2998" y="3630"/>
                  </a:lnTo>
                  <a:lnTo>
                    <a:pt x="3000" y="3624"/>
                  </a:lnTo>
                  <a:lnTo>
                    <a:pt x="3004" y="3616"/>
                  </a:lnTo>
                  <a:lnTo>
                    <a:pt x="3008" y="3614"/>
                  </a:lnTo>
                  <a:lnTo>
                    <a:pt x="3012" y="3610"/>
                  </a:lnTo>
                  <a:lnTo>
                    <a:pt x="3016" y="3608"/>
                  </a:lnTo>
                  <a:lnTo>
                    <a:pt x="3016" y="3606"/>
                  </a:lnTo>
                  <a:lnTo>
                    <a:pt x="3012" y="3602"/>
                  </a:lnTo>
                  <a:lnTo>
                    <a:pt x="3010" y="3598"/>
                  </a:lnTo>
                  <a:lnTo>
                    <a:pt x="3010" y="3594"/>
                  </a:lnTo>
                  <a:lnTo>
                    <a:pt x="3012" y="3590"/>
                  </a:lnTo>
                  <a:lnTo>
                    <a:pt x="3014" y="3594"/>
                  </a:lnTo>
                  <a:lnTo>
                    <a:pt x="3018" y="3596"/>
                  </a:lnTo>
                  <a:lnTo>
                    <a:pt x="3022" y="3596"/>
                  </a:lnTo>
                  <a:lnTo>
                    <a:pt x="3026" y="3594"/>
                  </a:lnTo>
                  <a:lnTo>
                    <a:pt x="3030" y="3590"/>
                  </a:lnTo>
                  <a:lnTo>
                    <a:pt x="3030" y="3588"/>
                  </a:lnTo>
                  <a:lnTo>
                    <a:pt x="3028" y="3588"/>
                  </a:lnTo>
                  <a:lnTo>
                    <a:pt x="3024" y="3588"/>
                  </a:lnTo>
                  <a:lnTo>
                    <a:pt x="3020" y="3586"/>
                  </a:lnTo>
                  <a:lnTo>
                    <a:pt x="3020" y="3582"/>
                  </a:lnTo>
                  <a:lnTo>
                    <a:pt x="3022" y="3578"/>
                  </a:lnTo>
                  <a:lnTo>
                    <a:pt x="3024" y="3576"/>
                  </a:lnTo>
                  <a:lnTo>
                    <a:pt x="3026" y="3576"/>
                  </a:lnTo>
                  <a:lnTo>
                    <a:pt x="3030" y="3578"/>
                  </a:lnTo>
                  <a:lnTo>
                    <a:pt x="3032" y="3580"/>
                  </a:lnTo>
                  <a:lnTo>
                    <a:pt x="3038" y="3586"/>
                  </a:lnTo>
                  <a:lnTo>
                    <a:pt x="3040" y="3586"/>
                  </a:lnTo>
                  <a:lnTo>
                    <a:pt x="3042" y="3582"/>
                  </a:lnTo>
                  <a:lnTo>
                    <a:pt x="3038" y="3576"/>
                  </a:lnTo>
                  <a:lnTo>
                    <a:pt x="3036" y="3572"/>
                  </a:lnTo>
                  <a:lnTo>
                    <a:pt x="3038" y="3568"/>
                  </a:lnTo>
                  <a:lnTo>
                    <a:pt x="3042" y="3558"/>
                  </a:lnTo>
                  <a:lnTo>
                    <a:pt x="3044" y="3552"/>
                  </a:lnTo>
                  <a:lnTo>
                    <a:pt x="3040" y="3552"/>
                  </a:lnTo>
                  <a:lnTo>
                    <a:pt x="3038" y="3552"/>
                  </a:lnTo>
                  <a:lnTo>
                    <a:pt x="3036" y="3550"/>
                  </a:lnTo>
                  <a:lnTo>
                    <a:pt x="3038" y="3546"/>
                  </a:lnTo>
                  <a:lnTo>
                    <a:pt x="3042" y="3540"/>
                  </a:lnTo>
                  <a:lnTo>
                    <a:pt x="3048" y="3536"/>
                  </a:lnTo>
                  <a:lnTo>
                    <a:pt x="3052" y="3534"/>
                  </a:lnTo>
                  <a:lnTo>
                    <a:pt x="3052" y="3532"/>
                  </a:lnTo>
                  <a:lnTo>
                    <a:pt x="3050" y="3532"/>
                  </a:lnTo>
                  <a:lnTo>
                    <a:pt x="3046" y="3526"/>
                  </a:lnTo>
                  <a:lnTo>
                    <a:pt x="3042" y="3522"/>
                  </a:lnTo>
                  <a:lnTo>
                    <a:pt x="3040" y="3518"/>
                  </a:lnTo>
                  <a:lnTo>
                    <a:pt x="3038" y="3518"/>
                  </a:lnTo>
                  <a:lnTo>
                    <a:pt x="3042" y="3516"/>
                  </a:lnTo>
                  <a:lnTo>
                    <a:pt x="3046" y="3514"/>
                  </a:lnTo>
                  <a:lnTo>
                    <a:pt x="3046" y="3516"/>
                  </a:lnTo>
                  <a:lnTo>
                    <a:pt x="3048" y="3520"/>
                  </a:lnTo>
                  <a:lnTo>
                    <a:pt x="3050" y="3524"/>
                  </a:lnTo>
                  <a:lnTo>
                    <a:pt x="3054" y="3524"/>
                  </a:lnTo>
                  <a:lnTo>
                    <a:pt x="3058" y="3522"/>
                  </a:lnTo>
                  <a:lnTo>
                    <a:pt x="3060" y="3520"/>
                  </a:lnTo>
                  <a:lnTo>
                    <a:pt x="3062" y="3518"/>
                  </a:lnTo>
                  <a:lnTo>
                    <a:pt x="3062" y="3512"/>
                  </a:lnTo>
                  <a:lnTo>
                    <a:pt x="3060" y="3510"/>
                  </a:lnTo>
                  <a:lnTo>
                    <a:pt x="3060" y="3508"/>
                  </a:lnTo>
                  <a:lnTo>
                    <a:pt x="3062" y="3506"/>
                  </a:lnTo>
                  <a:lnTo>
                    <a:pt x="3068" y="3502"/>
                  </a:lnTo>
                  <a:lnTo>
                    <a:pt x="3074" y="3492"/>
                  </a:lnTo>
                  <a:lnTo>
                    <a:pt x="3080" y="3482"/>
                  </a:lnTo>
                  <a:lnTo>
                    <a:pt x="3080" y="3478"/>
                  </a:lnTo>
                  <a:lnTo>
                    <a:pt x="3080" y="3474"/>
                  </a:lnTo>
                  <a:lnTo>
                    <a:pt x="3080" y="3470"/>
                  </a:lnTo>
                  <a:lnTo>
                    <a:pt x="3080" y="3468"/>
                  </a:lnTo>
                  <a:lnTo>
                    <a:pt x="3084" y="3462"/>
                  </a:lnTo>
                  <a:lnTo>
                    <a:pt x="3090" y="3454"/>
                  </a:lnTo>
                  <a:lnTo>
                    <a:pt x="3098" y="3440"/>
                  </a:lnTo>
                  <a:lnTo>
                    <a:pt x="3100" y="3436"/>
                  </a:lnTo>
                  <a:lnTo>
                    <a:pt x="3102" y="3432"/>
                  </a:lnTo>
                  <a:lnTo>
                    <a:pt x="3104" y="3434"/>
                  </a:lnTo>
                  <a:lnTo>
                    <a:pt x="3106" y="3436"/>
                  </a:lnTo>
                  <a:lnTo>
                    <a:pt x="3108" y="3440"/>
                  </a:lnTo>
                  <a:lnTo>
                    <a:pt x="3110" y="3440"/>
                  </a:lnTo>
                  <a:lnTo>
                    <a:pt x="3112" y="3440"/>
                  </a:lnTo>
                  <a:lnTo>
                    <a:pt x="3116" y="3436"/>
                  </a:lnTo>
                  <a:lnTo>
                    <a:pt x="3120" y="3434"/>
                  </a:lnTo>
                  <a:lnTo>
                    <a:pt x="3122" y="3432"/>
                  </a:lnTo>
                  <a:lnTo>
                    <a:pt x="3118" y="3424"/>
                  </a:lnTo>
                  <a:lnTo>
                    <a:pt x="3116" y="3420"/>
                  </a:lnTo>
                  <a:lnTo>
                    <a:pt x="3116" y="3416"/>
                  </a:lnTo>
                  <a:lnTo>
                    <a:pt x="3118" y="3414"/>
                  </a:lnTo>
                  <a:lnTo>
                    <a:pt x="3122" y="3412"/>
                  </a:lnTo>
                  <a:lnTo>
                    <a:pt x="3122" y="3410"/>
                  </a:lnTo>
                  <a:lnTo>
                    <a:pt x="3122" y="3408"/>
                  </a:lnTo>
                  <a:lnTo>
                    <a:pt x="3122" y="3402"/>
                  </a:lnTo>
                  <a:lnTo>
                    <a:pt x="3122" y="3400"/>
                  </a:lnTo>
                  <a:lnTo>
                    <a:pt x="3124" y="3398"/>
                  </a:lnTo>
                  <a:lnTo>
                    <a:pt x="3120" y="3392"/>
                  </a:lnTo>
                  <a:lnTo>
                    <a:pt x="3118" y="3390"/>
                  </a:lnTo>
                  <a:lnTo>
                    <a:pt x="3124" y="3390"/>
                  </a:lnTo>
                  <a:lnTo>
                    <a:pt x="3128" y="3390"/>
                  </a:lnTo>
                  <a:lnTo>
                    <a:pt x="3132" y="3388"/>
                  </a:lnTo>
                  <a:lnTo>
                    <a:pt x="3134" y="3384"/>
                  </a:lnTo>
                  <a:lnTo>
                    <a:pt x="3134" y="3376"/>
                  </a:lnTo>
                  <a:lnTo>
                    <a:pt x="3134" y="3370"/>
                  </a:lnTo>
                  <a:lnTo>
                    <a:pt x="3132" y="3366"/>
                  </a:lnTo>
                  <a:lnTo>
                    <a:pt x="3128" y="3362"/>
                  </a:lnTo>
                  <a:lnTo>
                    <a:pt x="3136" y="3356"/>
                  </a:lnTo>
                  <a:lnTo>
                    <a:pt x="3140" y="3352"/>
                  </a:lnTo>
                  <a:lnTo>
                    <a:pt x="3136" y="3350"/>
                  </a:lnTo>
                  <a:lnTo>
                    <a:pt x="3128" y="3348"/>
                  </a:lnTo>
                  <a:lnTo>
                    <a:pt x="3122" y="3344"/>
                  </a:lnTo>
                  <a:lnTo>
                    <a:pt x="3118" y="3338"/>
                  </a:lnTo>
                  <a:lnTo>
                    <a:pt x="3112" y="3332"/>
                  </a:lnTo>
                  <a:lnTo>
                    <a:pt x="3108" y="3330"/>
                  </a:lnTo>
                  <a:lnTo>
                    <a:pt x="3102" y="3330"/>
                  </a:lnTo>
                  <a:lnTo>
                    <a:pt x="3096" y="3334"/>
                  </a:lnTo>
                  <a:lnTo>
                    <a:pt x="3086" y="3338"/>
                  </a:lnTo>
                  <a:lnTo>
                    <a:pt x="3082" y="3338"/>
                  </a:lnTo>
                  <a:lnTo>
                    <a:pt x="3078" y="3334"/>
                  </a:lnTo>
                  <a:lnTo>
                    <a:pt x="3076" y="3332"/>
                  </a:lnTo>
                  <a:lnTo>
                    <a:pt x="3074" y="3330"/>
                  </a:lnTo>
                  <a:lnTo>
                    <a:pt x="3070" y="3332"/>
                  </a:lnTo>
                  <a:lnTo>
                    <a:pt x="3070" y="3328"/>
                  </a:lnTo>
                  <a:lnTo>
                    <a:pt x="3072" y="3326"/>
                  </a:lnTo>
                  <a:lnTo>
                    <a:pt x="3074" y="3324"/>
                  </a:lnTo>
                  <a:lnTo>
                    <a:pt x="3082" y="3326"/>
                  </a:lnTo>
                  <a:lnTo>
                    <a:pt x="3088" y="3326"/>
                  </a:lnTo>
                  <a:lnTo>
                    <a:pt x="3090" y="3326"/>
                  </a:lnTo>
                  <a:lnTo>
                    <a:pt x="3092" y="3324"/>
                  </a:lnTo>
                  <a:lnTo>
                    <a:pt x="3098" y="3316"/>
                  </a:lnTo>
                  <a:lnTo>
                    <a:pt x="3106" y="3310"/>
                  </a:lnTo>
                  <a:lnTo>
                    <a:pt x="3116" y="3304"/>
                  </a:lnTo>
                  <a:lnTo>
                    <a:pt x="3124" y="3302"/>
                  </a:lnTo>
                  <a:lnTo>
                    <a:pt x="3128" y="3300"/>
                  </a:lnTo>
                  <a:lnTo>
                    <a:pt x="3132" y="3298"/>
                  </a:lnTo>
                  <a:lnTo>
                    <a:pt x="3132" y="3294"/>
                  </a:lnTo>
                  <a:lnTo>
                    <a:pt x="3130" y="3290"/>
                  </a:lnTo>
                  <a:lnTo>
                    <a:pt x="3122" y="3278"/>
                  </a:lnTo>
                  <a:lnTo>
                    <a:pt x="3110" y="3268"/>
                  </a:lnTo>
                  <a:lnTo>
                    <a:pt x="3100" y="3258"/>
                  </a:lnTo>
                  <a:lnTo>
                    <a:pt x="3090" y="3254"/>
                  </a:lnTo>
                  <a:lnTo>
                    <a:pt x="3086" y="3252"/>
                  </a:lnTo>
                  <a:lnTo>
                    <a:pt x="3086" y="3250"/>
                  </a:lnTo>
                  <a:lnTo>
                    <a:pt x="3086" y="3248"/>
                  </a:lnTo>
                  <a:lnTo>
                    <a:pt x="3086" y="3246"/>
                  </a:lnTo>
                  <a:lnTo>
                    <a:pt x="3086" y="3244"/>
                  </a:lnTo>
                  <a:lnTo>
                    <a:pt x="3082" y="3242"/>
                  </a:lnTo>
                  <a:lnTo>
                    <a:pt x="3078" y="3240"/>
                  </a:lnTo>
                  <a:lnTo>
                    <a:pt x="3074" y="3242"/>
                  </a:lnTo>
                  <a:lnTo>
                    <a:pt x="3068" y="3246"/>
                  </a:lnTo>
                  <a:lnTo>
                    <a:pt x="3062" y="3246"/>
                  </a:lnTo>
                  <a:lnTo>
                    <a:pt x="3056" y="3244"/>
                  </a:lnTo>
                  <a:lnTo>
                    <a:pt x="3050" y="3242"/>
                  </a:lnTo>
                  <a:lnTo>
                    <a:pt x="3046" y="3236"/>
                  </a:lnTo>
                  <a:lnTo>
                    <a:pt x="3044" y="3232"/>
                  </a:lnTo>
                  <a:lnTo>
                    <a:pt x="3042" y="3228"/>
                  </a:lnTo>
                  <a:lnTo>
                    <a:pt x="3044" y="3224"/>
                  </a:lnTo>
                  <a:lnTo>
                    <a:pt x="3046" y="3224"/>
                  </a:lnTo>
                  <a:lnTo>
                    <a:pt x="3048" y="3224"/>
                  </a:lnTo>
                  <a:lnTo>
                    <a:pt x="3052" y="3230"/>
                  </a:lnTo>
                  <a:lnTo>
                    <a:pt x="3056" y="3238"/>
                  </a:lnTo>
                  <a:lnTo>
                    <a:pt x="3060" y="3242"/>
                  </a:lnTo>
                  <a:lnTo>
                    <a:pt x="3062" y="3244"/>
                  </a:lnTo>
                  <a:lnTo>
                    <a:pt x="3066" y="3242"/>
                  </a:lnTo>
                  <a:lnTo>
                    <a:pt x="3072" y="3240"/>
                  </a:lnTo>
                  <a:lnTo>
                    <a:pt x="3078" y="3236"/>
                  </a:lnTo>
                  <a:lnTo>
                    <a:pt x="3080" y="3236"/>
                  </a:lnTo>
                  <a:lnTo>
                    <a:pt x="3084" y="3236"/>
                  </a:lnTo>
                  <a:lnTo>
                    <a:pt x="3088" y="3240"/>
                  </a:lnTo>
                  <a:lnTo>
                    <a:pt x="3090" y="3242"/>
                  </a:lnTo>
                  <a:lnTo>
                    <a:pt x="3092" y="3246"/>
                  </a:lnTo>
                  <a:lnTo>
                    <a:pt x="3094" y="3248"/>
                  </a:lnTo>
                  <a:lnTo>
                    <a:pt x="3098" y="3248"/>
                  </a:lnTo>
                  <a:lnTo>
                    <a:pt x="3104" y="3248"/>
                  </a:lnTo>
                  <a:lnTo>
                    <a:pt x="3110" y="3250"/>
                  </a:lnTo>
                  <a:lnTo>
                    <a:pt x="3122" y="3256"/>
                  </a:lnTo>
                  <a:lnTo>
                    <a:pt x="3128" y="3258"/>
                  </a:lnTo>
                  <a:lnTo>
                    <a:pt x="3130" y="3258"/>
                  </a:lnTo>
                  <a:lnTo>
                    <a:pt x="3132" y="3256"/>
                  </a:lnTo>
                  <a:lnTo>
                    <a:pt x="3132" y="3254"/>
                  </a:lnTo>
                  <a:lnTo>
                    <a:pt x="3128" y="3244"/>
                  </a:lnTo>
                  <a:lnTo>
                    <a:pt x="3120" y="3236"/>
                  </a:lnTo>
                  <a:lnTo>
                    <a:pt x="3114" y="3230"/>
                  </a:lnTo>
                  <a:lnTo>
                    <a:pt x="3112" y="3226"/>
                  </a:lnTo>
                  <a:lnTo>
                    <a:pt x="3108" y="3220"/>
                  </a:lnTo>
                  <a:lnTo>
                    <a:pt x="3100" y="3212"/>
                  </a:lnTo>
                  <a:lnTo>
                    <a:pt x="3092" y="3206"/>
                  </a:lnTo>
                  <a:lnTo>
                    <a:pt x="3090" y="3200"/>
                  </a:lnTo>
                  <a:lnTo>
                    <a:pt x="3090" y="3192"/>
                  </a:lnTo>
                  <a:lnTo>
                    <a:pt x="3088" y="3186"/>
                  </a:lnTo>
                  <a:lnTo>
                    <a:pt x="3086" y="3178"/>
                  </a:lnTo>
                  <a:lnTo>
                    <a:pt x="3082" y="3168"/>
                  </a:lnTo>
                  <a:lnTo>
                    <a:pt x="3078" y="3158"/>
                  </a:lnTo>
                  <a:lnTo>
                    <a:pt x="3072" y="3138"/>
                  </a:lnTo>
                  <a:lnTo>
                    <a:pt x="3070" y="3130"/>
                  </a:lnTo>
                  <a:lnTo>
                    <a:pt x="3066" y="3122"/>
                  </a:lnTo>
                  <a:lnTo>
                    <a:pt x="3060" y="3116"/>
                  </a:lnTo>
                  <a:lnTo>
                    <a:pt x="3052" y="3112"/>
                  </a:lnTo>
                  <a:lnTo>
                    <a:pt x="3044" y="3108"/>
                  </a:lnTo>
                  <a:lnTo>
                    <a:pt x="3040" y="3104"/>
                  </a:lnTo>
                  <a:lnTo>
                    <a:pt x="3036" y="3098"/>
                  </a:lnTo>
                  <a:lnTo>
                    <a:pt x="3034" y="3094"/>
                  </a:lnTo>
                  <a:lnTo>
                    <a:pt x="3032" y="3094"/>
                  </a:lnTo>
                  <a:lnTo>
                    <a:pt x="3026" y="3096"/>
                  </a:lnTo>
                  <a:lnTo>
                    <a:pt x="3022" y="3096"/>
                  </a:lnTo>
                  <a:lnTo>
                    <a:pt x="3022" y="3092"/>
                  </a:lnTo>
                  <a:lnTo>
                    <a:pt x="3024" y="3084"/>
                  </a:lnTo>
                  <a:lnTo>
                    <a:pt x="3026" y="3076"/>
                  </a:lnTo>
                  <a:lnTo>
                    <a:pt x="3038" y="3058"/>
                  </a:lnTo>
                  <a:lnTo>
                    <a:pt x="3044" y="3052"/>
                  </a:lnTo>
                  <a:lnTo>
                    <a:pt x="3048" y="3048"/>
                  </a:lnTo>
                  <a:lnTo>
                    <a:pt x="3054" y="3044"/>
                  </a:lnTo>
                  <a:lnTo>
                    <a:pt x="3056" y="3042"/>
                  </a:lnTo>
                  <a:lnTo>
                    <a:pt x="3058" y="3038"/>
                  </a:lnTo>
                  <a:lnTo>
                    <a:pt x="3062" y="3034"/>
                  </a:lnTo>
                  <a:lnTo>
                    <a:pt x="3064" y="3032"/>
                  </a:lnTo>
                  <a:lnTo>
                    <a:pt x="3064" y="3028"/>
                  </a:lnTo>
                  <a:lnTo>
                    <a:pt x="3062" y="3024"/>
                  </a:lnTo>
                  <a:lnTo>
                    <a:pt x="3060" y="3020"/>
                  </a:lnTo>
                  <a:lnTo>
                    <a:pt x="3060" y="3018"/>
                  </a:lnTo>
                  <a:lnTo>
                    <a:pt x="3062" y="3018"/>
                  </a:lnTo>
                  <a:lnTo>
                    <a:pt x="3064" y="3016"/>
                  </a:lnTo>
                  <a:lnTo>
                    <a:pt x="3066" y="3016"/>
                  </a:lnTo>
                  <a:lnTo>
                    <a:pt x="3066" y="3020"/>
                  </a:lnTo>
                  <a:lnTo>
                    <a:pt x="3068" y="3022"/>
                  </a:lnTo>
                  <a:lnTo>
                    <a:pt x="3070" y="3024"/>
                  </a:lnTo>
                  <a:lnTo>
                    <a:pt x="3072" y="3024"/>
                  </a:lnTo>
                  <a:lnTo>
                    <a:pt x="3076" y="3022"/>
                  </a:lnTo>
                  <a:lnTo>
                    <a:pt x="3080" y="3020"/>
                  </a:lnTo>
                  <a:lnTo>
                    <a:pt x="3082" y="3018"/>
                  </a:lnTo>
                  <a:lnTo>
                    <a:pt x="3084" y="3012"/>
                  </a:lnTo>
                  <a:lnTo>
                    <a:pt x="3086" y="3008"/>
                  </a:lnTo>
                  <a:lnTo>
                    <a:pt x="3088" y="3006"/>
                  </a:lnTo>
                  <a:lnTo>
                    <a:pt x="3090" y="3008"/>
                  </a:lnTo>
                  <a:lnTo>
                    <a:pt x="3092" y="3008"/>
                  </a:lnTo>
                  <a:lnTo>
                    <a:pt x="3094" y="3006"/>
                  </a:lnTo>
                  <a:lnTo>
                    <a:pt x="3096" y="3002"/>
                  </a:lnTo>
                  <a:lnTo>
                    <a:pt x="3100" y="2996"/>
                  </a:lnTo>
                  <a:lnTo>
                    <a:pt x="3106" y="2990"/>
                  </a:lnTo>
                  <a:lnTo>
                    <a:pt x="3114" y="2988"/>
                  </a:lnTo>
                  <a:lnTo>
                    <a:pt x="3118" y="2988"/>
                  </a:lnTo>
                  <a:lnTo>
                    <a:pt x="3122" y="2986"/>
                  </a:lnTo>
                  <a:lnTo>
                    <a:pt x="3128" y="2982"/>
                  </a:lnTo>
                  <a:lnTo>
                    <a:pt x="3134" y="2976"/>
                  </a:lnTo>
                  <a:lnTo>
                    <a:pt x="3136" y="2976"/>
                  </a:lnTo>
                  <a:lnTo>
                    <a:pt x="3138" y="2978"/>
                  </a:lnTo>
                  <a:lnTo>
                    <a:pt x="3140" y="2978"/>
                  </a:lnTo>
                  <a:lnTo>
                    <a:pt x="3142" y="2976"/>
                  </a:lnTo>
                  <a:lnTo>
                    <a:pt x="3142" y="2978"/>
                  </a:lnTo>
                  <a:lnTo>
                    <a:pt x="3144" y="2980"/>
                  </a:lnTo>
                  <a:lnTo>
                    <a:pt x="3144" y="2982"/>
                  </a:lnTo>
                  <a:lnTo>
                    <a:pt x="3148" y="2984"/>
                  </a:lnTo>
                  <a:lnTo>
                    <a:pt x="3152" y="2982"/>
                  </a:lnTo>
                  <a:lnTo>
                    <a:pt x="3156" y="2980"/>
                  </a:lnTo>
                  <a:lnTo>
                    <a:pt x="3158" y="2978"/>
                  </a:lnTo>
                  <a:lnTo>
                    <a:pt x="3156" y="2974"/>
                  </a:lnTo>
                  <a:lnTo>
                    <a:pt x="3156" y="2972"/>
                  </a:lnTo>
                  <a:lnTo>
                    <a:pt x="3156" y="2970"/>
                  </a:lnTo>
                  <a:lnTo>
                    <a:pt x="3158" y="2966"/>
                  </a:lnTo>
                  <a:lnTo>
                    <a:pt x="3162" y="2960"/>
                  </a:lnTo>
                  <a:lnTo>
                    <a:pt x="3164" y="2958"/>
                  </a:lnTo>
                  <a:lnTo>
                    <a:pt x="3164" y="2956"/>
                  </a:lnTo>
                  <a:lnTo>
                    <a:pt x="3158" y="2952"/>
                  </a:lnTo>
                  <a:lnTo>
                    <a:pt x="3150" y="2950"/>
                  </a:lnTo>
                  <a:lnTo>
                    <a:pt x="3144" y="2946"/>
                  </a:lnTo>
                  <a:lnTo>
                    <a:pt x="3140" y="2942"/>
                  </a:lnTo>
                  <a:lnTo>
                    <a:pt x="3138" y="2944"/>
                  </a:lnTo>
                  <a:lnTo>
                    <a:pt x="3134" y="2948"/>
                  </a:lnTo>
                  <a:lnTo>
                    <a:pt x="3132" y="2948"/>
                  </a:lnTo>
                  <a:lnTo>
                    <a:pt x="3126" y="2950"/>
                  </a:lnTo>
                  <a:lnTo>
                    <a:pt x="3116" y="2948"/>
                  </a:lnTo>
                  <a:lnTo>
                    <a:pt x="3114" y="2944"/>
                  </a:lnTo>
                  <a:lnTo>
                    <a:pt x="3112" y="2942"/>
                  </a:lnTo>
                  <a:lnTo>
                    <a:pt x="3108" y="2942"/>
                  </a:lnTo>
                  <a:lnTo>
                    <a:pt x="3102" y="2942"/>
                  </a:lnTo>
                  <a:lnTo>
                    <a:pt x="3100" y="2938"/>
                  </a:lnTo>
                  <a:lnTo>
                    <a:pt x="3096" y="2934"/>
                  </a:lnTo>
                  <a:lnTo>
                    <a:pt x="3094" y="2930"/>
                  </a:lnTo>
                  <a:lnTo>
                    <a:pt x="3090" y="2930"/>
                  </a:lnTo>
                  <a:lnTo>
                    <a:pt x="3080" y="2930"/>
                  </a:lnTo>
                  <a:lnTo>
                    <a:pt x="3072" y="2934"/>
                  </a:lnTo>
                  <a:lnTo>
                    <a:pt x="3066" y="2940"/>
                  </a:lnTo>
                  <a:lnTo>
                    <a:pt x="3062" y="2946"/>
                  </a:lnTo>
                  <a:lnTo>
                    <a:pt x="3056" y="2950"/>
                  </a:lnTo>
                  <a:lnTo>
                    <a:pt x="3052" y="2952"/>
                  </a:lnTo>
                  <a:lnTo>
                    <a:pt x="3050" y="2954"/>
                  </a:lnTo>
                  <a:lnTo>
                    <a:pt x="3050" y="2958"/>
                  </a:lnTo>
                  <a:lnTo>
                    <a:pt x="3052" y="2962"/>
                  </a:lnTo>
                  <a:lnTo>
                    <a:pt x="3050" y="2964"/>
                  </a:lnTo>
                  <a:lnTo>
                    <a:pt x="3044" y="2966"/>
                  </a:lnTo>
                  <a:lnTo>
                    <a:pt x="3032" y="2968"/>
                  </a:lnTo>
                  <a:lnTo>
                    <a:pt x="3026" y="2968"/>
                  </a:lnTo>
                  <a:lnTo>
                    <a:pt x="3020" y="2964"/>
                  </a:lnTo>
                  <a:lnTo>
                    <a:pt x="3018" y="2960"/>
                  </a:lnTo>
                  <a:lnTo>
                    <a:pt x="3014" y="2956"/>
                  </a:lnTo>
                  <a:lnTo>
                    <a:pt x="3014" y="2946"/>
                  </a:lnTo>
                  <a:lnTo>
                    <a:pt x="3014" y="2940"/>
                  </a:lnTo>
                  <a:lnTo>
                    <a:pt x="3016" y="2938"/>
                  </a:lnTo>
                  <a:lnTo>
                    <a:pt x="3018" y="2934"/>
                  </a:lnTo>
                  <a:lnTo>
                    <a:pt x="3018" y="2930"/>
                  </a:lnTo>
                  <a:lnTo>
                    <a:pt x="3014" y="2922"/>
                  </a:lnTo>
                  <a:lnTo>
                    <a:pt x="3008" y="2914"/>
                  </a:lnTo>
                  <a:lnTo>
                    <a:pt x="3004" y="2912"/>
                  </a:lnTo>
                  <a:lnTo>
                    <a:pt x="3002" y="2912"/>
                  </a:lnTo>
                  <a:lnTo>
                    <a:pt x="2996" y="2914"/>
                  </a:lnTo>
                  <a:lnTo>
                    <a:pt x="2988" y="2914"/>
                  </a:lnTo>
                  <a:lnTo>
                    <a:pt x="2980" y="2914"/>
                  </a:lnTo>
                  <a:lnTo>
                    <a:pt x="2976" y="2912"/>
                  </a:lnTo>
                  <a:lnTo>
                    <a:pt x="2974" y="2910"/>
                  </a:lnTo>
                  <a:lnTo>
                    <a:pt x="2970" y="2906"/>
                  </a:lnTo>
                  <a:lnTo>
                    <a:pt x="2966" y="2904"/>
                  </a:lnTo>
                  <a:lnTo>
                    <a:pt x="2962" y="2900"/>
                  </a:lnTo>
                  <a:lnTo>
                    <a:pt x="2958" y="2890"/>
                  </a:lnTo>
                  <a:lnTo>
                    <a:pt x="2958" y="2880"/>
                  </a:lnTo>
                  <a:lnTo>
                    <a:pt x="2960" y="2872"/>
                  </a:lnTo>
                  <a:lnTo>
                    <a:pt x="2962" y="2868"/>
                  </a:lnTo>
                  <a:lnTo>
                    <a:pt x="2964" y="2862"/>
                  </a:lnTo>
                  <a:lnTo>
                    <a:pt x="2966" y="2856"/>
                  </a:lnTo>
                  <a:lnTo>
                    <a:pt x="2970" y="2854"/>
                  </a:lnTo>
                  <a:lnTo>
                    <a:pt x="2976" y="2854"/>
                  </a:lnTo>
                  <a:lnTo>
                    <a:pt x="2982" y="2860"/>
                  </a:lnTo>
                  <a:lnTo>
                    <a:pt x="2986" y="2864"/>
                  </a:lnTo>
                  <a:lnTo>
                    <a:pt x="2988" y="2864"/>
                  </a:lnTo>
                  <a:lnTo>
                    <a:pt x="2992" y="2862"/>
                  </a:lnTo>
                  <a:lnTo>
                    <a:pt x="2996" y="2856"/>
                  </a:lnTo>
                  <a:lnTo>
                    <a:pt x="3000" y="2856"/>
                  </a:lnTo>
                  <a:lnTo>
                    <a:pt x="3002" y="2856"/>
                  </a:lnTo>
                  <a:lnTo>
                    <a:pt x="3010" y="2856"/>
                  </a:lnTo>
                  <a:lnTo>
                    <a:pt x="3018" y="2854"/>
                  </a:lnTo>
                  <a:lnTo>
                    <a:pt x="3024" y="2846"/>
                  </a:lnTo>
                  <a:lnTo>
                    <a:pt x="3026" y="2836"/>
                  </a:lnTo>
                  <a:lnTo>
                    <a:pt x="3026" y="2830"/>
                  </a:lnTo>
                  <a:lnTo>
                    <a:pt x="3032" y="2824"/>
                  </a:lnTo>
                  <a:lnTo>
                    <a:pt x="3044" y="2814"/>
                  </a:lnTo>
                  <a:lnTo>
                    <a:pt x="3058" y="2806"/>
                  </a:lnTo>
                  <a:lnTo>
                    <a:pt x="3070" y="2802"/>
                  </a:lnTo>
                  <a:lnTo>
                    <a:pt x="3076" y="2798"/>
                  </a:lnTo>
                  <a:lnTo>
                    <a:pt x="3078" y="2794"/>
                  </a:lnTo>
                  <a:lnTo>
                    <a:pt x="3080" y="2786"/>
                  </a:lnTo>
                  <a:lnTo>
                    <a:pt x="3088" y="2778"/>
                  </a:lnTo>
                  <a:lnTo>
                    <a:pt x="3094" y="2770"/>
                  </a:lnTo>
                  <a:lnTo>
                    <a:pt x="3094" y="2768"/>
                  </a:lnTo>
                  <a:lnTo>
                    <a:pt x="3096" y="2766"/>
                  </a:lnTo>
                  <a:lnTo>
                    <a:pt x="3100" y="2762"/>
                  </a:lnTo>
                  <a:lnTo>
                    <a:pt x="3104" y="2760"/>
                  </a:lnTo>
                  <a:lnTo>
                    <a:pt x="3108" y="2760"/>
                  </a:lnTo>
                  <a:lnTo>
                    <a:pt x="3114" y="2760"/>
                  </a:lnTo>
                  <a:lnTo>
                    <a:pt x="3120" y="2762"/>
                  </a:lnTo>
                  <a:lnTo>
                    <a:pt x="3122" y="2762"/>
                  </a:lnTo>
                  <a:lnTo>
                    <a:pt x="3124" y="2762"/>
                  </a:lnTo>
                  <a:lnTo>
                    <a:pt x="3128" y="2760"/>
                  </a:lnTo>
                  <a:lnTo>
                    <a:pt x="3130" y="2760"/>
                  </a:lnTo>
                  <a:lnTo>
                    <a:pt x="3132" y="2764"/>
                  </a:lnTo>
                  <a:lnTo>
                    <a:pt x="3138" y="2770"/>
                  </a:lnTo>
                  <a:lnTo>
                    <a:pt x="3144" y="2778"/>
                  </a:lnTo>
                  <a:lnTo>
                    <a:pt x="3146" y="2782"/>
                  </a:lnTo>
                  <a:lnTo>
                    <a:pt x="3144" y="2790"/>
                  </a:lnTo>
                  <a:lnTo>
                    <a:pt x="3138" y="2800"/>
                  </a:lnTo>
                  <a:lnTo>
                    <a:pt x="3132" y="2806"/>
                  </a:lnTo>
                  <a:lnTo>
                    <a:pt x="3128" y="2810"/>
                  </a:lnTo>
                  <a:lnTo>
                    <a:pt x="3120" y="2816"/>
                  </a:lnTo>
                  <a:lnTo>
                    <a:pt x="3114" y="2820"/>
                  </a:lnTo>
                  <a:lnTo>
                    <a:pt x="3114" y="2822"/>
                  </a:lnTo>
                  <a:lnTo>
                    <a:pt x="3114" y="2824"/>
                  </a:lnTo>
                  <a:lnTo>
                    <a:pt x="3116" y="2826"/>
                  </a:lnTo>
                  <a:lnTo>
                    <a:pt x="3114" y="2828"/>
                  </a:lnTo>
                  <a:lnTo>
                    <a:pt x="3110" y="2832"/>
                  </a:lnTo>
                  <a:lnTo>
                    <a:pt x="3104" y="2834"/>
                  </a:lnTo>
                  <a:lnTo>
                    <a:pt x="3104" y="2836"/>
                  </a:lnTo>
                  <a:lnTo>
                    <a:pt x="3106" y="2836"/>
                  </a:lnTo>
                  <a:lnTo>
                    <a:pt x="3110" y="2840"/>
                  </a:lnTo>
                  <a:lnTo>
                    <a:pt x="3116" y="2844"/>
                  </a:lnTo>
                  <a:lnTo>
                    <a:pt x="3120" y="2850"/>
                  </a:lnTo>
                  <a:lnTo>
                    <a:pt x="3122" y="2854"/>
                  </a:lnTo>
                  <a:lnTo>
                    <a:pt x="3122" y="2858"/>
                  </a:lnTo>
                  <a:lnTo>
                    <a:pt x="3120" y="2862"/>
                  </a:lnTo>
                  <a:lnTo>
                    <a:pt x="3118" y="2864"/>
                  </a:lnTo>
                  <a:lnTo>
                    <a:pt x="3116" y="2862"/>
                  </a:lnTo>
                  <a:lnTo>
                    <a:pt x="3112" y="2860"/>
                  </a:lnTo>
                  <a:lnTo>
                    <a:pt x="3110" y="2862"/>
                  </a:lnTo>
                  <a:lnTo>
                    <a:pt x="3108" y="2864"/>
                  </a:lnTo>
                  <a:lnTo>
                    <a:pt x="3106" y="2868"/>
                  </a:lnTo>
                  <a:lnTo>
                    <a:pt x="3102" y="2868"/>
                  </a:lnTo>
                  <a:lnTo>
                    <a:pt x="3100" y="2876"/>
                  </a:lnTo>
                  <a:lnTo>
                    <a:pt x="3100" y="2880"/>
                  </a:lnTo>
                  <a:lnTo>
                    <a:pt x="3102" y="2882"/>
                  </a:lnTo>
                  <a:lnTo>
                    <a:pt x="3104" y="2882"/>
                  </a:lnTo>
                  <a:lnTo>
                    <a:pt x="3106" y="2880"/>
                  </a:lnTo>
                  <a:lnTo>
                    <a:pt x="3112" y="2878"/>
                  </a:lnTo>
                  <a:lnTo>
                    <a:pt x="3120" y="2874"/>
                  </a:lnTo>
                  <a:lnTo>
                    <a:pt x="3124" y="2874"/>
                  </a:lnTo>
                  <a:lnTo>
                    <a:pt x="3124" y="2872"/>
                  </a:lnTo>
                  <a:lnTo>
                    <a:pt x="3124" y="2868"/>
                  </a:lnTo>
                  <a:lnTo>
                    <a:pt x="3124" y="2866"/>
                  </a:lnTo>
                  <a:lnTo>
                    <a:pt x="3128" y="2866"/>
                  </a:lnTo>
                  <a:lnTo>
                    <a:pt x="3132" y="2866"/>
                  </a:lnTo>
                  <a:lnTo>
                    <a:pt x="3136" y="2864"/>
                  </a:lnTo>
                  <a:lnTo>
                    <a:pt x="3142" y="2856"/>
                  </a:lnTo>
                  <a:lnTo>
                    <a:pt x="3148" y="2848"/>
                  </a:lnTo>
                  <a:lnTo>
                    <a:pt x="3152" y="2844"/>
                  </a:lnTo>
                  <a:lnTo>
                    <a:pt x="3156" y="2840"/>
                  </a:lnTo>
                  <a:lnTo>
                    <a:pt x="3162" y="2836"/>
                  </a:lnTo>
                  <a:lnTo>
                    <a:pt x="3164" y="2834"/>
                  </a:lnTo>
                  <a:lnTo>
                    <a:pt x="3168" y="2832"/>
                  </a:lnTo>
                  <a:lnTo>
                    <a:pt x="3176" y="2830"/>
                  </a:lnTo>
                  <a:lnTo>
                    <a:pt x="3182" y="2830"/>
                  </a:lnTo>
                  <a:lnTo>
                    <a:pt x="3186" y="2828"/>
                  </a:lnTo>
                  <a:lnTo>
                    <a:pt x="3188" y="2826"/>
                  </a:lnTo>
                  <a:lnTo>
                    <a:pt x="3190" y="2822"/>
                  </a:lnTo>
                  <a:lnTo>
                    <a:pt x="3194" y="2822"/>
                  </a:lnTo>
                  <a:lnTo>
                    <a:pt x="3196" y="2824"/>
                  </a:lnTo>
                  <a:lnTo>
                    <a:pt x="3200" y="2822"/>
                  </a:lnTo>
                  <a:lnTo>
                    <a:pt x="3202" y="2820"/>
                  </a:lnTo>
                  <a:lnTo>
                    <a:pt x="3206" y="2820"/>
                  </a:lnTo>
                  <a:lnTo>
                    <a:pt x="3212" y="2820"/>
                  </a:lnTo>
                  <a:lnTo>
                    <a:pt x="3220" y="2818"/>
                  </a:lnTo>
                  <a:lnTo>
                    <a:pt x="3226" y="2816"/>
                  </a:lnTo>
                  <a:lnTo>
                    <a:pt x="3230" y="2812"/>
                  </a:lnTo>
                  <a:lnTo>
                    <a:pt x="3232" y="2808"/>
                  </a:lnTo>
                  <a:lnTo>
                    <a:pt x="3230" y="2812"/>
                  </a:lnTo>
                  <a:lnTo>
                    <a:pt x="3232" y="2818"/>
                  </a:lnTo>
                  <a:lnTo>
                    <a:pt x="3236" y="2824"/>
                  </a:lnTo>
                  <a:lnTo>
                    <a:pt x="3242" y="2828"/>
                  </a:lnTo>
                  <a:lnTo>
                    <a:pt x="3244" y="2830"/>
                  </a:lnTo>
                  <a:lnTo>
                    <a:pt x="3246" y="2828"/>
                  </a:lnTo>
                  <a:lnTo>
                    <a:pt x="3250" y="2828"/>
                  </a:lnTo>
                  <a:lnTo>
                    <a:pt x="3254" y="2828"/>
                  </a:lnTo>
                  <a:lnTo>
                    <a:pt x="3264" y="2832"/>
                  </a:lnTo>
                  <a:lnTo>
                    <a:pt x="3268" y="2836"/>
                  </a:lnTo>
                  <a:lnTo>
                    <a:pt x="3272" y="2840"/>
                  </a:lnTo>
                  <a:lnTo>
                    <a:pt x="3274" y="2846"/>
                  </a:lnTo>
                  <a:lnTo>
                    <a:pt x="3272" y="2850"/>
                  </a:lnTo>
                  <a:lnTo>
                    <a:pt x="3264" y="2868"/>
                  </a:lnTo>
                  <a:lnTo>
                    <a:pt x="3262" y="2876"/>
                  </a:lnTo>
                  <a:lnTo>
                    <a:pt x="3262" y="2878"/>
                  </a:lnTo>
                  <a:lnTo>
                    <a:pt x="3264" y="2880"/>
                  </a:lnTo>
                  <a:lnTo>
                    <a:pt x="3266" y="2884"/>
                  </a:lnTo>
                  <a:lnTo>
                    <a:pt x="3262" y="2886"/>
                  </a:lnTo>
                  <a:lnTo>
                    <a:pt x="3258" y="2892"/>
                  </a:lnTo>
                  <a:lnTo>
                    <a:pt x="3254" y="2900"/>
                  </a:lnTo>
                  <a:lnTo>
                    <a:pt x="3250" y="2906"/>
                  </a:lnTo>
                  <a:lnTo>
                    <a:pt x="3248" y="2910"/>
                  </a:lnTo>
                  <a:lnTo>
                    <a:pt x="3244" y="2914"/>
                  </a:lnTo>
                  <a:lnTo>
                    <a:pt x="3242" y="2914"/>
                  </a:lnTo>
                  <a:lnTo>
                    <a:pt x="3252" y="2916"/>
                  </a:lnTo>
                  <a:lnTo>
                    <a:pt x="3258" y="2918"/>
                  </a:lnTo>
                  <a:lnTo>
                    <a:pt x="3260" y="2918"/>
                  </a:lnTo>
                  <a:lnTo>
                    <a:pt x="3258" y="2920"/>
                  </a:lnTo>
                  <a:lnTo>
                    <a:pt x="3258" y="2922"/>
                  </a:lnTo>
                  <a:lnTo>
                    <a:pt x="3254" y="2924"/>
                  </a:lnTo>
                  <a:lnTo>
                    <a:pt x="3256" y="2926"/>
                  </a:lnTo>
                  <a:lnTo>
                    <a:pt x="3262" y="2928"/>
                  </a:lnTo>
                  <a:lnTo>
                    <a:pt x="3268" y="2928"/>
                  </a:lnTo>
                  <a:lnTo>
                    <a:pt x="3270" y="2930"/>
                  </a:lnTo>
                  <a:lnTo>
                    <a:pt x="3270" y="2932"/>
                  </a:lnTo>
                  <a:lnTo>
                    <a:pt x="3270" y="2934"/>
                  </a:lnTo>
                  <a:lnTo>
                    <a:pt x="3270" y="2938"/>
                  </a:lnTo>
                  <a:lnTo>
                    <a:pt x="3274" y="2936"/>
                  </a:lnTo>
                  <a:lnTo>
                    <a:pt x="3278" y="2934"/>
                  </a:lnTo>
                  <a:lnTo>
                    <a:pt x="3280" y="2930"/>
                  </a:lnTo>
                  <a:lnTo>
                    <a:pt x="3282" y="2924"/>
                  </a:lnTo>
                  <a:lnTo>
                    <a:pt x="3284" y="2922"/>
                  </a:lnTo>
                  <a:lnTo>
                    <a:pt x="3292" y="2926"/>
                  </a:lnTo>
                  <a:lnTo>
                    <a:pt x="3300" y="2934"/>
                  </a:lnTo>
                  <a:lnTo>
                    <a:pt x="3302" y="2934"/>
                  </a:lnTo>
                  <a:lnTo>
                    <a:pt x="3304" y="2930"/>
                  </a:lnTo>
                  <a:lnTo>
                    <a:pt x="3304" y="2928"/>
                  </a:lnTo>
                  <a:lnTo>
                    <a:pt x="3306" y="2926"/>
                  </a:lnTo>
                  <a:lnTo>
                    <a:pt x="3312" y="2928"/>
                  </a:lnTo>
                  <a:lnTo>
                    <a:pt x="3318" y="2930"/>
                  </a:lnTo>
                  <a:lnTo>
                    <a:pt x="3324" y="2930"/>
                  </a:lnTo>
                  <a:lnTo>
                    <a:pt x="3324" y="2934"/>
                  </a:lnTo>
                  <a:lnTo>
                    <a:pt x="3322" y="2934"/>
                  </a:lnTo>
                  <a:lnTo>
                    <a:pt x="3320" y="2938"/>
                  </a:lnTo>
                  <a:lnTo>
                    <a:pt x="3320" y="2942"/>
                  </a:lnTo>
                  <a:lnTo>
                    <a:pt x="3324" y="2948"/>
                  </a:lnTo>
                  <a:lnTo>
                    <a:pt x="3326" y="2954"/>
                  </a:lnTo>
                  <a:lnTo>
                    <a:pt x="3326" y="2958"/>
                  </a:lnTo>
                  <a:lnTo>
                    <a:pt x="3324" y="2960"/>
                  </a:lnTo>
                  <a:lnTo>
                    <a:pt x="3324" y="2962"/>
                  </a:lnTo>
                  <a:lnTo>
                    <a:pt x="3324" y="2966"/>
                  </a:lnTo>
                  <a:lnTo>
                    <a:pt x="3328" y="2970"/>
                  </a:lnTo>
                  <a:lnTo>
                    <a:pt x="3332" y="2974"/>
                  </a:lnTo>
                  <a:lnTo>
                    <a:pt x="3334" y="2976"/>
                  </a:lnTo>
                  <a:lnTo>
                    <a:pt x="3334" y="2980"/>
                  </a:lnTo>
                  <a:lnTo>
                    <a:pt x="3332" y="2982"/>
                  </a:lnTo>
                  <a:lnTo>
                    <a:pt x="3330" y="2980"/>
                  </a:lnTo>
                  <a:lnTo>
                    <a:pt x="3328" y="2976"/>
                  </a:lnTo>
                  <a:lnTo>
                    <a:pt x="3326" y="2974"/>
                  </a:lnTo>
                  <a:lnTo>
                    <a:pt x="3322" y="2974"/>
                  </a:lnTo>
                  <a:lnTo>
                    <a:pt x="3312" y="2974"/>
                  </a:lnTo>
                  <a:lnTo>
                    <a:pt x="3310" y="2974"/>
                  </a:lnTo>
                  <a:lnTo>
                    <a:pt x="3312" y="2978"/>
                  </a:lnTo>
                  <a:lnTo>
                    <a:pt x="3312" y="2980"/>
                  </a:lnTo>
                  <a:lnTo>
                    <a:pt x="3312" y="2982"/>
                  </a:lnTo>
                  <a:lnTo>
                    <a:pt x="3310" y="2982"/>
                  </a:lnTo>
                  <a:lnTo>
                    <a:pt x="3308" y="2980"/>
                  </a:lnTo>
                  <a:lnTo>
                    <a:pt x="3306" y="2980"/>
                  </a:lnTo>
                  <a:lnTo>
                    <a:pt x="3302" y="2984"/>
                  </a:lnTo>
                  <a:lnTo>
                    <a:pt x="3302" y="2988"/>
                  </a:lnTo>
                  <a:lnTo>
                    <a:pt x="3304" y="2992"/>
                  </a:lnTo>
                  <a:lnTo>
                    <a:pt x="3308" y="2994"/>
                  </a:lnTo>
                  <a:lnTo>
                    <a:pt x="3312" y="2992"/>
                  </a:lnTo>
                  <a:lnTo>
                    <a:pt x="3314" y="2992"/>
                  </a:lnTo>
                  <a:lnTo>
                    <a:pt x="3316" y="2998"/>
                  </a:lnTo>
                  <a:lnTo>
                    <a:pt x="3318" y="3014"/>
                  </a:lnTo>
                  <a:lnTo>
                    <a:pt x="3318" y="3020"/>
                  </a:lnTo>
                  <a:lnTo>
                    <a:pt x="3320" y="3022"/>
                  </a:lnTo>
                  <a:lnTo>
                    <a:pt x="3324" y="3026"/>
                  </a:lnTo>
                  <a:lnTo>
                    <a:pt x="3324" y="3028"/>
                  </a:lnTo>
                  <a:lnTo>
                    <a:pt x="3322" y="3030"/>
                  </a:lnTo>
                  <a:lnTo>
                    <a:pt x="3324" y="3034"/>
                  </a:lnTo>
                  <a:lnTo>
                    <a:pt x="3326" y="3038"/>
                  </a:lnTo>
                  <a:lnTo>
                    <a:pt x="3324" y="3042"/>
                  </a:lnTo>
                  <a:lnTo>
                    <a:pt x="3320" y="3046"/>
                  </a:lnTo>
                  <a:lnTo>
                    <a:pt x="3316" y="3054"/>
                  </a:lnTo>
                  <a:lnTo>
                    <a:pt x="3308" y="3070"/>
                  </a:lnTo>
                  <a:lnTo>
                    <a:pt x="3308" y="3076"/>
                  </a:lnTo>
                  <a:lnTo>
                    <a:pt x="3308" y="3078"/>
                  </a:lnTo>
                  <a:lnTo>
                    <a:pt x="3310" y="3082"/>
                  </a:lnTo>
                  <a:lnTo>
                    <a:pt x="3310" y="3084"/>
                  </a:lnTo>
                  <a:lnTo>
                    <a:pt x="3312" y="3088"/>
                  </a:lnTo>
                  <a:lnTo>
                    <a:pt x="3312" y="3092"/>
                  </a:lnTo>
                  <a:lnTo>
                    <a:pt x="3314" y="3096"/>
                  </a:lnTo>
                  <a:lnTo>
                    <a:pt x="3312" y="3096"/>
                  </a:lnTo>
                  <a:lnTo>
                    <a:pt x="3308" y="3096"/>
                  </a:lnTo>
                  <a:lnTo>
                    <a:pt x="3308" y="3100"/>
                  </a:lnTo>
                  <a:lnTo>
                    <a:pt x="3310" y="3104"/>
                  </a:lnTo>
                  <a:lnTo>
                    <a:pt x="3312" y="3104"/>
                  </a:lnTo>
                  <a:lnTo>
                    <a:pt x="3316" y="3104"/>
                  </a:lnTo>
                  <a:lnTo>
                    <a:pt x="3316" y="3110"/>
                  </a:lnTo>
                  <a:lnTo>
                    <a:pt x="3316" y="3116"/>
                  </a:lnTo>
                  <a:lnTo>
                    <a:pt x="3318" y="3118"/>
                  </a:lnTo>
                  <a:lnTo>
                    <a:pt x="3322" y="3116"/>
                  </a:lnTo>
                  <a:lnTo>
                    <a:pt x="3326" y="3110"/>
                  </a:lnTo>
                  <a:lnTo>
                    <a:pt x="3330" y="3104"/>
                  </a:lnTo>
                  <a:lnTo>
                    <a:pt x="3330" y="3106"/>
                  </a:lnTo>
                  <a:lnTo>
                    <a:pt x="3330" y="3110"/>
                  </a:lnTo>
                  <a:lnTo>
                    <a:pt x="3330" y="3112"/>
                  </a:lnTo>
                  <a:lnTo>
                    <a:pt x="3334" y="3110"/>
                  </a:lnTo>
                  <a:lnTo>
                    <a:pt x="3334" y="3108"/>
                  </a:lnTo>
                  <a:lnTo>
                    <a:pt x="3338" y="3102"/>
                  </a:lnTo>
                  <a:lnTo>
                    <a:pt x="3342" y="3098"/>
                  </a:lnTo>
                  <a:lnTo>
                    <a:pt x="3346" y="3094"/>
                  </a:lnTo>
                  <a:lnTo>
                    <a:pt x="3348" y="3094"/>
                  </a:lnTo>
                  <a:lnTo>
                    <a:pt x="3348" y="3096"/>
                  </a:lnTo>
                  <a:lnTo>
                    <a:pt x="3346" y="3100"/>
                  </a:lnTo>
                  <a:lnTo>
                    <a:pt x="3344" y="3106"/>
                  </a:lnTo>
                  <a:lnTo>
                    <a:pt x="3346" y="3108"/>
                  </a:lnTo>
                  <a:lnTo>
                    <a:pt x="3350" y="3110"/>
                  </a:lnTo>
                  <a:lnTo>
                    <a:pt x="3354" y="3108"/>
                  </a:lnTo>
                  <a:lnTo>
                    <a:pt x="3356" y="3106"/>
                  </a:lnTo>
                  <a:lnTo>
                    <a:pt x="3356" y="3104"/>
                  </a:lnTo>
                  <a:lnTo>
                    <a:pt x="3354" y="3096"/>
                  </a:lnTo>
                  <a:lnTo>
                    <a:pt x="3354" y="3094"/>
                  </a:lnTo>
                  <a:lnTo>
                    <a:pt x="3356" y="3092"/>
                  </a:lnTo>
                  <a:lnTo>
                    <a:pt x="3358" y="3092"/>
                  </a:lnTo>
                  <a:lnTo>
                    <a:pt x="3358" y="3094"/>
                  </a:lnTo>
                  <a:lnTo>
                    <a:pt x="3360" y="3102"/>
                  </a:lnTo>
                  <a:lnTo>
                    <a:pt x="3362" y="3100"/>
                  </a:lnTo>
                  <a:lnTo>
                    <a:pt x="3366" y="3096"/>
                  </a:lnTo>
                  <a:lnTo>
                    <a:pt x="3368" y="3094"/>
                  </a:lnTo>
                  <a:lnTo>
                    <a:pt x="3368" y="3092"/>
                  </a:lnTo>
                  <a:lnTo>
                    <a:pt x="3364" y="3088"/>
                  </a:lnTo>
                  <a:lnTo>
                    <a:pt x="3362" y="3086"/>
                  </a:lnTo>
                  <a:lnTo>
                    <a:pt x="3366" y="3084"/>
                  </a:lnTo>
                  <a:lnTo>
                    <a:pt x="3376" y="3084"/>
                  </a:lnTo>
                  <a:lnTo>
                    <a:pt x="3384" y="3086"/>
                  </a:lnTo>
                  <a:lnTo>
                    <a:pt x="3390" y="3090"/>
                  </a:lnTo>
                  <a:lnTo>
                    <a:pt x="3394" y="3090"/>
                  </a:lnTo>
                  <a:lnTo>
                    <a:pt x="3396" y="3088"/>
                  </a:lnTo>
                  <a:lnTo>
                    <a:pt x="3396" y="3084"/>
                  </a:lnTo>
                  <a:lnTo>
                    <a:pt x="3396" y="3082"/>
                  </a:lnTo>
                  <a:lnTo>
                    <a:pt x="3400" y="3078"/>
                  </a:lnTo>
                  <a:lnTo>
                    <a:pt x="3406" y="3076"/>
                  </a:lnTo>
                  <a:lnTo>
                    <a:pt x="3412" y="3078"/>
                  </a:lnTo>
                  <a:lnTo>
                    <a:pt x="3418" y="3078"/>
                  </a:lnTo>
                  <a:lnTo>
                    <a:pt x="3422" y="3076"/>
                  </a:lnTo>
                  <a:lnTo>
                    <a:pt x="3428" y="3070"/>
                  </a:lnTo>
                  <a:lnTo>
                    <a:pt x="3434" y="3058"/>
                  </a:lnTo>
                  <a:lnTo>
                    <a:pt x="3438" y="3044"/>
                  </a:lnTo>
                  <a:lnTo>
                    <a:pt x="3440" y="3032"/>
                  </a:lnTo>
                  <a:lnTo>
                    <a:pt x="3440" y="3026"/>
                  </a:lnTo>
                  <a:lnTo>
                    <a:pt x="3436" y="3026"/>
                  </a:lnTo>
                  <a:lnTo>
                    <a:pt x="3434" y="3026"/>
                  </a:lnTo>
                  <a:lnTo>
                    <a:pt x="3432" y="3018"/>
                  </a:lnTo>
                  <a:lnTo>
                    <a:pt x="3434" y="3008"/>
                  </a:lnTo>
                  <a:lnTo>
                    <a:pt x="3436" y="3002"/>
                  </a:lnTo>
                  <a:lnTo>
                    <a:pt x="3436" y="2994"/>
                  </a:lnTo>
                  <a:lnTo>
                    <a:pt x="3436" y="2980"/>
                  </a:lnTo>
                  <a:lnTo>
                    <a:pt x="3432" y="2964"/>
                  </a:lnTo>
                  <a:lnTo>
                    <a:pt x="3426" y="2948"/>
                  </a:lnTo>
                  <a:lnTo>
                    <a:pt x="3418" y="2934"/>
                  </a:lnTo>
                  <a:lnTo>
                    <a:pt x="3410" y="2922"/>
                  </a:lnTo>
                  <a:lnTo>
                    <a:pt x="3402" y="2910"/>
                  </a:lnTo>
                  <a:lnTo>
                    <a:pt x="3398" y="2902"/>
                  </a:lnTo>
                  <a:lnTo>
                    <a:pt x="3392" y="2886"/>
                  </a:lnTo>
                  <a:lnTo>
                    <a:pt x="3388" y="2882"/>
                  </a:lnTo>
                  <a:lnTo>
                    <a:pt x="3386" y="2880"/>
                  </a:lnTo>
                  <a:lnTo>
                    <a:pt x="3380" y="2876"/>
                  </a:lnTo>
                  <a:lnTo>
                    <a:pt x="3374" y="2866"/>
                  </a:lnTo>
                  <a:lnTo>
                    <a:pt x="3370" y="2862"/>
                  </a:lnTo>
                  <a:lnTo>
                    <a:pt x="3366" y="2858"/>
                  </a:lnTo>
                  <a:lnTo>
                    <a:pt x="3360" y="2856"/>
                  </a:lnTo>
                  <a:lnTo>
                    <a:pt x="3354" y="2856"/>
                  </a:lnTo>
                  <a:lnTo>
                    <a:pt x="3352" y="2852"/>
                  </a:lnTo>
                  <a:lnTo>
                    <a:pt x="3352" y="2850"/>
                  </a:lnTo>
                  <a:lnTo>
                    <a:pt x="3354" y="2848"/>
                  </a:lnTo>
                  <a:lnTo>
                    <a:pt x="3356" y="2848"/>
                  </a:lnTo>
                  <a:lnTo>
                    <a:pt x="3358" y="2848"/>
                  </a:lnTo>
                  <a:lnTo>
                    <a:pt x="3360" y="2848"/>
                  </a:lnTo>
                  <a:lnTo>
                    <a:pt x="3360" y="2838"/>
                  </a:lnTo>
                  <a:lnTo>
                    <a:pt x="3358" y="2830"/>
                  </a:lnTo>
                  <a:lnTo>
                    <a:pt x="3358" y="2826"/>
                  </a:lnTo>
                  <a:lnTo>
                    <a:pt x="3360" y="2822"/>
                  </a:lnTo>
                  <a:lnTo>
                    <a:pt x="3362" y="2822"/>
                  </a:lnTo>
                  <a:lnTo>
                    <a:pt x="3368" y="2820"/>
                  </a:lnTo>
                  <a:lnTo>
                    <a:pt x="3372" y="2818"/>
                  </a:lnTo>
                  <a:lnTo>
                    <a:pt x="3374" y="2814"/>
                  </a:lnTo>
                  <a:lnTo>
                    <a:pt x="3376" y="2810"/>
                  </a:lnTo>
                  <a:lnTo>
                    <a:pt x="3378" y="2808"/>
                  </a:lnTo>
                  <a:lnTo>
                    <a:pt x="3384" y="2810"/>
                  </a:lnTo>
                  <a:lnTo>
                    <a:pt x="3386" y="2810"/>
                  </a:lnTo>
                  <a:lnTo>
                    <a:pt x="3390" y="2810"/>
                  </a:lnTo>
                  <a:lnTo>
                    <a:pt x="3396" y="2806"/>
                  </a:lnTo>
                  <a:lnTo>
                    <a:pt x="3402" y="2800"/>
                  </a:lnTo>
                  <a:lnTo>
                    <a:pt x="3426" y="2776"/>
                  </a:lnTo>
                  <a:lnTo>
                    <a:pt x="3434" y="2768"/>
                  </a:lnTo>
                  <a:lnTo>
                    <a:pt x="3442" y="2766"/>
                  </a:lnTo>
                  <a:lnTo>
                    <a:pt x="3444" y="2764"/>
                  </a:lnTo>
                  <a:lnTo>
                    <a:pt x="3446" y="2762"/>
                  </a:lnTo>
                  <a:lnTo>
                    <a:pt x="3448" y="2754"/>
                  </a:lnTo>
                  <a:lnTo>
                    <a:pt x="3448" y="2746"/>
                  </a:lnTo>
                  <a:lnTo>
                    <a:pt x="3448" y="2738"/>
                  </a:lnTo>
                  <a:lnTo>
                    <a:pt x="3448" y="2734"/>
                  </a:lnTo>
                  <a:lnTo>
                    <a:pt x="3448" y="2732"/>
                  </a:lnTo>
                  <a:lnTo>
                    <a:pt x="3446" y="2730"/>
                  </a:lnTo>
                  <a:lnTo>
                    <a:pt x="3444" y="2728"/>
                  </a:lnTo>
                  <a:lnTo>
                    <a:pt x="3444" y="2724"/>
                  </a:lnTo>
                  <a:lnTo>
                    <a:pt x="3450" y="2714"/>
                  </a:lnTo>
                  <a:lnTo>
                    <a:pt x="3464" y="2694"/>
                  </a:lnTo>
                  <a:lnTo>
                    <a:pt x="3474" y="2684"/>
                  </a:lnTo>
                  <a:lnTo>
                    <a:pt x="3478" y="2682"/>
                  </a:lnTo>
                  <a:lnTo>
                    <a:pt x="3480" y="2684"/>
                  </a:lnTo>
                  <a:lnTo>
                    <a:pt x="3482" y="2684"/>
                  </a:lnTo>
                  <a:lnTo>
                    <a:pt x="3488" y="2682"/>
                  </a:lnTo>
                  <a:lnTo>
                    <a:pt x="3492" y="2678"/>
                  </a:lnTo>
                  <a:lnTo>
                    <a:pt x="3492" y="2674"/>
                  </a:lnTo>
                  <a:lnTo>
                    <a:pt x="3492" y="2666"/>
                  </a:lnTo>
                  <a:lnTo>
                    <a:pt x="3492" y="2664"/>
                  </a:lnTo>
                  <a:lnTo>
                    <a:pt x="3498" y="2664"/>
                  </a:lnTo>
                  <a:lnTo>
                    <a:pt x="3506" y="2666"/>
                  </a:lnTo>
                  <a:lnTo>
                    <a:pt x="3510" y="2664"/>
                  </a:lnTo>
                  <a:lnTo>
                    <a:pt x="3514" y="2658"/>
                  </a:lnTo>
                  <a:lnTo>
                    <a:pt x="3518" y="2650"/>
                  </a:lnTo>
                  <a:lnTo>
                    <a:pt x="3524" y="2640"/>
                  </a:lnTo>
                  <a:lnTo>
                    <a:pt x="3524" y="2632"/>
                  </a:lnTo>
                  <a:lnTo>
                    <a:pt x="3526" y="2628"/>
                  </a:lnTo>
                  <a:lnTo>
                    <a:pt x="3528" y="2626"/>
                  </a:lnTo>
                  <a:lnTo>
                    <a:pt x="3532" y="2626"/>
                  </a:lnTo>
                  <a:lnTo>
                    <a:pt x="3536" y="2626"/>
                  </a:lnTo>
                  <a:lnTo>
                    <a:pt x="3536" y="2628"/>
                  </a:lnTo>
                  <a:lnTo>
                    <a:pt x="3536" y="2634"/>
                  </a:lnTo>
                  <a:lnTo>
                    <a:pt x="3534" y="2638"/>
                  </a:lnTo>
                  <a:lnTo>
                    <a:pt x="3536" y="2638"/>
                  </a:lnTo>
                  <a:lnTo>
                    <a:pt x="3538" y="2638"/>
                  </a:lnTo>
                  <a:lnTo>
                    <a:pt x="3542" y="2636"/>
                  </a:lnTo>
                  <a:lnTo>
                    <a:pt x="3548" y="2632"/>
                  </a:lnTo>
                  <a:lnTo>
                    <a:pt x="3550" y="2632"/>
                  </a:lnTo>
                  <a:lnTo>
                    <a:pt x="3552" y="2634"/>
                  </a:lnTo>
                  <a:lnTo>
                    <a:pt x="3552" y="2638"/>
                  </a:lnTo>
                  <a:lnTo>
                    <a:pt x="3552" y="2646"/>
                  </a:lnTo>
                  <a:lnTo>
                    <a:pt x="3554" y="2648"/>
                  </a:lnTo>
                  <a:lnTo>
                    <a:pt x="3556" y="2650"/>
                  </a:lnTo>
                  <a:lnTo>
                    <a:pt x="3570" y="2654"/>
                  </a:lnTo>
                  <a:lnTo>
                    <a:pt x="3580" y="2660"/>
                  </a:lnTo>
                  <a:lnTo>
                    <a:pt x="3584" y="2660"/>
                  </a:lnTo>
                  <a:lnTo>
                    <a:pt x="3590" y="2658"/>
                  </a:lnTo>
                  <a:lnTo>
                    <a:pt x="3598" y="2656"/>
                  </a:lnTo>
                  <a:lnTo>
                    <a:pt x="3608" y="2652"/>
                  </a:lnTo>
                  <a:lnTo>
                    <a:pt x="3616" y="2650"/>
                  </a:lnTo>
                  <a:lnTo>
                    <a:pt x="3622" y="2644"/>
                  </a:lnTo>
                  <a:lnTo>
                    <a:pt x="3632" y="2638"/>
                  </a:lnTo>
                  <a:lnTo>
                    <a:pt x="3648" y="2628"/>
                  </a:lnTo>
                  <a:lnTo>
                    <a:pt x="3658" y="2620"/>
                  </a:lnTo>
                  <a:lnTo>
                    <a:pt x="3666" y="2610"/>
                  </a:lnTo>
                  <a:lnTo>
                    <a:pt x="3686" y="2584"/>
                  </a:lnTo>
                  <a:lnTo>
                    <a:pt x="3712" y="2550"/>
                  </a:lnTo>
                  <a:lnTo>
                    <a:pt x="3728" y="2530"/>
                  </a:lnTo>
                  <a:lnTo>
                    <a:pt x="3748" y="2508"/>
                  </a:lnTo>
                  <a:lnTo>
                    <a:pt x="3768" y="2488"/>
                  </a:lnTo>
                  <a:lnTo>
                    <a:pt x="3780" y="2468"/>
                  </a:lnTo>
                  <a:lnTo>
                    <a:pt x="3790" y="2454"/>
                  </a:lnTo>
                  <a:lnTo>
                    <a:pt x="3796" y="2440"/>
                  </a:lnTo>
                  <a:lnTo>
                    <a:pt x="3804" y="2418"/>
                  </a:lnTo>
                  <a:lnTo>
                    <a:pt x="3808" y="2408"/>
                  </a:lnTo>
                  <a:lnTo>
                    <a:pt x="3816" y="2400"/>
                  </a:lnTo>
                  <a:lnTo>
                    <a:pt x="3824" y="2394"/>
                  </a:lnTo>
                  <a:lnTo>
                    <a:pt x="3828" y="2388"/>
                  </a:lnTo>
                  <a:lnTo>
                    <a:pt x="3832" y="2378"/>
                  </a:lnTo>
                  <a:lnTo>
                    <a:pt x="3834" y="2372"/>
                  </a:lnTo>
                  <a:lnTo>
                    <a:pt x="3838" y="2366"/>
                  </a:lnTo>
                  <a:lnTo>
                    <a:pt x="3844" y="2358"/>
                  </a:lnTo>
                  <a:lnTo>
                    <a:pt x="3854" y="2346"/>
                  </a:lnTo>
                  <a:lnTo>
                    <a:pt x="3860" y="2340"/>
                  </a:lnTo>
                  <a:lnTo>
                    <a:pt x="3866" y="2334"/>
                  </a:lnTo>
                  <a:lnTo>
                    <a:pt x="3874" y="2316"/>
                  </a:lnTo>
                  <a:lnTo>
                    <a:pt x="3880" y="2296"/>
                  </a:lnTo>
                  <a:lnTo>
                    <a:pt x="3882" y="2276"/>
                  </a:lnTo>
                  <a:lnTo>
                    <a:pt x="3884" y="2256"/>
                  </a:lnTo>
                  <a:lnTo>
                    <a:pt x="3884" y="2238"/>
                  </a:lnTo>
                  <a:lnTo>
                    <a:pt x="3882" y="2224"/>
                  </a:lnTo>
                  <a:lnTo>
                    <a:pt x="3880" y="2212"/>
                  </a:lnTo>
                  <a:lnTo>
                    <a:pt x="3878" y="2204"/>
                  </a:lnTo>
                  <a:lnTo>
                    <a:pt x="3878" y="2198"/>
                  </a:lnTo>
                  <a:lnTo>
                    <a:pt x="3880" y="2192"/>
                  </a:lnTo>
                  <a:lnTo>
                    <a:pt x="3882" y="2188"/>
                  </a:lnTo>
                  <a:lnTo>
                    <a:pt x="3888" y="2178"/>
                  </a:lnTo>
                  <a:lnTo>
                    <a:pt x="3892" y="2170"/>
                  </a:lnTo>
                  <a:lnTo>
                    <a:pt x="3896" y="2160"/>
                  </a:lnTo>
                  <a:lnTo>
                    <a:pt x="3898" y="2150"/>
                  </a:lnTo>
                  <a:lnTo>
                    <a:pt x="3904" y="2142"/>
                  </a:lnTo>
                  <a:lnTo>
                    <a:pt x="3914" y="2128"/>
                  </a:lnTo>
                  <a:lnTo>
                    <a:pt x="3920" y="2122"/>
                  </a:lnTo>
                  <a:lnTo>
                    <a:pt x="3922" y="2116"/>
                  </a:lnTo>
                  <a:lnTo>
                    <a:pt x="3920" y="2110"/>
                  </a:lnTo>
                  <a:lnTo>
                    <a:pt x="3916" y="2104"/>
                  </a:lnTo>
                  <a:lnTo>
                    <a:pt x="3910" y="2098"/>
                  </a:lnTo>
                  <a:lnTo>
                    <a:pt x="3908" y="2094"/>
                  </a:lnTo>
                  <a:lnTo>
                    <a:pt x="3908" y="2090"/>
                  </a:lnTo>
                  <a:lnTo>
                    <a:pt x="3910" y="2086"/>
                  </a:lnTo>
                  <a:lnTo>
                    <a:pt x="3910" y="2078"/>
                  </a:lnTo>
                  <a:lnTo>
                    <a:pt x="3910" y="2072"/>
                  </a:lnTo>
                  <a:lnTo>
                    <a:pt x="3906" y="2066"/>
                  </a:lnTo>
                  <a:lnTo>
                    <a:pt x="3904" y="2062"/>
                  </a:lnTo>
                  <a:lnTo>
                    <a:pt x="3906" y="2058"/>
                  </a:lnTo>
                  <a:lnTo>
                    <a:pt x="3914" y="2052"/>
                  </a:lnTo>
                  <a:lnTo>
                    <a:pt x="3918" y="2050"/>
                  </a:lnTo>
                  <a:lnTo>
                    <a:pt x="3920" y="2046"/>
                  </a:lnTo>
                  <a:lnTo>
                    <a:pt x="3918" y="2042"/>
                  </a:lnTo>
                  <a:lnTo>
                    <a:pt x="3910" y="2034"/>
                  </a:lnTo>
                  <a:lnTo>
                    <a:pt x="3892" y="2020"/>
                  </a:lnTo>
                  <a:lnTo>
                    <a:pt x="3880" y="2010"/>
                  </a:lnTo>
                  <a:lnTo>
                    <a:pt x="3864" y="1990"/>
                  </a:lnTo>
                  <a:lnTo>
                    <a:pt x="3858" y="1986"/>
                  </a:lnTo>
                  <a:lnTo>
                    <a:pt x="3854" y="1984"/>
                  </a:lnTo>
                  <a:lnTo>
                    <a:pt x="3842" y="1984"/>
                  </a:lnTo>
                  <a:lnTo>
                    <a:pt x="3832" y="1986"/>
                  </a:lnTo>
                  <a:lnTo>
                    <a:pt x="3826" y="1986"/>
                  </a:lnTo>
                  <a:lnTo>
                    <a:pt x="3820" y="1984"/>
                  </a:lnTo>
                  <a:lnTo>
                    <a:pt x="3814" y="1982"/>
                  </a:lnTo>
                  <a:lnTo>
                    <a:pt x="3812" y="1984"/>
                  </a:lnTo>
                  <a:lnTo>
                    <a:pt x="3808" y="1996"/>
                  </a:lnTo>
                  <a:lnTo>
                    <a:pt x="3804" y="2004"/>
                  </a:lnTo>
                  <a:lnTo>
                    <a:pt x="3800" y="2012"/>
                  </a:lnTo>
                  <a:lnTo>
                    <a:pt x="3792" y="2018"/>
                  </a:lnTo>
                  <a:lnTo>
                    <a:pt x="3780" y="2024"/>
                  </a:lnTo>
                  <a:lnTo>
                    <a:pt x="3772" y="2026"/>
                  </a:lnTo>
                  <a:lnTo>
                    <a:pt x="3766" y="2026"/>
                  </a:lnTo>
                  <a:lnTo>
                    <a:pt x="3764" y="2024"/>
                  </a:lnTo>
                  <a:lnTo>
                    <a:pt x="3762" y="2022"/>
                  </a:lnTo>
                  <a:lnTo>
                    <a:pt x="3760" y="2018"/>
                  </a:lnTo>
                  <a:lnTo>
                    <a:pt x="3762" y="2014"/>
                  </a:lnTo>
                  <a:lnTo>
                    <a:pt x="3764" y="2002"/>
                  </a:lnTo>
                  <a:lnTo>
                    <a:pt x="3768" y="1992"/>
                  </a:lnTo>
                  <a:lnTo>
                    <a:pt x="3772" y="1984"/>
                  </a:lnTo>
                  <a:lnTo>
                    <a:pt x="3770" y="1982"/>
                  </a:lnTo>
                  <a:lnTo>
                    <a:pt x="3768" y="1980"/>
                  </a:lnTo>
                  <a:lnTo>
                    <a:pt x="3766" y="1980"/>
                  </a:lnTo>
                  <a:lnTo>
                    <a:pt x="3760" y="1982"/>
                  </a:lnTo>
                  <a:lnTo>
                    <a:pt x="3750" y="1986"/>
                  </a:lnTo>
                  <a:lnTo>
                    <a:pt x="3746" y="1992"/>
                  </a:lnTo>
                  <a:lnTo>
                    <a:pt x="3746" y="1996"/>
                  </a:lnTo>
                  <a:lnTo>
                    <a:pt x="3748" y="2000"/>
                  </a:lnTo>
                  <a:lnTo>
                    <a:pt x="3750" y="2002"/>
                  </a:lnTo>
                  <a:lnTo>
                    <a:pt x="3750" y="2004"/>
                  </a:lnTo>
                  <a:lnTo>
                    <a:pt x="3746" y="2008"/>
                  </a:lnTo>
                  <a:lnTo>
                    <a:pt x="3738" y="2008"/>
                  </a:lnTo>
                  <a:lnTo>
                    <a:pt x="3732" y="2008"/>
                  </a:lnTo>
                  <a:lnTo>
                    <a:pt x="3730" y="2008"/>
                  </a:lnTo>
                  <a:lnTo>
                    <a:pt x="3728" y="2006"/>
                  </a:lnTo>
                  <a:lnTo>
                    <a:pt x="3728" y="2002"/>
                  </a:lnTo>
                  <a:lnTo>
                    <a:pt x="3730" y="1994"/>
                  </a:lnTo>
                  <a:lnTo>
                    <a:pt x="3734" y="1986"/>
                  </a:lnTo>
                  <a:lnTo>
                    <a:pt x="3736" y="1976"/>
                  </a:lnTo>
                  <a:lnTo>
                    <a:pt x="3736" y="1972"/>
                  </a:lnTo>
                  <a:lnTo>
                    <a:pt x="3734" y="1968"/>
                  </a:lnTo>
                  <a:lnTo>
                    <a:pt x="3732" y="1966"/>
                  </a:lnTo>
                  <a:lnTo>
                    <a:pt x="3728" y="1962"/>
                  </a:lnTo>
                  <a:lnTo>
                    <a:pt x="3722" y="1962"/>
                  </a:lnTo>
                  <a:lnTo>
                    <a:pt x="3714" y="1960"/>
                  </a:lnTo>
                  <a:lnTo>
                    <a:pt x="3696" y="1962"/>
                  </a:lnTo>
                  <a:lnTo>
                    <a:pt x="3682" y="1960"/>
                  </a:lnTo>
                  <a:lnTo>
                    <a:pt x="3672" y="1958"/>
                  </a:lnTo>
                  <a:lnTo>
                    <a:pt x="3666" y="1954"/>
                  </a:lnTo>
                  <a:lnTo>
                    <a:pt x="3666" y="1950"/>
                  </a:lnTo>
                  <a:lnTo>
                    <a:pt x="3666" y="1948"/>
                  </a:lnTo>
                  <a:lnTo>
                    <a:pt x="3674" y="1938"/>
                  </a:lnTo>
                  <a:lnTo>
                    <a:pt x="3686" y="1928"/>
                  </a:lnTo>
                  <a:lnTo>
                    <a:pt x="3706" y="1912"/>
                  </a:lnTo>
                  <a:lnTo>
                    <a:pt x="3746" y="1886"/>
                  </a:lnTo>
                  <a:lnTo>
                    <a:pt x="3768" y="1868"/>
                  </a:lnTo>
                  <a:lnTo>
                    <a:pt x="3776" y="1862"/>
                  </a:lnTo>
                  <a:lnTo>
                    <a:pt x="3782" y="1852"/>
                  </a:lnTo>
                  <a:lnTo>
                    <a:pt x="3788" y="1844"/>
                  </a:lnTo>
                  <a:lnTo>
                    <a:pt x="3794" y="1832"/>
                  </a:lnTo>
                  <a:lnTo>
                    <a:pt x="3802" y="1818"/>
                  </a:lnTo>
                  <a:lnTo>
                    <a:pt x="3812" y="1808"/>
                  </a:lnTo>
                  <a:lnTo>
                    <a:pt x="3824" y="1800"/>
                  </a:lnTo>
                  <a:lnTo>
                    <a:pt x="3838" y="1790"/>
                  </a:lnTo>
                  <a:lnTo>
                    <a:pt x="3852" y="1782"/>
                  </a:lnTo>
                  <a:lnTo>
                    <a:pt x="3866" y="1772"/>
                  </a:lnTo>
                  <a:lnTo>
                    <a:pt x="3878" y="1760"/>
                  </a:lnTo>
                  <a:lnTo>
                    <a:pt x="3882" y="1752"/>
                  </a:lnTo>
                  <a:lnTo>
                    <a:pt x="3886" y="1746"/>
                  </a:lnTo>
                  <a:lnTo>
                    <a:pt x="3894" y="1728"/>
                  </a:lnTo>
                  <a:lnTo>
                    <a:pt x="3908" y="1712"/>
                  </a:lnTo>
                  <a:lnTo>
                    <a:pt x="3926" y="1696"/>
                  </a:lnTo>
                  <a:lnTo>
                    <a:pt x="3944" y="1682"/>
                  </a:lnTo>
                  <a:lnTo>
                    <a:pt x="3966" y="1672"/>
                  </a:lnTo>
                  <a:lnTo>
                    <a:pt x="3986" y="1664"/>
                  </a:lnTo>
                  <a:lnTo>
                    <a:pt x="4006" y="1660"/>
                  </a:lnTo>
                  <a:lnTo>
                    <a:pt x="4014" y="1660"/>
                  </a:lnTo>
                  <a:lnTo>
                    <a:pt x="4022" y="1662"/>
                  </a:lnTo>
                  <a:lnTo>
                    <a:pt x="4036" y="1664"/>
                  </a:lnTo>
                  <a:lnTo>
                    <a:pt x="4048" y="1666"/>
                  </a:lnTo>
                  <a:lnTo>
                    <a:pt x="4068" y="1664"/>
                  </a:lnTo>
                  <a:lnTo>
                    <a:pt x="4082" y="1664"/>
                  </a:lnTo>
                  <a:lnTo>
                    <a:pt x="4090" y="1666"/>
                  </a:lnTo>
                  <a:lnTo>
                    <a:pt x="4098" y="1670"/>
                  </a:lnTo>
                  <a:lnTo>
                    <a:pt x="4104" y="1672"/>
                  </a:lnTo>
                  <a:lnTo>
                    <a:pt x="4108" y="1672"/>
                  </a:lnTo>
                  <a:lnTo>
                    <a:pt x="4110" y="1670"/>
                  </a:lnTo>
                  <a:lnTo>
                    <a:pt x="4112" y="1666"/>
                  </a:lnTo>
                  <a:lnTo>
                    <a:pt x="4116" y="1662"/>
                  </a:lnTo>
                  <a:lnTo>
                    <a:pt x="4124" y="1660"/>
                  </a:lnTo>
                  <a:lnTo>
                    <a:pt x="4136" y="1658"/>
                  </a:lnTo>
                  <a:lnTo>
                    <a:pt x="4154" y="1660"/>
                  </a:lnTo>
                  <a:lnTo>
                    <a:pt x="4188" y="1668"/>
                  </a:lnTo>
                  <a:lnTo>
                    <a:pt x="4200" y="1670"/>
                  </a:lnTo>
                  <a:lnTo>
                    <a:pt x="4208" y="1670"/>
                  </a:lnTo>
                  <a:lnTo>
                    <a:pt x="4214" y="1670"/>
                  </a:lnTo>
                  <a:lnTo>
                    <a:pt x="4220" y="1666"/>
                  </a:lnTo>
                  <a:lnTo>
                    <a:pt x="4224" y="1658"/>
                  </a:lnTo>
                  <a:lnTo>
                    <a:pt x="4228" y="1648"/>
                  </a:lnTo>
                  <a:lnTo>
                    <a:pt x="4230" y="1646"/>
                  </a:lnTo>
                  <a:lnTo>
                    <a:pt x="4236" y="1644"/>
                  </a:lnTo>
                  <a:lnTo>
                    <a:pt x="4250" y="1642"/>
                  </a:lnTo>
                  <a:lnTo>
                    <a:pt x="4272" y="1642"/>
                  </a:lnTo>
                  <a:lnTo>
                    <a:pt x="4294" y="1644"/>
                  </a:lnTo>
                  <a:lnTo>
                    <a:pt x="4314" y="1648"/>
                  </a:lnTo>
                  <a:lnTo>
                    <a:pt x="4322" y="1652"/>
                  </a:lnTo>
                  <a:lnTo>
                    <a:pt x="4328" y="1656"/>
                  </a:lnTo>
                  <a:lnTo>
                    <a:pt x="4330" y="1660"/>
                  </a:lnTo>
                  <a:lnTo>
                    <a:pt x="4330" y="1664"/>
                  </a:lnTo>
                  <a:lnTo>
                    <a:pt x="4328" y="1670"/>
                  </a:lnTo>
                  <a:lnTo>
                    <a:pt x="4320" y="1676"/>
                  </a:lnTo>
                  <a:lnTo>
                    <a:pt x="4314" y="1682"/>
                  </a:lnTo>
                  <a:lnTo>
                    <a:pt x="4312" y="1686"/>
                  </a:lnTo>
                  <a:lnTo>
                    <a:pt x="4312" y="1688"/>
                  </a:lnTo>
                  <a:lnTo>
                    <a:pt x="4314" y="1690"/>
                  </a:lnTo>
                  <a:lnTo>
                    <a:pt x="4324" y="1692"/>
                  </a:lnTo>
                  <a:lnTo>
                    <a:pt x="4340" y="1690"/>
                  </a:lnTo>
                  <a:lnTo>
                    <a:pt x="4358" y="1688"/>
                  </a:lnTo>
                  <a:lnTo>
                    <a:pt x="4374" y="1684"/>
                  </a:lnTo>
                  <a:lnTo>
                    <a:pt x="4386" y="1680"/>
                  </a:lnTo>
                  <a:lnTo>
                    <a:pt x="4394" y="1676"/>
                  </a:lnTo>
                  <a:lnTo>
                    <a:pt x="4398" y="1670"/>
                  </a:lnTo>
                  <a:lnTo>
                    <a:pt x="4404" y="1670"/>
                  </a:lnTo>
                  <a:lnTo>
                    <a:pt x="4410" y="1674"/>
                  </a:lnTo>
                  <a:lnTo>
                    <a:pt x="4418" y="1678"/>
                  </a:lnTo>
                  <a:lnTo>
                    <a:pt x="4426" y="1682"/>
                  </a:lnTo>
                  <a:lnTo>
                    <a:pt x="4436" y="1684"/>
                  </a:lnTo>
                  <a:lnTo>
                    <a:pt x="4448" y="1682"/>
                  </a:lnTo>
                  <a:lnTo>
                    <a:pt x="4454" y="1680"/>
                  </a:lnTo>
                  <a:lnTo>
                    <a:pt x="4462" y="1676"/>
                  </a:lnTo>
                  <a:lnTo>
                    <a:pt x="4466" y="1672"/>
                  </a:lnTo>
                  <a:lnTo>
                    <a:pt x="4468" y="1668"/>
                  </a:lnTo>
                  <a:lnTo>
                    <a:pt x="4468" y="1664"/>
                  </a:lnTo>
                  <a:lnTo>
                    <a:pt x="4466" y="1660"/>
                  </a:lnTo>
                  <a:lnTo>
                    <a:pt x="4458" y="1652"/>
                  </a:lnTo>
                  <a:lnTo>
                    <a:pt x="4448" y="1646"/>
                  </a:lnTo>
                  <a:lnTo>
                    <a:pt x="4442" y="1642"/>
                  </a:lnTo>
                  <a:lnTo>
                    <a:pt x="4440" y="1636"/>
                  </a:lnTo>
                  <a:lnTo>
                    <a:pt x="4438" y="1632"/>
                  </a:lnTo>
                  <a:lnTo>
                    <a:pt x="4438" y="1626"/>
                  </a:lnTo>
                  <a:lnTo>
                    <a:pt x="4440" y="1618"/>
                  </a:lnTo>
                  <a:lnTo>
                    <a:pt x="4446" y="1612"/>
                  </a:lnTo>
                  <a:lnTo>
                    <a:pt x="4456" y="1602"/>
                  </a:lnTo>
                  <a:lnTo>
                    <a:pt x="4468" y="1592"/>
                  </a:lnTo>
                  <a:lnTo>
                    <a:pt x="4496" y="1572"/>
                  </a:lnTo>
                  <a:lnTo>
                    <a:pt x="4514" y="1556"/>
                  </a:lnTo>
                  <a:lnTo>
                    <a:pt x="4536" y="1530"/>
                  </a:lnTo>
                  <a:lnTo>
                    <a:pt x="4546" y="1522"/>
                  </a:lnTo>
                  <a:lnTo>
                    <a:pt x="4562" y="1514"/>
                  </a:lnTo>
                  <a:lnTo>
                    <a:pt x="4584" y="1508"/>
                  </a:lnTo>
                  <a:lnTo>
                    <a:pt x="4616" y="1502"/>
                  </a:lnTo>
                  <a:lnTo>
                    <a:pt x="4630" y="1502"/>
                  </a:lnTo>
                  <a:lnTo>
                    <a:pt x="4642" y="1504"/>
                  </a:lnTo>
                  <a:lnTo>
                    <a:pt x="4650" y="1508"/>
                  </a:lnTo>
                  <a:lnTo>
                    <a:pt x="4656" y="1514"/>
                  </a:lnTo>
                  <a:lnTo>
                    <a:pt x="4660" y="1520"/>
                  </a:lnTo>
                  <a:lnTo>
                    <a:pt x="4664" y="1528"/>
                  </a:lnTo>
                  <a:lnTo>
                    <a:pt x="4664" y="1546"/>
                  </a:lnTo>
                  <a:lnTo>
                    <a:pt x="4666" y="1562"/>
                  </a:lnTo>
                  <a:lnTo>
                    <a:pt x="4666" y="1568"/>
                  </a:lnTo>
                  <a:lnTo>
                    <a:pt x="4668" y="1574"/>
                  </a:lnTo>
                  <a:lnTo>
                    <a:pt x="4672" y="1578"/>
                  </a:lnTo>
                  <a:lnTo>
                    <a:pt x="4676" y="1580"/>
                  </a:lnTo>
                  <a:lnTo>
                    <a:pt x="4684" y="1578"/>
                  </a:lnTo>
                  <a:lnTo>
                    <a:pt x="4694" y="1574"/>
                  </a:lnTo>
                  <a:lnTo>
                    <a:pt x="4714" y="1562"/>
                  </a:lnTo>
                  <a:lnTo>
                    <a:pt x="4728" y="1550"/>
                  </a:lnTo>
                  <a:lnTo>
                    <a:pt x="4738" y="1540"/>
                  </a:lnTo>
                  <a:lnTo>
                    <a:pt x="4746" y="1530"/>
                  </a:lnTo>
                  <a:lnTo>
                    <a:pt x="4752" y="1524"/>
                  </a:lnTo>
                  <a:lnTo>
                    <a:pt x="4758" y="1520"/>
                  </a:lnTo>
                  <a:lnTo>
                    <a:pt x="4766" y="1518"/>
                  </a:lnTo>
                  <a:lnTo>
                    <a:pt x="4778" y="1520"/>
                  </a:lnTo>
                  <a:lnTo>
                    <a:pt x="4784" y="1522"/>
                  </a:lnTo>
                  <a:lnTo>
                    <a:pt x="4788" y="1520"/>
                  </a:lnTo>
                  <a:lnTo>
                    <a:pt x="4790" y="1518"/>
                  </a:lnTo>
                  <a:lnTo>
                    <a:pt x="4792" y="1514"/>
                  </a:lnTo>
                  <a:lnTo>
                    <a:pt x="4790" y="1502"/>
                  </a:lnTo>
                  <a:lnTo>
                    <a:pt x="4788" y="1486"/>
                  </a:lnTo>
                  <a:lnTo>
                    <a:pt x="4788" y="1472"/>
                  </a:lnTo>
                  <a:lnTo>
                    <a:pt x="4790" y="1464"/>
                  </a:lnTo>
                  <a:lnTo>
                    <a:pt x="4792" y="1458"/>
                  </a:lnTo>
                  <a:lnTo>
                    <a:pt x="4796" y="1452"/>
                  </a:lnTo>
                  <a:lnTo>
                    <a:pt x="4802" y="1448"/>
                  </a:lnTo>
                  <a:lnTo>
                    <a:pt x="4812" y="1446"/>
                  </a:lnTo>
                  <a:lnTo>
                    <a:pt x="4824" y="1446"/>
                  </a:lnTo>
                  <a:lnTo>
                    <a:pt x="4854" y="1446"/>
                  </a:lnTo>
                  <a:lnTo>
                    <a:pt x="4856" y="1448"/>
                  </a:lnTo>
                  <a:lnTo>
                    <a:pt x="4858" y="1448"/>
                  </a:lnTo>
                  <a:lnTo>
                    <a:pt x="4854" y="1452"/>
                  </a:lnTo>
                  <a:lnTo>
                    <a:pt x="4848" y="1460"/>
                  </a:lnTo>
                  <a:lnTo>
                    <a:pt x="4838" y="1472"/>
                  </a:lnTo>
                  <a:lnTo>
                    <a:pt x="4830" y="1490"/>
                  </a:lnTo>
                  <a:lnTo>
                    <a:pt x="4828" y="1500"/>
                  </a:lnTo>
                  <a:lnTo>
                    <a:pt x="4824" y="1512"/>
                  </a:lnTo>
                  <a:lnTo>
                    <a:pt x="4822" y="1526"/>
                  </a:lnTo>
                  <a:lnTo>
                    <a:pt x="4818" y="1536"/>
                  </a:lnTo>
                  <a:lnTo>
                    <a:pt x="4814" y="1544"/>
                  </a:lnTo>
                  <a:lnTo>
                    <a:pt x="4810" y="1552"/>
                  </a:lnTo>
                  <a:lnTo>
                    <a:pt x="4798" y="1564"/>
                  </a:lnTo>
                  <a:lnTo>
                    <a:pt x="4784" y="1572"/>
                  </a:lnTo>
                  <a:lnTo>
                    <a:pt x="4766" y="1582"/>
                  </a:lnTo>
                  <a:lnTo>
                    <a:pt x="4748" y="1594"/>
                  </a:lnTo>
                  <a:lnTo>
                    <a:pt x="4726" y="1612"/>
                  </a:lnTo>
                  <a:lnTo>
                    <a:pt x="4716" y="1622"/>
                  </a:lnTo>
                  <a:lnTo>
                    <a:pt x="4704" y="1636"/>
                  </a:lnTo>
                  <a:lnTo>
                    <a:pt x="4664" y="1686"/>
                  </a:lnTo>
                  <a:lnTo>
                    <a:pt x="4646" y="1706"/>
                  </a:lnTo>
                  <a:lnTo>
                    <a:pt x="4630" y="1722"/>
                  </a:lnTo>
                  <a:lnTo>
                    <a:pt x="4614" y="1734"/>
                  </a:lnTo>
                  <a:lnTo>
                    <a:pt x="4600" y="1744"/>
                  </a:lnTo>
                  <a:lnTo>
                    <a:pt x="4584" y="1752"/>
                  </a:lnTo>
                  <a:lnTo>
                    <a:pt x="4568" y="1756"/>
                  </a:lnTo>
                  <a:lnTo>
                    <a:pt x="4554" y="1760"/>
                  </a:lnTo>
                  <a:lnTo>
                    <a:pt x="4546" y="1764"/>
                  </a:lnTo>
                  <a:lnTo>
                    <a:pt x="4544" y="1770"/>
                  </a:lnTo>
                  <a:lnTo>
                    <a:pt x="4542" y="1776"/>
                  </a:lnTo>
                  <a:lnTo>
                    <a:pt x="4542" y="1784"/>
                  </a:lnTo>
                  <a:lnTo>
                    <a:pt x="4540" y="1792"/>
                  </a:lnTo>
                  <a:lnTo>
                    <a:pt x="4532" y="1802"/>
                  </a:lnTo>
                  <a:lnTo>
                    <a:pt x="4520" y="1812"/>
                  </a:lnTo>
                  <a:lnTo>
                    <a:pt x="4514" y="1820"/>
                  </a:lnTo>
                  <a:lnTo>
                    <a:pt x="4508" y="1828"/>
                  </a:lnTo>
                  <a:lnTo>
                    <a:pt x="4502" y="1840"/>
                  </a:lnTo>
                  <a:lnTo>
                    <a:pt x="4498" y="1854"/>
                  </a:lnTo>
                  <a:lnTo>
                    <a:pt x="4496" y="1868"/>
                  </a:lnTo>
                  <a:lnTo>
                    <a:pt x="4494" y="1886"/>
                  </a:lnTo>
                  <a:lnTo>
                    <a:pt x="4494" y="1922"/>
                  </a:lnTo>
                  <a:lnTo>
                    <a:pt x="4496" y="1962"/>
                  </a:lnTo>
                  <a:lnTo>
                    <a:pt x="4502" y="2006"/>
                  </a:lnTo>
                  <a:lnTo>
                    <a:pt x="4508" y="2050"/>
                  </a:lnTo>
                  <a:lnTo>
                    <a:pt x="4518" y="2092"/>
                  </a:lnTo>
                  <a:lnTo>
                    <a:pt x="4520" y="2110"/>
                  </a:lnTo>
                  <a:lnTo>
                    <a:pt x="4522" y="2132"/>
                  </a:lnTo>
                  <a:lnTo>
                    <a:pt x="4526" y="2152"/>
                  </a:lnTo>
                  <a:lnTo>
                    <a:pt x="4530" y="2168"/>
                  </a:lnTo>
                  <a:lnTo>
                    <a:pt x="4532" y="2172"/>
                  </a:lnTo>
                  <a:lnTo>
                    <a:pt x="4536" y="2176"/>
                  </a:lnTo>
                  <a:lnTo>
                    <a:pt x="4542" y="2178"/>
                  </a:lnTo>
                  <a:lnTo>
                    <a:pt x="4548" y="2176"/>
                  </a:lnTo>
                  <a:lnTo>
                    <a:pt x="4556" y="2172"/>
                  </a:lnTo>
                  <a:lnTo>
                    <a:pt x="4564" y="2164"/>
                  </a:lnTo>
                  <a:lnTo>
                    <a:pt x="4574" y="2152"/>
                  </a:lnTo>
                  <a:lnTo>
                    <a:pt x="4588" y="2136"/>
                  </a:lnTo>
                  <a:lnTo>
                    <a:pt x="4594" y="2124"/>
                  </a:lnTo>
                  <a:lnTo>
                    <a:pt x="4600" y="2114"/>
                  </a:lnTo>
                  <a:lnTo>
                    <a:pt x="4608" y="2094"/>
                  </a:lnTo>
                  <a:lnTo>
                    <a:pt x="4610" y="2080"/>
                  </a:lnTo>
                  <a:lnTo>
                    <a:pt x="4612" y="2068"/>
                  </a:lnTo>
                  <a:lnTo>
                    <a:pt x="4612" y="2060"/>
                  </a:lnTo>
                  <a:lnTo>
                    <a:pt x="4614" y="2056"/>
                  </a:lnTo>
                  <a:lnTo>
                    <a:pt x="4618" y="2054"/>
                  </a:lnTo>
                  <a:lnTo>
                    <a:pt x="4626" y="2050"/>
                  </a:lnTo>
                  <a:lnTo>
                    <a:pt x="4644" y="2050"/>
                  </a:lnTo>
                  <a:lnTo>
                    <a:pt x="4654" y="2048"/>
                  </a:lnTo>
                  <a:lnTo>
                    <a:pt x="4660" y="2046"/>
                  </a:lnTo>
                  <a:lnTo>
                    <a:pt x="4664" y="2042"/>
                  </a:lnTo>
                  <a:lnTo>
                    <a:pt x="4668" y="2038"/>
                  </a:lnTo>
                  <a:lnTo>
                    <a:pt x="4670" y="2024"/>
                  </a:lnTo>
                  <a:lnTo>
                    <a:pt x="4670" y="2010"/>
                  </a:lnTo>
                  <a:lnTo>
                    <a:pt x="4670" y="1996"/>
                  </a:lnTo>
                  <a:lnTo>
                    <a:pt x="4672" y="1988"/>
                  </a:lnTo>
                  <a:lnTo>
                    <a:pt x="4676" y="1982"/>
                  </a:lnTo>
                  <a:lnTo>
                    <a:pt x="4680" y="1976"/>
                  </a:lnTo>
                  <a:lnTo>
                    <a:pt x="4686" y="1972"/>
                  </a:lnTo>
                  <a:lnTo>
                    <a:pt x="4694" y="1968"/>
                  </a:lnTo>
                  <a:lnTo>
                    <a:pt x="4704" y="1968"/>
                  </a:lnTo>
                  <a:lnTo>
                    <a:pt x="4730" y="1964"/>
                  </a:lnTo>
                  <a:lnTo>
                    <a:pt x="4740" y="1960"/>
                  </a:lnTo>
                  <a:lnTo>
                    <a:pt x="4744" y="1956"/>
                  </a:lnTo>
                  <a:lnTo>
                    <a:pt x="4748" y="1952"/>
                  </a:lnTo>
                  <a:lnTo>
                    <a:pt x="4750" y="1948"/>
                  </a:lnTo>
                  <a:lnTo>
                    <a:pt x="4750" y="1944"/>
                  </a:lnTo>
                  <a:lnTo>
                    <a:pt x="4748" y="1938"/>
                  </a:lnTo>
                  <a:lnTo>
                    <a:pt x="4744" y="1926"/>
                  </a:lnTo>
                  <a:lnTo>
                    <a:pt x="4740" y="1912"/>
                  </a:lnTo>
                  <a:lnTo>
                    <a:pt x="4738" y="1904"/>
                  </a:lnTo>
                  <a:lnTo>
                    <a:pt x="4738" y="1896"/>
                  </a:lnTo>
                  <a:lnTo>
                    <a:pt x="4740" y="1888"/>
                  </a:lnTo>
                  <a:lnTo>
                    <a:pt x="4744" y="1880"/>
                  </a:lnTo>
                  <a:lnTo>
                    <a:pt x="4748" y="1874"/>
                  </a:lnTo>
                  <a:lnTo>
                    <a:pt x="4752" y="1870"/>
                  </a:lnTo>
                  <a:lnTo>
                    <a:pt x="4756" y="1866"/>
                  </a:lnTo>
                  <a:lnTo>
                    <a:pt x="4760" y="1866"/>
                  </a:lnTo>
                  <a:lnTo>
                    <a:pt x="4770" y="1866"/>
                  </a:lnTo>
                  <a:lnTo>
                    <a:pt x="4778" y="1870"/>
                  </a:lnTo>
                  <a:lnTo>
                    <a:pt x="4784" y="1874"/>
                  </a:lnTo>
                  <a:lnTo>
                    <a:pt x="4792" y="1874"/>
                  </a:lnTo>
                  <a:lnTo>
                    <a:pt x="4794" y="1874"/>
                  </a:lnTo>
                  <a:lnTo>
                    <a:pt x="4796" y="1872"/>
                  </a:lnTo>
                  <a:lnTo>
                    <a:pt x="4800" y="1862"/>
                  </a:lnTo>
                  <a:lnTo>
                    <a:pt x="4800" y="1854"/>
                  </a:lnTo>
                  <a:lnTo>
                    <a:pt x="4800" y="1846"/>
                  </a:lnTo>
                  <a:lnTo>
                    <a:pt x="4798" y="1840"/>
                  </a:lnTo>
                  <a:lnTo>
                    <a:pt x="4796" y="1836"/>
                  </a:lnTo>
                  <a:lnTo>
                    <a:pt x="4788" y="1828"/>
                  </a:lnTo>
                  <a:lnTo>
                    <a:pt x="4782" y="1822"/>
                  </a:lnTo>
                  <a:lnTo>
                    <a:pt x="4774" y="1816"/>
                  </a:lnTo>
                  <a:lnTo>
                    <a:pt x="4772" y="1814"/>
                  </a:lnTo>
                  <a:lnTo>
                    <a:pt x="4772" y="1810"/>
                  </a:lnTo>
                  <a:lnTo>
                    <a:pt x="4772" y="1806"/>
                  </a:lnTo>
                  <a:lnTo>
                    <a:pt x="4774" y="1802"/>
                  </a:lnTo>
                  <a:lnTo>
                    <a:pt x="4782" y="1790"/>
                  </a:lnTo>
                  <a:lnTo>
                    <a:pt x="4790" y="1780"/>
                  </a:lnTo>
                  <a:lnTo>
                    <a:pt x="4794" y="1772"/>
                  </a:lnTo>
                  <a:lnTo>
                    <a:pt x="4794" y="1766"/>
                  </a:lnTo>
                  <a:lnTo>
                    <a:pt x="4792" y="1760"/>
                  </a:lnTo>
                  <a:lnTo>
                    <a:pt x="4788" y="1756"/>
                  </a:lnTo>
                  <a:lnTo>
                    <a:pt x="4782" y="1752"/>
                  </a:lnTo>
                  <a:lnTo>
                    <a:pt x="4768" y="1748"/>
                  </a:lnTo>
                  <a:lnTo>
                    <a:pt x="4756" y="1744"/>
                  </a:lnTo>
                  <a:lnTo>
                    <a:pt x="4750" y="1740"/>
                  </a:lnTo>
                  <a:lnTo>
                    <a:pt x="4746" y="1738"/>
                  </a:lnTo>
                  <a:lnTo>
                    <a:pt x="4746" y="1732"/>
                  </a:lnTo>
                  <a:lnTo>
                    <a:pt x="4748" y="1728"/>
                  </a:lnTo>
                  <a:lnTo>
                    <a:pt x="4752" y="1720"/>
                  </a:lnTo>
                  <a:lnTo>
                    <a:pt x="4762" y="1712"/>
                  </a:lnTo>
                  <a:lnTo>
                    <a:pt x="4782" y="1694"/>
                  </a:lnTo>
                  <a:lnTo>
                    <a:pt x="4794" y="1678"/>
                  </a:lnTo>
                  <a:lnTo>
                    <a:pt x="4800" y="1664"/>
                  </a:lnTo>
                  <a:lnTo>
                    <a:pt x="4804" y="1652"/>
                  </a:lnTo>
                  <a:lnTo>
                    <a:pt x="4806" y="1642"/>
                  </a:lnTo>
                  <a:lnTo>
                    <a:pt x="4810" y="1634"/>
                  </a:lnTo>
                  <a:lnTo>
                    <a:pt x="4816" y="1628"/>
                  </a:lnTo>
                  <a:lnTo>
                    <a:pt x="4828" y="1622"/>
                  </a:lnTo>
                  <a:lnTo>
                    <a:pt x="4840" y="1618"/>
                  </a:lnTo>
                  <a:lnTo>
                    <a:pt x="4848" y="1618"/>
                  </a:lnTo>
                  <a:lnTo>
                    <a:pt x="4852" y="1620"/>
                  </a:lnTo>
                  <a:lnTo>
                    <a:pt x="4854" y="1622"/>
                  </a:lnTo>
                  <a:lnTo>
                    <a:pt x="4856" y="1624"/>
                  </a:lnTo>
                  <a:lnTo>
                    <a:pt x="4862" y="1622"/>
                  </a:lnTo>
                  <a:lnTo>
                    <a:pt x="4872" y="1616"/>
                  </a:lnTo>
                  <a:lnTo>
                    <a:pt x="4888" y="1606"/>
                  </a:lnTo>
                  <a:lnTo>
                    <a:pt x="4900" y="1598"/>
                  </a:lnTo>
                  <a:lnTo>
                    <a:pt x="4908" y="1592"/>
                  </a:lnTo>
                  <a:lnTo>
                    <a:pt x="4914" y="1592"/>
                  </a:lnTo>
                  <a:lnTo>
                    <a:pt x="4916" y="1592"/>
                  </a:lnTo>
                  <a:lnTo>
                    <a:pt x="4918" y="1596"/>
                  </a:lnTo>
                  <a:lnTo>
                    <a:pt x="4918" y="1600"/>
                  </a:lnTo>
                  <a:lnTo>
                    <a:pt x="4914" y="1612"/>
                  </a:lnTo>
                  <a:lnTo>
                    <a:pt x="4910" y="1624"/>
                  </a:lnTo>
                  <a:lnTo>
                    <a:pt x="4910" y="1628"/>
                  </a:lnTo>
                  <a:lnTo>
                    <a:pt x="4910" y="1632"/>
                  </a:lnTo>
                  <a:lnTo>
                    <a:pt x="4912" y="1632"/>
                  </a:lnTo>
                  <a:lnTo>
                    <a:pt x="4916" y="1632"/>
                  </a:lnTo>
                  <a:lnTo>
                    <a:pt x="4934" y="1618"/>
                  </a:lnTo>
                  <a:lnTo>
                    <a:pt x="4958" y="1600"/>
                  </a:lnTo>
                  <a:lnTo>
                    <a:pt x="4980" y="1588"/>
                  </a:lnTo>
                  <a:lnTo>
                    <a:pt x="4990" y="1586"/>
                  </a:lnTo>
                  <a:lnTo>
                    <a:pt x="5000" y="1584"/>
                  </a:lnTo>
                  <a:lnTo>
                    <a:pt x="5016" y="1584"/>
                  </a:lnTo>
                  <a:lnTo>
                    <a:pt x="5032" y="1588"/>
                  </a:lnTo>
                  <a:lnTo>
                    <a:pt x="5048" y="1596"/>
                  </a:lnTo>
                  <a:lnTo>
                    <a:pt x="5060" y="1606"/>
                  </a:lnTo>
                  <a:lnTo>
                    <a:pt x="5072" y="1618"/>
                  </a:lnTo>
                  <a:lnTo>
                    <a:pt x="5080" y="1628"/>
                  </a:lnTo>
                  <a:lnTo>
                    <a:pt x="5082" y="1630"/>
                  </a:lnTo>
                  <a:lnTo>
                    <a:pt x="5084" y="1628"/>
                  </a:lnTo>
                  <a:lnTo>
                    <a:pt x="5086" y="1620"/>
                  </a:lnTo>
                  <a:lnTo>
                    <a:pt x="5094" y="1608"/>
                  </a:lnTo>
                  <a:lnTo>
                    <a:pt x="5108" y="1592"/>
                  </a:lnTo>
                  <a:lnTo>
                    <a:pt x="5118" y="1584"/>
                  </a:lnTo>
                  <a:lnTo>
                    <a:pt x="5132" y="1574"/>
                  </a:lnTo>
                  <a:lnTo>
                    <a:pt x="5148" y="1564"/>
                  </a:lnTo>
                  <a:lnTo>
                    <a:pt x="5168" y="1552"/>
                  </a:lnTo>
                  <a:lnTo>
                    <a:pt x="5186" y="1542"/>
                  </a:lnTo>
                  <a:lnTo>
                    <a:pt x="5202" y="1532"/>
                  </a:lnTo>
                  <a:lnTo>
                    <a:pt x="5236" y="1508"/>
                  </a:lnTo>
                  <a:lnTo>
                    <a:pt x="5252" y="1496"/>
                  </a:lnTo>
                  <a:lnTo>
                    <a:pt x="5272" y="1484"/>
                  </a:lnTo>
                  <a:lnTo>
                    <a:pt x="5290" y="1474"/>
                  </a:lnTo>
                  <a:lnTo>
                    <a:pt x="5312" y="1466"/>
                  </a:lnTo>
                  <a:lnTo>
                    <a:pt x="5330" y="1460"/>
                  </a:lnTo>
                  <a:lnTo>
                    <a:pt x="5348" y="1456"/>
                  </a:lnTo>
                  <a:lnTo>
                    <a:pt x="5362" y="1454"/>
                  </a:lnTo>
                  <a:lnTo>
                    <a:pt x="5374" y="1454"/>
                  </a:lnTo>
                  <a:lnTo>
                    <a:pt x="5396" y="1456"/>
                  </a:lnTo>
                  <a:lnTo>
                    <a:pt x="5410" y="1460"/>
                  </a:lnTo>
                  <a:lnTo>
                    <a:pt x="5422" y="1464"/>
                  </a:lnTo>
                  <a:lnTo>
                    <a:pt x="5430" y="1466"/>
                  </a:lnTo>
                  <a:lnTo>
                    <a:pt x="5434" y="1466"/>
                  </a:lnTo>
                  <a:lnTo>
                    <a:pt x="5438" y="1464"/>
                  </a:lnTo>
                  <a:lnTo>
                    <a:pt x="5448" y="1458"/>
                  </a:lnTo>
                  <a:lnTo>
                    <a:pt x="5454" y="1448"/>
                  </a:lnTo>
                  <a:lnTo>
                    <a:pt x="5458" y="1440"/>
                  </a:lnTo>
                  <a:lnTo>
                    <a:pt x="5456" y="1432"/>
                  </a:lnTo>
                  <a:lnTo>
                    <a:pt x="5450" y="1422"/>
                  </a:lnTo>
                  <a:lnTo>
                    <a:pt x="5436" y="1400"/>
                  </a:lnTo>
                  <a:lnTo>
                    <a:pt x="5428" y="1386"/>
                  </a:lnTo>
                  <a:lnTo>
                    <a:pt x="5420" y="1368"/>
                  </a:lnTo>
                  <a:lnTo>
                    <a:pt x="5412" y="1348"/>
                  </a:lnTo>
                  <a:lnTo>
                    <a:pt x="5404" y="1338"/>
                  </a:lnTo>
                  <a:lnTo>
                    <a:pt x="5400" y="1336"/>
                  </a:lnTo>
                  <a:lnTo>
                    <a:pt x="5396" y="1336"/>
                  </a:lnTo>
                  <a:lnTo>
                    <a:pt x="5390" y="1336"/>
                  </a:lnTo>
                  <a:lnTo>
                    <a:pt x="5384" y="1338"/>
                  </a:lnTo>
                  <a:lnTo>
                    <a:pt x="5378" y="1338"/>
                  </a:lnTo>
                  <a:lnTo>
                    <a:pt x="5376" y="1336"/>
                  </a:lnTo>
                  <a:lnTo>
                    <a:pt x="5374" y="1334"/>
                  </a:lnTo>
                  <a:lnTo>
                    <a:pt x="5368" y="1322"/>
                  </a:lnTo>
                  <a:lnTo>
                    <a:pt x="5368" y="1316"/>
                  </a:lnTo>
                  <a:lnTo>
                    <a:pt x="5368" y="1312"/>
                  </a:lnTo>
                  <a:lnTo>
                    <a:pt x="5372" y="1310"/>
                  </a:lnTo>
                  <a:lnTo>
                    <a:pt x="5374" y="1308"/>
                  </a:lnTo>
                  <a:lnTo>
                    <a:pt x="5384" y="1308"/>
                  </a:lnTo>
                  <a:lnTo>
                    <a:pt x="5398" y="1310"/>
                  </a:lnTo>
                  <a:lnTo>
                    <a:pt x="5414" y="1312"/>
                  </a:lnTo>
                  <a:lnTo>
                    <a:pt x="5432" y="1310"/>
                  </a:lnTo>
                  <a:lnTo>
                    <a:pt x="5440" y="1308"/>
                  </a:lnTo>
                  <a:lnTo>
                    <a:pt x="5448" y="1304"/>
                  </a:lnTo>
                  <a:lnTo>
                    <a:pt x="5454" y="1298"/>
                  </a:lnTo>
                  <a:lnTo>
                    <a:pt x="5462" y="1292"/>
                  </a:lnTo>
                  <a:lnTo>
                    <a:pt x="5478" y="1272"/>
                  </a:lnTo>
                  <a:lnTo>
                    <a:pt x="5478" y="1258"/>
                  </a:lnTo>
                  <a:lnTo>
                    <a:pt x="5486" y="1248"/>
                  </a:lnTo>
                  <a:lnTo>
                    <a:pt x="5490" y="1244"/>
                  </a:lnTo>
                  <a:lnTo>
                    <a:pt x="5490" y="1240"/>
                  </a:lnTo>
                  <a:lnTo>
                    <a:pt x="5490" y="1236"/>
                  </a:lnTo>
                  <a:lnTo>
                    <a:pt x="5488" y="1232"/>
                  </a:lnTo>
                  <a:lnTo>
                    <a:pt x="5480" y="1220"/>
                  </a:lnTo>
                  <a:lnTo>
                    <a:pt x="5478" y="1216"/>
                  </a:lnTo>
                  <a:lnTo>
                    <a:pt x="5478" y="1204"/>
                  </a:lnTo>
                  <a:lnTo>
                    <a:pt x="5480" y="1200"/>
                  </a:lnTo>
                  <a:lnTo>
                    <a:pt x="5484" y="1200"/>
                  </a:lnTo>
                  <a:lnTo>
                    <a:pt x="5490" y="1200"/>
                  </a:lnTo>
                  <a:lnTo>
                    <a:pt x="5496" y="1202"/>
                  </a:lnTo>
                  <a:lnTo>
                    <a:pt x="5502" y="1206"/>
                  </a:lnTo>
                  <a:lnTo>
                    <a:pt x="5510" y="1212"/>
                  </a:lnTo>
                  <a:lnTo>
                    <a:pt x="5516" y="1220"/>
                  </a:lnTo>
                  <a:lnTo>
                    <a:pt x="5520" y="1230"/>
                  </a:lnTo>
                  <a:lnTo>
                    <a:pt x="5524" y="1238"/>
                  </a:lnTo>
                  <a:lnTo>
                    <a:pt x="5530" y="1242"/>
                  </a:lnTo>
                  <a:lnTo>
                    <a:pt x="5536" y="1244"/>
                  </a:lnTo>
                  <a:lnTo>
                    <a:pt x="5542" y="1246"/>
                  </a:lnTo>
                  <a:lnTo>
                    <a:pt x="5556" y="1244"/>
                  </a:lnTo>
                  <a:lnTo>
                    <a:pt x="5572" y="1242"/>
                  </a:lnTo>
                  <a:lnTo>
                    <a:pt x="5588" y="1238"/>
                  </a:lnTo>
                  <a:lnTo>
                    <a:pt x="5596" y="1238"/>
                  </a:lnTo>
                  <a:lnTo>
                    <a:pt x="5604" y="1238"/>
                  </a:lnTo>
                  <a:lnTo>
                    <a:pt x="5610" y="1242"/>
                  </a:lnTo>
                  <a:lnTo>
                    <a:pt x="5618" y="1246"/>
                  </a:lnTo>
                  <a:lnTo>
                    <a:pt x="5624" y="1252"/>
                  </a:lnTo>
                  <a:lnTo>
                    <a:pt x="5628" y="1262"/>
                  </a:lnTo>
                  <a:lnTo>
                    <a:pt x="5638" y="1278"/>
                  </a:lnTo>
                  <a:lnTo>
                    <a:pt x="5648" y="1290"/>
                  </a:lnTo>
                  <a:lnTo>
                    <a:pt x="5656" y="1294"/>
                  </a:lnTo>
                  <a:lnTo>
                    <a:pt x="5664" y="1296"/>
                  </a:lnTo>
                  <a:lnTo>
                    <a:pt x="5674" y="1298"/>
                  </a:lnTo>
                  <a:lnTo>
                    <a:pt x="5682" y="1298"/>
                  </a:lnTo>
                  <a:lnTo>
                    <a:pt x="5690" y="1302"/>
                  </a:lnTo>
                  <a:lnTo>
                    <a:pt x="5696" y="1310"/>
                  </a:lnTo>
                  <a:lnTo>
                    <a:pt x="5700" y="1316"/>
                  </a:lnTo>
                  <a:lnTo>
                    <a:pt x="5706" y="1320"/>
                  </a:lnTo>
                  <a:lnTo>
                    <a:pt x="5710" y="1322"/>
                  </a:lnTo>
                  <a:lnTo>
                    <a:pt x="5716" y="1322"/>
                  </a:lnTo>
                  <a:lnTo>
                    <a:pt x="5726" y="1322"/>
                  </a:lnTo>
                  <a:lnTo>
                    <a:pt x="5738" y="1318"/>
                  </a:lnTo>
                  <a:lnTo>
                    <a:pt x="5748" y="1310"/>
                  </a:lnTo>
                  <a:lnTo>
                    <a:pt x="5756" y="1298"/>
                  </a:lnTo>
                  <a:lnTo>
                    <a:pt x="5764" y="1284"/>
                  </a:lnTo>
                  <a:lnTo>
                    <a:pt x="5766" y="1268"/>
                  </a:lnTo>
                  <a:lnTo>
                    <a:pt x="5768" y="1254"/>
                  </a:lnTo>
                  <a:lnTo>
                    <a:pt x="5770" y="1248"/>
                  </a:lnTo>
                  <a:lnTo>
                    <a:pt x="5774" y="1246"/>
                  </a:lnTo>
                  <a:lnTo>
                    <a:pt x="5782" y="1240"/>
                  </a:lnTo>
                  <a:lnTo>
                    <a:pt x="5792" y="1238"/>
                  </a:lnTo>
                  <a:lnTo>
                    <a:pt x="5802" y="1238"/>
                  </a:lnTo>
                  <a:lnTo>
                    <a:pt x="5816" y="1234"/>
                  </a:lnTo>
                  <a:lnTo>
                    <a:pt x="5830" y="1228"/>
                  </a:lnTo>
                  <a:lnTo>
                    <a:pt x="5836" y="1222"/>
                  </a:lnTo>
                  <a:lnTo>
                    <a:pt x="5844" y="1216"/>
                  </a:lnTo>
                  <a:lnTo>
                    <a:pt x="5854" y="1204"/>
                  </a:lnTo>
                  <a:lnTo>
                    <a:pt x="5856" y="1198"/>
                  </a:lnTo>
                  <a:lnTo>
                    <a:pt x="5856" y="1196"/>
                  </a:lnTo>
                  <a:lnTo>
                    <a:pt x="5854" y="1194"/>
                  </a:lnTo>
                  <a:lnTo>
                    <a:pt x="5846" y="1194"/>
                  </a:lnTo>
                  <a:lnTo>
                    <a:pt x="5836" y="1192"/>
                  </a:lnTo>
                  <a:lnTo>
                    <a:pt x="5824" y="1188"/>
                  </a:lnTo>
                  <a:lnTo>
                    <a:pt x="5816" y="1184"/>
                  </a:lnTo>
                  <a:lnTo>
                    <a:pt x="5810" y="1180"/>
                  </a:lnTo>
                  <a:lnTo>
                    <a:pt x="5804" y="1174"/>
                  </a:lnTo>
                  <a:lnTo>
                    <a:pt x="5798" y="1166"/>
                  </a:lnTo>
                  <a:close/>
                </a:path>
              </a:pathLst>
            </a:custGeom>
            <a:solidFill>
              <a:srgbClr val="CE295E"/>
            </a:solidFill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  <p:sp>
          <p:nvSpPr>
            <p:cNvPr id="126" name="Полилиния 6004">
              <a:extLst>
                <a:ext uri="{FF2B5EF4-FFF2-40B4-BE49-F238E27FC236}">
                  <a16:creationId xmlns:a16="http://schemas.microsoft.com/office/drawing/2014/main" xmlns="" id="{697EC272-2D49-4013-B34A-B359F6731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7764" y="3604257"/>
              <a:ext cx="5081" cy="6348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4" y="10"/>
                </a:cxn>
                <a:cxn ang="0">
                  <a:pos x="6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8" h="10">
                  <a:moveTo>
                    <a:pt x="0" y="6"/>
                  </a:moveTo>
                  <a:lnTo>
                    <a:pt x="0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  <p:grpSp>
          <p:nvGrpSpPr>
            <p:cNvPr id="127" name="Группа 224">
              <a:extLst>
                <a:ext uri="{FF2B5EF4-FFF2-40B4-BE49-F238E27FC236}">
                  <a16:creationId xmlns:a16="http://schemas.microsoft.com/office/drawing/2014/main" xmlns="" id="{39E5F600-6942-4BA6-8AA7-531D4A04554F}"/>
                </a:ext>
              </a:extLst>
            </p:cNvPr>
            <p:cNvGrpSpPr/>
            <p:nvPr/>
          </p:nvGrpSpPr>
          <p:grpSpPr bwMode="auto">
            <a:xfrm>
              <a:off x="61887" y="752420"/>
              <a:ext cx="3986398" cy="2950877"/>
              <a:chOff x="93979" y="699453"/>
              <a:chExt cx="3986530" cy="2951480"/>
            </a:xfrm>
            <a:grpFill/>
          </p:grpSpPr>
          <p:sp>
            <p:nvSpPr>
              <p:cNvPr id="135" name="Полилиния 6016">
                <a:extLst>
                  <a:ext uri="{FF2B5EF4-FFF2-40B4-BE49-F238E27FC236}">
                    <a16:creationId xmlns:a16="http://schemas.microsoft.com/office/drawing/2014/main" xmlns="" id="{69DFCF33-EBD2-4790-ADEE-889828CAC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2550" y="1099503"/>
                <a:ext cx="40640" cy="26670"/>
              </a:xfrm>
              <a:custGeom>
                <a:avLst/>
                <a:gdLst/>
                <a:ahLst/>
                <a:cxnLst>
                  <a:cxn ang="0">
                    <a:pos x="54" y="2"/>
                  </a:cxn>
                  <a:cxn ang="0">
                    <a:pos x="54" y="2"/>
                  </a:cxn>
                  <a:cxn ang="0">
                    <a:pos x="32" y="12"/>
                  </a:cxn>
                  <a:cxn ang="0">
                    <a:pos x="10" y="24"/>
                  </a:cxn>
                  <a:cxn ang="0">
                    <a:pos x="4" y="30"/>
                  </a:cxn>
                  <a:cxn ang="0">
                    <a:pos x="0" y="36"/>
                  </a:cxn>
                  <a:cxn ang="0">
                    <a:pos x="2" y="38"/>
                  </a:cxn>
                  <a:cxn ang="0">
                    <a:pos x="4" y="40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8" y="42"/>
                  </a:cxn>
                  <a:cxn ang="0">
                    <a:pos x="40" y="36"/>
                  </a:cxn>
                  <a:cxn ang="0">
                    <a:pos x="50" y="28"/>
                  </a:cxn>
                  <a:cxn ang="0">
                    <a:pos x="58" y="20"/>
                  </a:cxn>
                  <a:cxn ang="0">
                    <a:pos x="62" y="10"/>
                  </a:cxn>
                  <a:cxn ang="0">
                    <a:pos x="64" y="4"/>
                  </a:cxn>
                  <a:cxn ang="0">
                    <a:pos x="64" y="2"/>
                  </a:cxn>
                  <a:cxn ang="0">
                    <a:pos x="62" y="0"/>
                  </a:cxn>
                  <a:cxn ang="0">
                    <a:pos x="58" y="0"/>
                  </a:cxn>
                  <a:cxn ang="0">
                    <a:pos x="54" y="2"/>
                  </a:cxn>
                  <a:cxn ang="0">
                    <a:pos x="54" y="2"/>
                  </a:cxn>
                </a:cxnLst>
                <a:rect l="0" t="0" r="r" b="b"/>
                <a:pathLst>
                  <a:path w="64" h="42">
                    <a:moveTo>
                      <a:pt x="54" y="2"/>
                    </a:moveTo>
                    <a:lnTo>
                      <a:pt x="54" y="2"/>
                    </a:lnTo>
                    <a:lnTo>
                      <a:pt x="32" y="12"/>
                    </a:lnTo>
                    <a:lnTo>
                      <a:pt x="10" y="24"/>
                    </a:lnTo>
                    <a:lnTo>
                      <a:pt x="4" y="30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8" y="42"/>
                    </a:lnTo>
                    <a:lnTo>
                      <a:pt x="40" y="36"/>
                    </a:lnTo>
                    <a:lnTo>
                      <a:pt x="50" y="28"/>
                    </a:lnTo>
                    <a:lnTo>
                      <a:pt x="58" y="20"/>
                    </a:lnTo>
                    <a:lnTo>
                      <a:pt x="62" y="10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4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36" name="Полилиния 6017">
                <a:extLst>
                  <a:ext uri="{FF2B5EF4-FFF2-40B4-BE49-F238E27FC236}">
                    <a16:creationId xmlns:a16="http://schemas.microsoft.com/office/drawing/2014/main" xmlns="" id="{480BA2B9-56BA-4BE6-A589-897B4B8089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4910" y="1173163"/>
                <a:ext cx="270510" cy="165100"/>
              </a:xfrm>
              <a:custGeom>
                <a:avLst/>
                <a:gdLst/>
                <a:ahLst/>
                <a:cxnLst>
                  <a:cxn ang="0">
                    <a:pos x="20" y="198"/>
                  </a:cxn>
                  <a:cxn ang="0">
                    <a:pos x="68" y="214"/>
                  </a:cxn>
                  <a:cxn ang="0">
                    <a:pos x="92" y="232"/>
                  </a:cxn>
                  <a:cxn ang="0">
                    <a:pos x="106" y="256"/>
                  </a:cxn>
                  <a:cxn ang="0">
                    <a:pos x="116" y="260"/>
                  </a:cxn>
                  <a:cxn ang="0">
                    <a:pos x="146" y="248"/>
                  </a:cxn>
                  <a:cxn ang="0">
                    <a:pos x="168" y="236"/>
                  </a:cxn>
                  <a:cxn ang="0">
                    <a:pos x="184" y="238"/>
                  </a:cxn>
                  <a:cxn ang="0">
                    <a:pos x="208" y="232"/>
                  </a:cxn>
                  <a:cxn ang="0">
                    <a:pos x="216" y="226"/>
                  </a:cxn>
                  <a:cxn ang="0">
                    <a:pos x="224" y="200"/>
                  </a:cxn>
                  <a:cxn ang="0">
                    <a:pos x="232" y="178"/>
                  </a:cxn>
                  <a:cxn ang="0">
                    <a:pos x="254" y="172"/>
                  </a:cxn>
                  <a:cxn ang="0">
                    <a:pos x="266" y="158"/>
                  </a:cxn>
                  <a:cxn ang="0">
                    <a:pos x="280" y="140"/>
                  </a:cxn>
                  <a:cxn ang="0">
                    <a:pos x="322" y="124"/>
                  </a:cxn>
                  <a:cxn ang="0">
                    <a:pos x="392" y="94"/>
                  </a:cxn>
                  <a:cxn ang="0">
                    <a:pos x="418" y="86"/>
                  </a:cxn>
                  <a:cxn ang="0">
                    <a:pos x="424" y="72"/>
                  </a:cxn>
                  <a:cxn ang="0">
                    <a:pos x="408" y="64"/>
                  </a:cxn>
                  <a:cxn ang="0">
                    <a:pos x="370" y="40"/>
                  </a:cxn>
                  <a:cxn ang="0">
                    <a:pos x="334" y="22"/>
                  </a:cxn>
                  <a:cxn ang="0">
                    <a:pos x="302" y="22"/>
                  </a:cxn>
                  <a:cxn ang="0">
                    <a:pos x="284" y="30"/>
                  </a:cxn>
                  <a:cxn ang="0">
                    <a:pos x="276" y="40"/>
                  </a:cxn>
                  <a:cxn ang="0">
                    <a:pos x="272" y="36"/>
                  </a:cxn>
                  <a:cxn ang="0">
                    <a:pos x="268" y="26"/>
                  </a:cxn>
                  <a:cxn ang="0">
                    <a:pos x="260" y="26"/>
                  </a:cxn>
                  <a:cxn ang="0">
                    <a:pos x="234" y="22"/>
                  </a:cxn>
                  <a:cxn ang="0">
                    <a:pos x="192" y="2"/>
                  </a:cxn>
                  <a:cxn ang="0">
                    <a:pos x="168" y="0"/>
                  </a:cxn>
                  <a:cxn ang="0">
                    <a:pos x="138" y="6"/>
                  </a:cxn>
                  <a:cxn ang="0">
                    <a:pos x="54" y="16"/>
                  </a:cxn>
                  <a:cxn ang="0">
                    <a:pos x="50" y="20"/>
                  </a:cxn>
                  <a:cxn ang="0">
                    <a:pos x="56" y="28"/>
                  </a:cxn>
                  <a:cxn ang="0">
                    <a:pos x="64" y="46"/>
                  </a:cxn>
                  <a:cxn ang="0">
                    <a:pos x="76" y="52"/>
                  </a:cxn>
                  <a:cxn ang="0">
                    <a:pos x="86" y="60"/>
                  </a:cxn>
                  <a:cxn ang="0">
                    <a:pos x="74" y="72"/>
                  </a:cxn>
                  <a:cxn ang="0">
                    <a:pos x="72" y="80"/>
                  </a:cxn>
                  <a:cxn ang="0">
                    <a:pos x="58" y="84"/>
                  </a:cxn>
                  <a:cxn ang="0">
                    <a:pos x="56" y="90"/>
                  </a:cxn>
                  <a:cxn ang="0">
                    <a:pos x="48" y="106"/>
                  </a:cxn>
                  <a:cxn ang="0">
                    <a:pos x="46" y="114"/>
                  </a:cxn>
                  <a:cxn ang="0">
                    <a:pos x="56" y="122"/>
                  </a:cxn>
                  <a:cxn ang="0">
                    <a:pos x="44" y="126"/>
                  </a:cxn>
                  <a:cxn ang="0">
                    <a:pos x="30" y="130"/>
                  </a:cxn>
                  <a:cxn ang="0">
                    <a:pos x="34" y="140"/>
                  </a:cxn>
                  <a:cxn ang="0">
                    <a:pos x="22" y="160"/>
                  </a:cxn>
                  <a:cxn ang="0">
                    <a:pos x="4" y="182"/>
                  </a:cxn>
                  <a:cxn ang="0">
                    <a:pos x="0" y="192"/>
                  </a:cxn>
                  <a:cxn ang="0">
                    <a:pos x="2" y="196"/>
                  </a:cxn>
                </a:cxnLst>
                <a:rect l="0" t="0" r="r" b="b"/>
                <a:pathLst>
                  <a:path w="426" h="260">
                    <a:moveTo>
                      <a:pt x="2" y="196"/>
                    </a:moveTo>
                    <a:lnTo>
                      <a:pt x="2" y="196"/>
                    </a:lnTo>
                    <a:lnTo>
                      <a:pt x="20" y="198"/>
                    </a:lnTo>
                    <a:lnTo>
                      <a:pt x="38" y="204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78" y="220"/>
                    </a:lnTo>
                    <a:lnTo>
                      <a:pt x="86" y="226"/>
                    </a:lnTo>
                    <a:lnTo>
                      <a:pt x="92" y="232"/>
                    </a:lnTo>
                    <a:lnTo>
                      <a:pt x="96" y="240"/>
                    </a:lnTo>
                    <a:lnTo>
                      <a:pt x="102" y="252"/>
                    </a:lnTo>
                    <a:lnTo>
                      <a:pt x="106" y="256"/>
                    </a:lnTo>
                    <a:lnTo>
                      <a:pt x="110" y="260"/>
                    </a:lnTo>
                    <a:lnTo>
                      <a:pt x="110" y="260"/>
                    </a:lnTo>
                    <a:lnTo>
                      <a:pt x="116" y="260"/>
                    </a:lnTo>
                    <a:lnTo>
                      <a:pt x="122" y="260"/>
                    </a:lnTo>
                    <a:lnTo>
                      <a:pt x="134" y="256"/>
                    </a:lnTo>
                    <a:lnTo>
                      <a:pt x="146" y="248"/>
                    </a:lnTo>
                    <a:lnTo>
                      <a:pt x="160" y="240"/>
                    </a:lnTo>
                    <a:lnTo>
                      <a:pt x="160" y="240"/>
                    </a:lnTo>
                    <a:lnTo>
                      <a:pt x="168" y="236"/>
                    </a:lnTo>
                    <a:lnTo>
                      <a:pt x="172" y="234"/>
                    </a:lnTo>
                    <a:lnTo>
                      <a:pt x="180" y="236"/>
                    </a:lnTo>
                    <a:lnTo>
                      <a:pt x="184" y="238"/>
                    </a:lnTo>
                    <a:lnTo>
                      <a:pt x="190" y="238"/>
                    </a:lnTo>
                    <a:lnTo>
                      <a:pt x="198" y="236"/>
                    </a:lnTo>
                    <a:lnTo>
                      <a:pt x="208" y="232"/>
                    </a:lnTo>
                    <a:lnTo>
                      <a:pt x="208" y="232"/>
                    </a:lnTo>
                    <a:lnTo>
                      <a:pt x="212" y="230"/>
                    </a:lnTo>
                    <a:lnTo>
                      <a:pt x="216" y="226"/>
                    </a:lnTo>
                    <a:lnTo>
                      <a:pt x="222" y="218"/>
                    </a:lnTo>
                    <a:lnTo>
                      <a:pt x="224" y="210"/>
                    </a:lnTo>
                    <a:lnTo>
                      <a:pt x="224" y="200"/>
                    </a:lnTo>
                    <a:lnTo>
                      <a:pt x="224" y="192"/>
                    </a:lnTo>
                    <a:lnTo>
                      <a:pt x="226" y="184"/>
                    </a:lnTo>
                    <a:lnTo>
                      <a:pt x="232" y="178"/>
                    </a:lnTo>
                    <a:lnTo>
                      <a:pt x="244" y="174"/>
                    </a:lnTo>
                    <a:lnTo>
                      <a:pt x="244" y="174"/>
                    </a:lnTo>
                    <a:lnTo>
                      <a:pt x="254" y="172"/>
                    </a:lnTo>
                    <a:lnTo>
                      <a:pt x="260" y="170"/>
                    </a:lnTo>
                    <a:lnTo>
                      <a:pt x="264" y="164"/>
                    </a:lnTo>
                    <a:lnTo>
                      <a:pt x="266" y="158"/>
                    </a:lnTo>
                    <a:lnTo>
                      <a:pt x="268" y="152"/>
                    </a:lnTo>
                    <a:lnTo>
                      <a:pt x="272" y="146"/>
                    </a:lnTo>
                    <a:lnTo>
                      <a:pt x="280" y="140"/>
                    </a:lnTo>
                    <a:lnTo>
                      <a:pt x="292" y="136"/>
                    </a:lnTo>
                    <a:lnTo>
                      <a:pt x="292" y="136"/>
                    </a:lnTo>
                    <a:lnTo>
                      <a:pt x="322" y="124"/>
                    </a:lnTo>
                    <a:lnTo>
                      <a:pt x="348" y="112"/>
                    </a:lnTo>
                    <a:lnTo>
                      <a:pt x="370" y="102"/>
                    </a:lnTo>
                    <a:lnTo>
                      <a:pt x="392" y="94"/>
                    </a:lnTo>
                    <a:lnTo>
                      <a:pt x="392" y="94"/>
                    </a:lnTo>
                    <a:lnTo>
                      <a:pt x="408" y="90"/>
                    </a:lnTo>
                    <a:lnTo>
                      <a:pt x="418" y="86"/>
                    </a:lnTo>
                    <a:lnTo>
                      <a:pt x="424" y="82"/>
                    </a:lnTo>
                    <a:lnTo>
                      <a:pt x="426" y="76"/>
                    </a:lnTo>
                    <a:lnTo>
                      <a:pt x="424" y="72"/>
                    </a:lnTo>
                    <a:lnTo>
                      <a:pt x="420" y="70"/>
                    </a:lnTo>
                    <a:lnTo>
                      <a:pt x="408" y="64"/>
                    </a:lnTo>
                    <a:lnTo>
                      <a:pt x="408" y="64"/>
                    </a:lnTo>
                    <a:lnTo>
                      <a:pt x="398" y="60"/>
                    </a:lnTo>
                    <a:lnTo>
                      <a:pt x="390" y="54"/>
                    </a:lnTo>
                    <a:lnTo>
                      <a:pt x="370" y="40"/>
                    </a:lnTo>
                    <a:lnTo>
                      <a:pt x="360" y="32"/>
                    </a:lnTo>
                    <a:lnTo>
                      <a:pt x="348" y="26"/>
                    </a:lnTo>
                    <a:lnTo>
                      <a:pt x="334" y="22"/>
                    </a:lnTo>
                    <a:lnTo>
                      <a:pt x="318" y="22"/>
                    </a:lnTo>
                    <a:lnTo>
                      <a:pt x="318" y="22"/>
                    </a:lnTo>
                    <a:lnTo>
                      <a:pt x="302" y="22"/>
                    </a:lnTo>
                    <a:lnTo>
                      <a:pt x="294" y="24"/>
                    </a:lnTo>
                    <a:lnTo>
                      <a:pt x="288" y="26"/>
                    </a:lnTo>
                    <a:lnTo>
                      <a:pt x="284" y="30"/>
                    </a:lnTo>
                    <a:lnTo>
                      <a:pt x="282" y="36"/>
                    </a:lnTo>
                    <a:lnTo>
                      <a:pt x="280" y="38"/>
                    </a:lnTo>
                    <a:lnTo>
                      <a:pt x="276" y="40"/>
                    </a:lnTo>
                    <a:lnTo>
                      <a:pt x="276" y="40"/>
                    </a:lnTo>
                    <a:lnTo>
                      <a:pt x="272" y="40"/>
                    </a:lnTo>
                    <a:lnTo>
                      <a:pt x="272" y="36"/>
                    </a:lnTo>
                    <a:lnTo>
                      <a:pt x="272" y="32"/>
                    </a:lnTo>
                    <a:lnTo>
                      <a:pt x="272" y="30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66" y="26"/>
                    </a:lnTo>
                    <a:lnTo>
                      <a:pt x="260" y="26"/>
                    </a:lnTo>
                    <a:lnTo>
                      <a:pt x="250" y="24"/>
                    </a:lnTo>
                    <a:lnTo>
                      <a:pt x="234" y="22"/>
                    </a:lnTo>
                    <a:lnTo>
                      <a:pt x="234" y="22"/>
                    </a:lnTo>
                    <a:lnTo>
                      <a:pt x="218" y="16"/>
                    </a:lnTo>
                    <a:lnTo>
                      <a:pt x="208" y="12"/>
                    </a:lnTo>
                    <a:lnTo>
                      <a:pt x="192" y="2"/>
                    </a:lnTo>
                    <a:lnTo>
                      <a:pt x="186" y="0"/>
                    </a:lnTo>
                    <a:lnTo>
                      <a:pt x="178" y="0"/>
                    </a:lnTo>
                    <a:lnTo>
                      <a:pt x="168" y="0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38" y="6"/>
                    </a:lnTo>
                    <a:lnTo>
                      <a:pt x="120" y="8"/>
                    </a:lnTo>
                    <a:lnTo>
                      <a:pt x="82" y="12"/>
                    </a:lnTo>
                    <a:lnTo>
                      <a:pt x="54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4" y="24"/>
                    </a:lnTo>
                    <a:lnTo>
                      <a:pt x="56" y="28"/>
                    </a:lnTo>
                    <a:lnTo>
                      <a:pt x="58" y="36"/>
                    </a:lnTo>
                    <a:lnTo>
                      <a:pt x="60" y="42"/>
                    </a:lnTo>
                    <a:lnTo>
                      <a:pt x="64" y="46"/>
                    </a:lnTo>
                    <a:lnTo>
                      <a:pt x="68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4" y="56"/>
                    </a:lnTo>
                    <a:lnTo>
                      <a:pt x="86" y="58"/>
                    </a:lnTo>
                    <a:lnTo>
                      <a:pt x="86" y="60"/>
                    </a:lnTo>
                    <a:lnTo>
                      <a:pt x="84" y="64"/>
                    </a:lnTo>
                    <a:lnTo>
                      <a:pt x="76" y="68"/>
                    </a:lnTo>
                    <a:lnTo>
                      <a:pt x="74" y="72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0" y="82"/>
                    </a:lnTo>
                    <a:lnTo>
                      <a:pt x="64" y="82"/>
                    </a:lnTo>
                    <a:lnTo>
                      <a:pt x="58" y="84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54" y="98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46" y="114"/>
                    </a:lnTo>
                    <a:lnTo>
                      <a:pt x="46" y="114"/>
                    </a:lnTo>
                    <a:lnTo>
                      <a:pt x="54" y="118"/>
                    </a:lnTo>
                    <a:lnTo>
                      <a:pt x="56" y="122"/>
                    </a:lnTo>
                    <a:lnTo>
                      <a:pt x="56" y="124"/>
                    </a:lnTo>
                    <a:lnTo>
                      <a:pt x="54" y="124"/>
                    </a:lnTo>
                    <a:lnTo>
                      <a:pt x="44" y="126"/>
                    </a:lnTo>
                    <a:lnTo>
                      <a:pt x="44" y="126"/>
                    </a:lnTo>
                    <a:lnTo>
                      <a:pt x="34" y="128"/>
                    </a:lnTo>
                    <a:lnTo>
                      <a:pt x="30" y="130"/>
                    </a:lnTo>
                    <a:lnTo>
                      <a:pt x="30" y="134"/>
                    </a:lnTo>
                    <a:lnTo>
                      <a:pt x="34" y="140"/>
                    </a:lnTo>
                    <a:lnTo>
                      <a:pt x="34" y="140"/>
                    </a:lnTo>
                    <a:lnTo>
                      <a:pt x="34" y="144"/>
                    </a:lnTo>
                    <a:lnTo>
                      <a:pt x="32" y="150"/>
                    </a:lnTo>
                    <a:lnTo>
                      <a:pt x="22" y="160"/>
                    </a:lnTo>
                    <a:lnTo>
                      <a:pt x="10" y="172"/>
                    </a:lnTo>
                    <a:lnTo>
                      <a:pt x="6" y="178"/>
                    </a:lnTo>
                    <a:lnTo>
                      <a:pt x="4" y="182"/>
                    </a:lnTo>
                    <a:lnTo>
                      <a:pt x="4" y="182"/>
                    </a:lnTo>
                    <a:lnTo>
                      <a:pt x="2" y="188"/>
                    </a:lnTo>
                    <a:lnTo>
                      <a:pt x="0" y="192"/>
                    </a:lnTo>
                    <a:lnTo>
                      <a:pt x="0" y="194"/>
                    </a:lnTo>
                    <a:lnTo>
                      <a:pt x="2" y="196"/>
                    </a:lnTo>
                    <a:lnTo>
                      <a:pt x="2" y="19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37" name="Полилиния 6018">
                <a:extLst>
                  <a:ext uri="{FF2B5EF4-FFF2-40B4-BE49-F238E27FC236}">
                    <a16:creationId xmlns:a16="http://schemas.microsoft.com/office/drawing/2014/main" xmlns="" id="{2A2BF83A-E0C4-44B3-ADE8-AE756AE4AB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8570" y="1024573"/>
                <a:ext cx="190500" cy="87630"/>
              </a:xfrm>
              <a:custGeom>
                <a:avLst/>
                <a:gdLst/>
                <a:ahLst/>
                <a:cxnLst>
                  <a:cxn ang="0">
                    <a:pos x="12" y="124"/>
                  </a:cxn>
                  <a:cxn ang="0">
                    <a:pos x="16" y="130"/>
                  </a:cxn>
                  <a:cxn ang="0">
                    <a:pos x="36" y="120"/>
                  </a:cxn>
                  <a:cxn ang="0">
                    <a:pos x="50" y="118"/>
                  </a:cxn>
                  <a:cxn ang="0">
                    <a:pos x="66" y="124"/>
                  </a:cxn>
                  <a:cxn ang="0">
                    <a:pos x="76" y="124"/>
                  </a:cxn>
                  <a:cxn ang="0">
                    <a:pos x="88" y="114"/>
                  </a:cxn>
                  <a:cxn ang="0">
                    <a:pos x="94" y="122"/>
                  </a:cxn>
                  <a:cxn ang="0">
                    <a:pos x="112" y="138"/>
                  </a:cxn>
                  <a:cxn ang="0">
                    <a:pos x="132" y="132"/>
                  </a:cxn>
                  <a:cxn ang="0">
                    <a:pos x="138" y="114"/>
                  </a:cxn>
                  <a:cxn ang="0">
                    <a:pos x="146" y="110"/>
                  </a:cxn>
                  <a:cxn ang="0">
                    <a:pos x="156" y="114"/>
                  </a:cxn>
                  <a:cxn ang="0">
                    <a:pos x="174" y="94"/>
                  </a:cxn>
                  <a:cxn ang="0">
                    <a:pos x="182" y="76"/>
                  </a:cxn>
                  <a:cxn ang="0">
                    <a:pos x="186" y="66"/>
                  </a:cxn>
                  <a:cxn ang="0">
                    <a:pos x="206" y="56"/>
                  </a:cxn>
                  <a:cxn ang="0">
                    <a:pos x="208" y="64"/>
                  </a:cxn>
                  <a:cxn ang="0">
                    <a:pos x="206" y="88"/>
                  </a:cxn>
                  <a:cxn ang="0">
                    <a:pos x="214" y="96"/>
                  </a:cxn>
                  <a:cxn ang="0">
                    <a:pos x="236" y="100"/>
                  </a:cxn>
                  <a:cxn ang="0">
                    <a:pos x="244" y="92"/>
                  </a:cxn>
                  <a:cxn ang="0">
                    <a:pos x="246" y="80"/>
                  </a:cxn>
                  <a:cxn ang="0">
                    <a:pos x="274" y="74"/>
                  </a:cxn>
                  <a:cxn ang="0">
                    <a:pos x="294" y="60"/>
                  </a:cxn>
                  <a:cxn ang="0">
                    <a:pos x="280" y="42"/>
                  </a:cxn>
                  <a:cxn ang="0">
                    <a:pos x="272" y="36"/>
                  </a:cxn>
                  <a:cxn ang="0">
                    <a:pos x="278" y="28"/>
                  </a:cxn>
                  <a:cxn ang="0">
                    <a:pos x="300" y="18"/>
                  </a:cxn>
                  <a:cxn ang="0">
                    <a:pos x="288" y="8"/>
                  </a:cxn>
                  <a:cxn ang="0">
                    <a:pos x="258" y="0"/>
                  </a:cxn>
                  <a:cxn ang="0">
                    <a:pos x="244" y="4"/>
                  </a:cxn>
                  <a:cxn ang="0">
                    <a:pos x="234" y="16"/>
                  </a:cxn>
                  <a:cxn ang="0">
                    <a:pos x="202" y="12"/>
                  </a:cxn>
                  <a:cxn ang="0">
                    <a:pos x="160" y="18"/>
                  </a:cxn>
                  <a:cxn ang="0">
                    <a:pos x="128" y="38"/>
                  </a:cxn>
                  <a:cxn ang="0">
                    <a:pos x="102" y="58"/>
                  </a:cxn>
                  <a:cxn ang="0">
                    <a:pos x="82" y="66"/>
                  </a:cxn>
                  <a:cxn ang="0">
                    <a:pos x="66" y="78"/>
                  </a:cxn>
                  <a:cxn ang="0">
                    <a:pos x="44" y="90"/>
                  </a:cxn>
                  <a:cxn ang="0">
                    <a:pos x="28" y="86"/>
                  </a:cxn>
                  <a:cxn ang="0">
                    <a:pos x="12" y="96"/>
                  </a:cxn>
                  <a:cxn ang="0">
                    <a:pos x="2" y="112"/>
                  </a:cxn>
                  <a:cxn ang="0">
                    <a:pos x="14" y="116"/>
                  </a:cxn>
                </a:cxnLst>
                <a:rect l="0" t="0" r="r" b="b"/>
                <a:pathLst>
                  <a:path w="300" h="138">
                    <a:moveTo>
                      <a:pt x="14" y="120"/>
                    </a:moveTo>
                    <a:lnTo>
                      <a:pt x="14" y="120"/>
                    </a:lnTo>
                    <a:lnTo>
                      <a:pt x="12" y="124"/>
                    </a:lnTo>
                    <a:lnTo>
                      <a:pt x="12" y="126"/>
                    </a:lnTo>
                    <a:lnTo>
                      <a:pt x="14" y="128"/>
                    </a:lnTo>
                    <a:lnTo>
                      <a:pt x="16" y="130"/>
                    </a:lnTo>
                    <a:lnTo>
                      <a:pt x="24" y="12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42" y="118"/>
                    </a:lnTo>
                    <a:lnTo>
                      <a:pt x="46" y="116"/>
                    </a:lnTo>
                    <a:lnTo>
                      <a:pt x="50" y="118"/>
                    </a:lnTo>
                    <a:lnTo>
                      <a:pt x="52" y="118"/>
                    </a:lnTo>
                    <a:lnTo>
                      <a:pt x="60" y="124"/>
                    </a:lnTo>
                    <a:lnTo>
                      <a:pt x="66" y="124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6" y="124"/>
                    </a:lnTo>
                    <a:lnTo>
                      <a:pt x="82" y="122"/>
                    </a:lnTo>
                    <a:lnTo>
                      <a:pt x="86" y="116"/>
                    </a:lnTo>
                    <a:lnTo>
                      <a:pt x="88" y="114"/>
                    </a:lnTo>
                    <a:lnTo>
                      <a:pt x="90" y="114"/>
                    </a:lnTo>
                    <a:lnTo>
                      <a:pt x="94" y="122"/>
                    </a:lnTo>
                    <a:lnTo>
                      <a:pt x="94" y="122"/>
                    </a:lnTo>
                    <a:lnTo>
                      <a:pt x="98" y="130"/>
                    </a:lnTo>
                    <a:lnTo>
                      <a:pt x="104" y="134"/>
                    </a:lnTo>
                    <a:lnTo>
                      <a:pt x="112" y="138"/>
                    </a:lnTo>
                    <a:lnTo>
                      <a:pt x="118" y="138"/>
                    </a:lnTo>
                    <a:lnTo>
                      <a:pt x="126" y="136"/>
                    </a:lnTo>
                    <a:lnTo>
                      <a:pt x="132" y="132"/>
                    </a:lnTo>
                    <a:lnTo>
                      <a:pt x="136" y="124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38" y="106"/>
                    </a:lnTo>
                    <a:lnTo>
                      <a:pt x="140" y="104"/>
                    </a:lnTo>
                    <a:lnTo>
                      <a:pt x="146" y="110"/>
                    </a:lnTo>
                    <a:lnTo>
                      <a:pt x="150" y="114"/>
                    </a:lnTo>
                    <a:lnTo>
                      <a:pt x="154" y="114"/>
                    </a:lnTo>
                    <a:lnTo>
                      <a:pt x="156" y="114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74" y="94"/>
                    </a:lnTo>
                    <a:lnTo>
                      <a:pt x="174" y="94"/>
                    </a:lnTo>
                    <a:lnTo>
                      <a:pt x="180" y="82"/>
                    </a:lnTo>
                    <a:lnTo>
                      <a:pt x="182" y="76"/>
                    </a:lnTo>
                    <a:lnTo>
                      <a:pt x="182" y="68"/>
                    </a:lnTo>
                    <a:lnTo>
                      <a:pt x="184" y="66"/>
                    </a:lnTo>
                    <a:lnTo>
                      <a:pt x="186" y="66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206" y="56"/>
                    </a:lnTo>
                    <a:lnTo>
                      <a:pt x="208" y="58"/>
                    </a:lnTo>
                    <a:lnTo>
                      <a:pt x="210" y="58"/>
                    </a:lnTo>
                    <a:lnTo>
                      <a:pt x="208" y="64"/>
                    </a:lnTo>
                    <a:lnTo>
                      <a:pt x="206" y="72"/>
                    </a:lnTo>
                    <a:lnTo>
                      <a:pt x="204" y="80"/>
                    </a:lnTo>
                    <a:lnTo>
                      <a:pt x="206" y="88"/>
                    </a:lnTo>
                    <a:lnTo>
                      <a:pt x="208" y="92"/>
                    </a:lnTo>
                    <a:lnTo>
                      <a:pt x="210" y="94"/>
                    </a:lnTo>
                    <a:lnTo>
                      <a:pt x="214" y="96"/>
                    </a:lnTo>
                    <a:lnTo>
                      <a:pt x="222" y="98"/>
                    </a:lnTo>
                    <a:lnTo>
                      <a:pt x="222" y="98"/>
                    </a:lnTo>
                    <a:lnTo>
                      <a:pt x="236" y="100"/>
                    </a:lnTo>
                    <a:lnTo>
                      <a:pt x="242" y="98"/>
                    </a:lnTo>
                    <a:lnTo>
                      <a:pt x="246" y="96"/>
                    </a:lnTo>
                    <a:lnTo>
                      <a:pt x="244" y="92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6" y="80"/>
                    </a:lnTo>
                    <a:lnTo>
                      <a:pt x="254" y="78"/>
                    </a:lnTo>
                    <a:lnTo>
                      <a:pt x="254" y="78"/>
                    </a:lnTo>
                    <a:lnTo>
                      <a:pt x="274" y="74"/>
                    </a:lnTo>
                    <a:lnTo>
                      <a:pt x="284" y="70"/>
                    </a:lnTo>
                    <a:lnTo>
                      <a:pt x="290" y="66"/>
                    </a:lnTo>
                    <a:lnTo>
                      <a:pt x="294" y="60"/>
                    </a:lnTo>
                    <a:lnTo>
                      <a:pt x="294" y="54"/>
                    </a:lnTo>
                    <a:lnTo>
                      <a:pt x="290" y="48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74" y="38"/>
                    </a:lnTo>
                    <a:lnTo>
                      <a:pt x="272" y="36"/>
                    </a:lnTo>
                    <a:lnTo>
                      <a:pt x="272" y="34"/>
                    </a:lnTo>
                    <a:lnTo>
                      <a:pt x="272" y="32"/>
                    </a:lnTo>
                    <a:lnTo>
                      <a:pt x="278" y="28"/>
                    </a:lnTo>
                    <a:lnTo>
                      <a:pt x="288" y="24"/>
                    </a:lnTo>
                    <a:lnTo>
                      <a:pt x="296" y="22"/>
                    </a:lnTo>
                    <a:lnTo>
                      <a:pt x="300" y="18"/>
                    </a:lnTo>
                    <a:lnTo>
                      <a:pt x="300" y="16"/>
                    </a:lnTo>
                    <a:lnTo>
                      <a:pt x="298" y="14"/>
                    </a:lnTo>
                    <a:lnTo>
                      <a:pt x="288" y="8"/>
                    </a:lnTo>
                    <a:lnTo>
                      <a:pt x="288" y="8"/>
                    </a:lnTo>
                    <a:lnTo>
                      <a:pt x="266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8" y="2"/>
                    </a:lnTo>
                    <a:lnTo>
                      <a:pt x="244" y="4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4" y="16"/>
                    </a:lnTo>
                    <a:lnTo>
                      <a:pt x="232" y="16"/>
                    </a:lnTo>
                    <a:lnTo>
                      <a:pt x="224" y="16"/>
                    </a:lnTo>
                    <a:lnTo>
                      <a:pt x="202" y="12"/>
                    </a:lnTo>
                    <a:lnTo>
                      <a:pt x="186" y="12"/>
                    </a:lnTo>
                    <a:lnTo>
                      <a:pt x="170" y="14"/>
                    </a:lnTo>
                    <a:lnTo>
                      <a:pt x="160" y="18"/>
                    </a:lnTo>
                    <a:lnTo>
                      <a:pt x="150" y="22"/>
                    </a:lnTo>
                    <a:lnTo>
                      <a:pt x="140" y="2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102" y="58"/>
                    </a:lnTo>
                    <a:lnTo>
                      <a:pt x="94" y="62"/>
                    </a:lnTo>
                    <a:lnTo>
                      <a:pt x="90" y="62"/>
                    </a:lnTo>
                    <a:lnTo>
                      <a:pt x="82" y="66"/>
                    </a:lnTo>
                    <a:lnTo>
                      <a:pt x="76" y="70"/>
                    </a:lnTo>
                    <a:lnTo>
                      <a:pt x="66" y="78"/>
                    </a:lnTo>
                    <a:lnTo>
                      <a:pt x="66" y="78"/>
                    </a:lnTo>
                    <a:lnTo>
                      <a:pt x="58" y="86"/>
                    </a:lnTo>
                    <a:lnTo>
                      <a:pt x="50" y="88"/>
                    </a:lnTo>
                    <a:lnTo>
                      <a:pt x="44" y="90"/>
                    </a:lnTo>
                    <a:lnTo>
                      <a:pt x="38" y="88"/>
                    </a:lnTo>
                    <a:lnTo>
                      <a:pt x="34" y="86"/>
                    </a:lnTo>
                    <a:lnTo>
                      <a:pt x="28" y="86"/>
                    </a:lnTo>
                    <a:lnTo>
                      <a:pt x="20" y="9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4" y="104"/>
                    </a:lnTo>
                    <a:lnTo>
                      <a:pt x="0" y="108"/>
                    </a:lnTo>
                    <a:lnTo>
                      <a:pt x="2" y="112"/>
                    </a:lnTo>
                    <a:lnTo>
                      <a:pt x="4" y="112"/>
                    </a:lnTo>
                    <a:lnTo>
                      <a:pt x="12" y="114"/>
                    </a:lnTo>
                    <a:lnTo>
                      <a:pt x="14" y="116"/>
                    </a:lnTo>
                    <a:lnTo>
                      <a:pt x="14" y="120"/>
                    </a:lnTo>
                    <a:lnTo>
                      <a:pt x="14" y="1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38" name="Полилиния 6019">
                <a:extLst>
                  <a:ext uri="{FF2B5EF4-FFF2-40B4-BE49-F238E27FC236}">
                    <a16:creationId xmlns:a16="http://schemas.microsoft.com/office/drawing/2014/main" xmlns="" id="{8DFF94D9-EB46-4082-9B0C-C4D0908FA9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8120" y="1056323"/>
                <a:ext cx="35560" cy="1016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18" y="16"/>
                  </a:cxn>
                  <a:cxn ang="0">
                    <a:pos x="38" y="16"/>
                  </a:cxn>
                  <a:cxn ang="0">
                    <a:pos x="46" y="14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56" y="10"/>
                  </a:cxn>
                  <a:cxn ang="0">
                    <a:pos x="56" y="8"/>
                  </a:cxn>
                  <a:cxn ang="0">
                    <a:pos x="54" y="6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</a:cxnLst>
                <a:rect l="0" t="0" r="r" b="b"/>
                <a:pathLst>
                  <a:path w="56" h="16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18" y="16"/>
                    </a:lnTo>
                    <a:lnTo>
                      <a:pt x="38" y="16"/>
                    </a:lnTo>
                    <a:lnTo>
                      <a:pt x="46" y="14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46" y="2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39" name="Полилиния 6020">
                <a:extLst>
                  <a:ext uri="{FF2B5EF4-FFF2-40B4-BE49-F238E27FC236}">
                    <a16:creationId xmlns:a16="http://schemas.microsoft.com/office/drawing/2014/main" xmlns="" id="{0A8AC365-1C72-4660-B2E9-E822873792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310" y="996633"/>
                <a:ext cx="34290" cy="19050"/>
              </a:xfrm>
              <a:custGeom>
                <a:avLst/>
                <a:gdLst/>
                <a:ahLst/>
                <a:cxnLst>
                  <a:cxn ang="0">
                    <a:pos x="42" y="30"/>
                  </a:cxn>
                  <a:cxn ang="0">
                    <a:pos x="42" y="30"/>
                  </a:cxn>
                  <a:cxn ang="0">
                    <a:pos x="52" y="28"/>
                  </a:cxn>
                  <a:cxn ang="0">
                    <a:pos x="54" y="26"/>
                  </a:cxn>
                  <a:cxn ang="0">
                    <a:pos x="54" y="24"/>
                  </a:cxn>
                  <a:cxn ang="0">
                    <a:pos x="50" y="18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4"/>
                  </a:cxn>
                  <a:cxn ang="0">
                    <a:pos x="26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8" y="22"/>
                  </a:cxn>
                  <a:cxn ang="0">
                    <a:pos x="24" y="28"/>
                  </a:cxn>
                  <a:cxn ang="0">
                    <a:pos x="32" y="28"/>
                  </a:cxn>
                  <a:cxn ang="0">
                    <a:pos x="42" y="30"/>
                  </a:cxn>
                  <a:cxn ang="0">
                    <a:pos x="42" y="30"/>
                  </a:cxn>
                </a:cxnLst>
                <a:rect l="0" t="0" r="r" b="b"/>
                <a:pathLst>
                  <a:path w="54" h="30">
                    <a:moveTo>
                      <a:pt x="42" y="30"/>
                    </a:moveTo>
                    <a:lnTo>
                      <a:pt x="42" y="30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4"/>
                    </a:lnTo>
                    <a:lnTo>
                      <a:pt x="50" y="1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4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8" y="22"/>
                    </a:lnTo>
                    <a:lnTo>
                      <a:pt x="24" y="28"/>
                    </a:lnTo>
                    <a:lnTo>
                      <a:pt x="32" y="28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40" name="Полилиния 6021">
                <a:extLst>
                  <a:ext uri="{FF2B5EF4-FFF2-40B4-BE49-F238E27FC236}">
                    <a16:creationId xmlns:a16="http://schemas.microsoft.com/office/drawing/2014/main" xmlns="" id="{B2D0FFA9-608A-4F53-8334-DE631B298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950" y="994093"/>
                <a:ext cx="97790" cy="39370"/>
              </a:xfrm>
              <a:custGeom>
                <a:avLst/>
                <a:gdLst/>
                <a:ahLst/>
                <a:cxnLst>
                  <a:cxn ang="0">
                    <a:pos x="106" y="56"/>
                  </a:cxn>
                  <a:cxn ang="0">
                    <a:pos x="106" y="56"/>
                  </a:cxn>
                  <a:cxn ang="0">
                    <a:pos x="120" y="52"/>
                  </a:cxn>
                  <a:cxn ang="0">
                    <a:pos x="130" y="48"/>
                  </a:cxn>
                  <a:cxn ang="0">
                    <a:pos x="136" y="44"/>
                  </a:cxn>
                  <a:cxn ang="0">
                    <a:pos x="138" y="40"/>
                  </a:cxn>
                  <a:cxn ang="0">
                    <a:pos x="138" y="34"/>
                  </a:cxn>
                  <a:cxn ang="0">
                    <a:pos x="132" y="30"/>
                  </a:cxn>
                  <a:cxn ang="0">
                    <a:pos x="124" y="28"/>
                  </a:cxn>
                  <a:cxn ang="0">
                    <a:pos x="114" y="26"/>
                  </a:cxn>
                  <a:cxn ang="0">
                    <a:pos x="114" y="26"/>
                  </a:cxn>
                  <a:cxn ang="0">
                    <a:pos x="104" y="24"/>
                  </a:cxn>
                  <a:cxn ang="0">
                    <a:pos x="104" y="24"/>
                  </a:cxn>
                  <a:cxn ang="0">
                    <a:pos x="118" y="22"/>
                  </a:cxn>
                  <a:cxn ang="0">
                    <a:pos x="138" y="16"/>
                  </a:cxn>
                  <a:cxn ang="0">
                    <a:pos x="148" y="12"/>
                  </a:cxn>
                  <a:cxn ang="0">
                    <a:pos x="152" y="8"/>
                  </a:cxn>
                  <a:cxn ang="0">
                    <a:pos x="152" y="8"/>
                  </a:cxn>
                  <a:cxn ang="0">
                    <a:pos x="154" y="4"/>
                  </a:cxn>
                  <a:cxn ang="0">
                    <a:pos x="152" y="2"/>
                  </a:cxn>
                  <a:cxn ang="0">
                    <a:pos x="148" y="0"/>
                  </a:cxn>
                  <a:cxn ang="0">
                    <a:pos x="138" y="0"/>
                  </a:cxn>
                  <a:cxn ang="0">
                    <a:pos x="124" y="0"/>
                  </a:cxn>
                  <a:cxn ang="0">
                    <a:pos x="90" y="4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18" y="14"/>
                  </a:cxn>
                  <a:cxn ang="0">
                    <a:pos x="8" y="18"/>
                  </a:cxn>
                  <a:cxn ang="0">
                    <a:pos x="4" y="22"/>
                  </a:cxn>
                  <a:cxn ang="0">
                    <a:pos x="0" y="26"/>
                  </a:cxn>
                  <a:cxn ang="0">
                    <a:pos x="0" y="30"/>
                  </a:cxn>
                  <a:cxn ang="0">
                    <a:pos x="8" y="46"/>
                  </a:cxn>
                  <a:cxn ang="0">
                    <a:pos x="8" y="46"/>
                  </a:cxn>
                  <a:cxn ang="0">
                    <a:pos x="14" y="52"/>
                  </a:cxn>
                  <a:cxn ang="0">
                    <a:pos x="22" y="58"/>
                  </a:cxn>
                  <a:cxn ang="0">
                    <a:pos x="32" y="60"/>
                  </a:cxn>
                  <a:cxn ang="0">
                    <a:pos x="46" y="62"/>
                  </a:cxn>
                  <a:cxn ang="0">
                    <a:pos x="74" y="60"/>
                  </a:cxn>
                  <a:cxn ang="0">
                    <a:pos x="106" y="56"/>
                  </a:cxn>
                  <a:cxn ang="0">
                    <a:pos x="106" y="56"/>
                  </a:cxn>
                </a:cxnLst>
                <a:rect l="0" t="0" r="r" b="b"/>
                <a:pathLst>
                  <a:path w="154" h="62">
                    <a:moveTo>
                      <a:pt x="106" y="56"/>
                    </a:moveTo>
                    <a:lnTo>
                      <a:pt x="106" y="56"/>
                    </a:lnTo>
                    <a:lnTo>
                      <a:pt x="120" y="52"/>
                    </a:lnTo>
                    <a:lnTo>
                      <a:pt x="130" y="48"/>
                    </a:lnTo>
                    <a:lnTo>
                      <a:pt x="136" y="44"/>
                    </a:lnTo>
                    <a:lnTo>
                      <a:pt x="138" y="40"/>
                    </a:lnTo>
                    <a:lnTo>
                      <a:pt x="138" y="34"/>
                    </a:lnTo>
                    <a:lnTo>
                      <a:pt x="132" y="30"/>
                    </a:lnTo>
                    <a:lnTo>
                      <a:pt x="124" y="28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18" y="22"/>
                    </a:lnTo>
                    <a:lnTo>
                      <a:pt x="138" y="16"/>
                    </a:lnTo>
                    <a:lnTo>
                      <a:pt x="148" y="1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4" y="4"/>
                    </a:lnTo>
                    <a:lnTo>
                      <a:pt x="152" y="2"/>
                    </a:lnTo>
                    <a:lnTo>
                      <a:pt x="148" y="0"/>
                    </a:lnTo>
                    <a:lnTo>
                      <a:pt x="138" y="0"/>
                    </a:lnTo>
                    <a:lnTo>
                      <a:pt x="124" y="0"/>
                    </a:lnTo>
                    <a:lnTo>
                      <a:pt x="9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18" y="14"/>
                    </a:lnTo>
                    <a:lnTo>
                      <a:pt x="8" y="18"/>
                    </a:lnTo>
                    <a:lnTo>
                      <a:pt x="4" y="22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4" y="52"/>
                    </a:lnTo>
                    <a:lnTo>
                      <a:pt x="22" y="58"/>
                    </a:lnTo>
                    <a:lnTo>
                      <a:pt x="32" y="60"/>
                    </a:lnTo>
                    <a:lnTo>
                      <a:pt x="46" y="62"/>
                    </a:lnTo>
                    <a:lnTo>
                      <a:pt x="74" y="60"/>
                    </a:lnTo>
                    <a:lnTo>
                      <a:pt x="106" y="56"/>
                    </a:lnTo>
                    <a:lnTo>
                      <a:pt x="106" y="5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41" name="Полилиния 6022">
                <a:extLst>
                  <a:ext uri="{FF2B5EF4-FFF2-40B4-BE49-F238E27FC236}">
                    <a16:creationId xmlns:a16="http://schemas.microsoft.com/office/drawing/2014/main" xmlns="" id="{041C9B3A-7F3F-47F3-9AFB-C122B8451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920" y="1067753"/>
                <a:ext cx="143510" cy="87630"/>
              </a:xfrm>
              <a:custGeom>
                <a:avLst/>
                <a:gdLst/>
                <a:ahLst/>
                <a:cxnLst>
                  <a:cxn ang="0">
                    <a:pos x="144" y="12"/>
                  </a:cxn>
                  <a:cxn ang="0">
                    <a:pos x="130" y="4"/>
                  </a:cxn>
                  <a:cxn ang="0">
                    <a:pos x="104" y="4"/>
                  </a:cxn>
                  <a:cxn ang="0">
                    <a:pos x="88" y="8"/>
                  </a:cxn>
                  <a:cxn ang="0">
                    <a:pos x="78" y="14"/>
                  </a:cxn>
                  <a:cxn ang="0">
                    <a:pos x="84" y="22"/>
                  </a:cxn>
                  <a:cxn ang="0">
                    <a:pos x="124" y="62"/>
                  </a:cxn>
                  <a:cxn ang="0">
                    <a:pos x="102" y="50"/>
                  </a:cxn>
                  <a:cxn ang="0">
                    <a:pos x="82" y="34"/>
                  </a:cxn>
                  <a:cxn ang="0">
                    <a:pos x="74" y="24"/>
                  </a:cxn>
                  <a:cxn ang="0">
                    <a:pos x="64" y="20"/>
                  </a:cxn>
                  <a:cxn ang="0">
                    <a:pos x="54" y="18"/>
                  </a:cxn>
                  <a:cxn ang="0">
                    <a:pos x="32" y="20"/>
                  </a:cxn>
                  <a:cxn ang="0">
                    <a:pos x="26" y="26"/>
                  </a:cxn>
                  <a:cxn ang="0">
                    <a:pos x="32" y="36"/>
                  </a:cxn>
                  <a:cxn ang="0">
                    <a:pos x="46" y="52"/>
                  </a:cxn>
                  <a:cxn ang="0">
                    <a:pos x="56" y="64"/>
                  </a:cxn>
                  <a:cxn ang="0">
                    <a:pos x="42" y="60"/>
                  </a:cxn>
                  <a:cxn ang="0">
                    <a:pos x="32" y="62"/>
                  </a:cxn>
                  <a:cxn ang="0">
                    <a:pos x="26" y="66"/>
                  </a:cxn>
                  <a:cxn ang="0">
                    <a:pos x="8" y="74"/>
                  </a:cxn>
                  <a:cxn ang="0">
                    <a:pos x="0" y="78"/>
                  </a:cxn>
                  <a:cxn ang="0">
                    <a:pos x="4" y="86"/>
                  </a:cxn>
                  <a:cxn ang="0">
                    <a:pos x="8" y="88"/>
                  </a:cxn>
                  <a:cxn ang="0">
                    <a:pos x="26" y="90"/>
                  </a:cxn>
                  <a:cxn ang="0">
                    <a:pos x="66" y="86"/>
                  </a:cxn>
                  <a:cxn ang="0">
                    <a:pos x="122" y="76"/>
                  </a:cxn>
                  <a:cxn ang="0">
                    <a:pos x="136" y="76"/>
                  </a:cxn>
                  <a:cxn ang="0">
                    <a:pos x="138" y="80"/>
                  </a:cxn>
                  <a:cxn ang="0">
                    <a:pos x="106" y="90"/>
                  </a:cxn>
                  <a:cxn ang="0">
                    <a:pos x="92" y="98"/>
                  </a:cxn>
                  <a:cxn ang="0">
                    <a:pos x="90" y="104"/>
                  </a:cxn>
                  <a:cxn ang="0">
                    <a:pos x="92" y="106"/>
                  </a:cxn>
                  <a:cxn ang="0">
                    <a:pos x="100" y="120"/>
                  </a:cxn>
                  <a:cxn ang="0">
                    <a:pos x="104" y="136"/>
                  </a:cxn>
                  <a:cxn ang="0">
                    <a:pos x="116" y="136"/>
                  </a:cxn>
                  <a:cxn ang="0">
                    <a:pos x="126" y="134"/>
                  </a:cxn>
                  <a:cxn ang="0">
                    <a:pos x="142" y="128"/>
                  </a:cxn>
                  <a:cxn ang="0">
                    <a:pos x="166" y="132"/>
                  </a:cxn>
                  <a:cxn ang="0">
                    <a:pos x="200" y="128"/>
                  </a:cxn>
                  <a:cxn ang="0">
                    <a:pos x="208" y="122"/>
                  </a:cxn>
                  <a:cxn ang="0">
                    <a:pos x="208" y="112"/>
                  </a:cxn>
                  <a:cxn ang="0">
                    <a:pos x="202" y="100"/>
                  </a:cxn>
                  <a:cxn ang="0">
                    <a:pos x="202" y="88"/>
                  </a:cxn>
                  <a:cxn ang="0">
                    <a:pos x="210" y="88"/>
                  </a:cxn>
                  <a:cxn ang="0">
                    <a:pos x="214" y="92"/>
                  </a:cxn>
                  <a:cxn ang="0">
                    <a:pos x="226" y="98"/>
                  </a:cxn>
                  <a:cxn ang="0">
                    <a:pos x="224" y="90"/>
                  </a:cxn>
                  <a:cxn ang="0">
                    <a:pos x="216" y="76"/>
                  </a:cxn>
                  <a:cxn ang="0">
                    <a:pos x="212" y="60"/>
                  </a:cxn>
                  <a:cxn ang="0">
                    <a:pos x="208" y="30"/>
                  </a:cxn>
                  <a:cxn ang="0">
                    <a:pos x="196" y="10"/>
                  </a:cxn>
                  <a:cxn ang="0">
                    <a:pos x="184" y="4"/>
                  </a:cxn>
                  <a:cxn ang="0">
                    <a:pos x="164" y="0"/>
                  </a:cxn>
                  <a:cxn ang="0">
                    <a:pos x="156" y="6"/>
                  </a:cxn>
                  <a:cxn ang="0">
                    <a:pos x="148" y="14"/>
                  </a:cxn>
                  <a:cxn ang="0">
                    <a:pos x="144" y="12"/>
                  </a:cxn>
                </a:cxnLst>
                <a:rect l="0" t="0" r="r" b="b"/>
                <a:pathLst>
                  <a:path w="226" h="138">
                    <a:moveTo>
                      <a:pt x="144" y="12"/>
                    </a:moveTo>
                    <a:lnTo>
                      <a:pt x="144" y="12"/>
                    </a:lnTo>
                    <a:lnTo>
                      <a:pt x="138" y="6"/>
                    </a:lnTo>
                    <a:lnTo>
                      <a:pt x="130" y="4"/>
                    </a:lnTo>
                    <a:lnTo>
                      <a:pt x="118" y="2"/>
                    </a:lnTo>
                    <a:lnTo>
                      <a:pt x="10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102" y="38"/>
                    </a:lnTo>
                    <a:lnTo>
                      <a:pt x="124" y="62"/>
                    </a:lnTo>
                    <a:lnTo>
                      <a:pt x="124" y="62"/>
                    </a:lnTo>
                    <a:lnTo>
                      <a:pt x="102" y="50"/>
                    </a:lnTo>
                    <a:lnTo>
                      <a:pt x="90" y="42"/>
                    </a:lnTo>
                    <a:lnTo>
                      <a:pt x="82" y="34"/>
                    </a:lnTo>
                    <a:lnTo>
                      <a:pt x="78" y="28"/>
                    </a:lnTo>
                    <a:lnTo>
                      <a:pt x="74" y="24"/>
                    </a:lnTo>
                    <a:lnTo>
                      <a:pt x="70" y="22"/>
                    </a:lnTo>
                    <a:lnTo>
                      <a:pt x="64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40" y="18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6" y="26"/>
                    </a:lnTo>
                    <a:lnTo>
                      <a:pt x="28" y="30"/>
                    </a:lnTo>
                    <a:lnTo>
                      <a:pt x="32" y="36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2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26" y="66"/>
                    </a:lnTo>
                    <a:lnTo>
                      <a:pt x="20" y="70"/>
                    </a:lnTo>
                    <a:lnTo>
                      <a:pt x="8" y="74"/>
                    </a:lnTo>
                    <a:lnTo>
                      <a:pt x="4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8" y="88"/>
                    </a:lnTo>
                    <a:lnTo>
                      <a:pt x="12" y="90"/>
                    </a:lnTo>
                    <a:lnTo>
                      <a:pt x="26" y="90"/>
                    </a:lnTo>
                    <a:lnTo>
                      <a:pt x="44" y="88"/>
                    </a:lnTo>
                    <a:lnTo>
                      <a:pt x="66" y="86"/>
                    </a:lnTo>
                    <a:lnTo>
                      <a:pt x="106" y="78"/>
                    </a:lnTo>
                    <a:lnTo>
                      <a:pt x="122" y="76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40" y="78"/>
                    </a:lnTo>
                    <a:lnTo>
                      <a:pt x="138" y="80"/>
                    </a:lnTo>
                    <a:lnTo>
                      <a:pt x="118" y="86"/>
                    </a:lnTo>
                    <a:lnTo>
                      <a:pt x="106" y="90"/>
                    </a:lnTo>
                    <a:lnTo>
                      <a:pt x="96" y="94"/>
                    </a:lnTo>
                    <a:lnTo>
                      <a:pt x="92" y="98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98" y="114"/>
                    </a:lnTo>
                    <a:lnTo>
                      <a:pt x="100" y="120"/>
                    </a:lnTo>
                    <a:lnTo>
                      <a:pt x="102" y="132"/>
                    </a:lnTo>
                    <a:lnTo>
                      <a:pt x="104" y="136"/>
                    </a:lnTo>
                    <a:lnTo>
                      <a:pt x="108" y="138"/>
                    </a:lnTo>
                    <a:lnTo>
                      <a:pt x="116" y="136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36" y="130"/>
                    </a:lnTo>
                    <a:lnTo>
                      <a:pt x="142" y="128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84" y="132"/>
                    </a:lnTo>
                    <a:lnTo>
                      <a:pt x="200" y="128"/>
                    </a:lnTo>
                    <a:lnTo>
                      <a:pt x="206" y="126"/>
                    </a:lnTo>
                    <a:lnTo>
                      <a:pt x="208" y="122"/>
                    </a:lnTo>
                    <a:lnTo>
                      <a:pt x="210" y="118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2" y="100"/>
                    </a:lnTo>
                    <a:lnTo>
                      <a:pt x="202" y="92"/>
                    </a:lnTo>
                    <a:lnTo>
                      <a:pt x="202" y="88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24" y="98"/>
                    </a:lnTo>
                    <a:lnTo>
                      <a:pt x="226" y="98"/>
                    </a:lnTo>
                    <a:lnTo>
                      <a:pt x="226" y="98"/>
                    </a:lnTo>
                    <a:lnTo>
                      <a:pt x="224" y="90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4" y="68"/>
                    </a:lnTo>
                    <a:lnTo>
                      <a:pt x="212" y="60"/>
                    </a:lnTo>
                    <a:lnTo>
                      <a:pt x="210" y="40"/>
                    </a:lnTo>
                    <a:lnTo>
                      <a:pt x="208" y="30"/>
                    </a:lnTo>
                    <a:lnTo>
                      <a:pt x="204" y="20"/>
                    </a:lnTo>
                    <a:lnTo>
                      <a:pt x="196" y="10"/>
                    </a:lnTo>
                    <a:lnTo>
                      <a:pt x="184" y="4"/>
                    </a:lnTo>
                    <a:lnTo>
                      <a:pt x="184" y="4"/>
                    </a:lnTo>
                    <a:lnTo>
                      <a:pt x="172" y="0"/>
                    </a:lnTo>
                    <a:lnTo>
                      <a:pt x="164" y="0"/>
                    </a:lnTo>
                    <a:lnTo>
                      <a:pt x="160" y="2"/>
                    </a:lnTo>
                    <a:lnTo>
                      <a:pt x="156" y="6"/>
                    </a:lnTo>
                    <a:lnTo>
                      <a:pt x="152" y="14"/>
                    </a:lnTo>
                    <a:lnTo>
                      <a:pt x="148" y="14"/>
                    </a:lnTo>
                    <a:lnTo>
                      <a:pt x="144" y="12"/>
                    </a:lnTo>
                    <a:lnTo>
                      <a:pt x="144" y="1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42" name="Полилиния 6023">
                <a:extLst>
                  <a:ext uri="{FF2B5EF4-FFF2-40B4-BE49-F238E27FC236}">
                    <a16:creationId xmlns:a16="http://schemas.microsoft.com/office/drawing/2014/main" xmlns="" id="{892A0A10-1099-4E82-A0A2-0BF271627C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770" y="887413"/>
                <a:ext cx="36830" cy="25400"/>
              </a:xfrm>
              <a:custGeom>
                <a:avLst/>
                <a:gdLst/>
                <a:ahLst/>
                <a:cxnLst>
                  <a:cxn ang="0">
                    <a:pos x="30" y="32"/>
                  </a:cxn>
                  <a:cxn ang="0">
                    <a:pos x="30" y="32"/>
                  </a:cxn>
                  <a:cxn ang="0">
                    <a:pos x="40" y="38"/>
                  </a:cxn>
                  <a:cxn ang="0">
                    <a:pos x="46" y="40"/>
                  </a:cxn>
                  <a:cxn ang="0">
                    <a:pos x="50" y="40"/>
                  </a:cxn>
                  <a:cxn ang="0">
                    <a:pos x="54" y="38"/>
                  </a:cxn>
                  <a:cxn ang="0">
                    <a:pos x="56" y="34"/>
                  </a:cxn>
                  <a:cxn ang="0">
                    <a:pos x="58" y="28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10" y="24"/>
                  </a:cxn>
                  <a:cxn ang="0">
                    <a:pos x="18" y="26"/>
                  </a:cxn>
                  <a:cxn ang="0">
                    <a:pos x="24" y="28"/>
                  </a:cxn>
                  <a:cxn ang="0">
                    <a:pos x="30" y="32"/>
                  </a:cxn>
                  <a:cxn ang="0">
                    <a:pos x="30" y="32"/>
                  </a:cxn>
                </a:cxnLst>
                <a:rect l="0" t="0" r="r" b="b"/>
                <a:pathLst>
                  <a:path w="58" h="40">
                    <a:moveTo>
                      <a:pt x="30" y="32"/>
                    </a:moveTo>
                    <a:lnTo>
                      <a:pt x="30" y="32"/>
                    </a:lnTo>
                    <a:lnTo>
                      <a:pt x="40" y="38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4" y="38"/>
                    </a:lnTo>
                    <a:lnTo>
                      <a:pt x="56" y="34"/>
                    </a:lnTo>
                    <a:lnTo>
                      <a:pt x="58" y="2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10" y="24"/>
                    </a:lnTo>
                    <a:lnTo>
                      <a:pt x="18" y="26"/>
                    </a:lnTo>
                    <a:lnTo>
                      <a:pt x="24" y="28"/>
                    </a:lnTo>
                    <a:lnTo>
                      <a:pt x="30" y="32"/>
                    </a:lnTo>
                    <a:lnTo>
                      <a:pt x="30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43" name="Полилиния 6024">
                <a:extLst>
                  <a:ext uri="{FF2B5EF4-FFF2-40B4-BE49-F238E27FC236}">
                    <a16:creationId xmlns:a16="http://schemas.microsoft.com/office/drawing/2014/main" xmlns="" id="{1541E4FD-5556-4FAE-89FB-082F902248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7490" y="963613"/>
                <a:ext cx="102870" cy="24130"/>
              </a:xfrm>
              <a:custGeom>
                <a:avLst/>
                <a:gdLst/>
                <a:ahLst/>
                <a:cxnLst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4" y="32"/>
                  </a:cxn>
                  <a:cxn ang="0">
                    <a:pos x="60" y="36"/>
                  </a:cxn>
                  <a:cxn ang="0">
                    <a:pos x="60" y="36"/>
                  </a:cxn>
                  <a:cxn ang="0">
                    <a:pos x="72" y="38"/>
                  </a:cxn>
                  <a:cxn ang="0">
                    <a:pos x="76" y="36"/>
                  </a:cxn>
                  <a:cxn ang="0">
                    <a:pos x="84" y="34"/>
                  </a:cxn>
                  <a:cxn ang="0">
                    <a:pos x="108" y="34"/>
                  </a:cxn>
                  <a:cxn ang="0">
                    <a:pos x="108" y="34"/>
                  </a:cxn>
                  <a:cxn ang="0">
                    <a:pos x="124" y="36"/>
                  </a:cxn>
                  <a:cxn ang="0">
                    <a:pos x="138" y="34"/>
                  </a:cxn>
                  <a:cxn ang="0">
                    <a:pos x="150" y="32"/>
                  </a:cxn>
                  <a:cxn ang="0">
                    <a:pos x="158" y="28"/>
                  </a:cxn>
                  <a:cxn ang="0">
                    <a:pos x="162" y="24"/>
                  </a:cxn>
                  <a:cxn ang="0">
                    <a:pos x="162" y="22"/>
                  </a:cxn>
                  <a:cxn ang="0">
                    <a:pos x="160" y="18"/>
                  </a:cxn>
                  <a:cxn ang="0">
                    <a:pos x="152" y="12"/>
                  </a:cxn>
                  <a:cxn ang="0">
                    <a:pos x="138" y="6"/>
                  </a:cxn>
                  <a:cxn ang="0">
                    <a:pos x="138" y="6"/>
                  </a:cxn>
                  <a:cxn ang="0">
                    <a:pos x="122" y="0"/>
                  </a:cxn>
                  <a:cxn ang="0">
                    <a:pos x="108" y="0"/>
                  </a:cxn>
                  <a:cxn ang="0">
                    <a:pos x="96" y="0"/>
                  </a:cxn>
                  <a:cxn ang="0">
                    <a:pos x="86" y="2"/>
                  </a:cxn>
                  <a:cxn ang="0">
                    <a:pos x="64" y="10"/>
                  </a:cxn>
                  <a:cxn ang="0">
                    <a:pos x="52" y="14"/>
                  </a:cxn>
                  <a:cxn ang="0">
                    <a:pos x="36" y="16"/>
                  </a:cxn>
                  <a:cxn ang="0">
                    <a:pos x="36" y="16"/>
                  </a:cxn>
                  <a:cxn ang="0">
                    <a:pos x="22" y="20"/>
                  </a:cxn>
                  <a:cxn ang="0">
                    <a:pos x="10" y="24"/>
                  </a:cxn>
                  <a:cxn ang="0">
                    <a:pos x="4" y="28"/>
                  </a:cxn>
                  <a:cxn ang="0">
                    <a:pos x="0" y="30"/>
                  </a:cxn>
                  <a:cxn ang="0">
                    <a:pos x="0" y="34"/>
                  </a:cxn>
                  <a:cxn ang="0">
                    <a:pos x="4" y="36"/>
                  </a:cxn>
                  <a:cxn ang="0">
                    <a:pos x="10" y="36"/>
                  </a:cxn>
                  <a:cxn ang="0">
                    <a:pos x="20" y="34"/>
                  </a:cxn>
                  <a:cxn ang="0">
                    <a:pos x="20" y="34"/>
                  </a:cxn>
                </a:cxnLst>
                <a:rect l="0" t="0" r="r" b="b"/>
                <a:pathLst>
                  <a:path w="162" h="38">
                    <a:moveTo>
                      <a:pt x="20" y="34"/>
                    </a:moveTo>
                    <a:lnTo>
                      <a:pt x="20" y="34"/>
                    </a:lnTo>
                    <a:lnTo>
                      <a:pt x="26" y="32"/>
                    </a:lnTo>
                    <a:lnTo>
                      <a:pt x="34" y="32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72" y="38"/>
                    </a:lnTo>
                    <a:lnTo>
                      <a:pt x="76" y="36"/>
                    </a:lnTo>
                    <a:lnTo>
                      <a:pt x="84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24" y="36"/>
                    </a:lnTo>
                    <a:lnTo>
                      <a:pt x="138" y="34"/>
                    </a:lnTo>
                    <a:lnTo>
                      <a:pt x="150" y="32"/>
                    </a:lnTo>
                    <a:lnTo>
                      <a:pt x="158" y="28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0" y="18"/>
                    </a:lnTo>
                    <a:lnTo>
                      <a:pt x="152" y="12"/>
                    </a:lnTo>
                    <a:lnTo>
                      <a:pt x="138" y="6"/>
                    </a:lnTo>
                    <a:lnTo>
                      <a:pt x="138" y="6"/>
                    </a:lnTo>
                    <a:lnTo>
                      <a:pt x="122" y="0"/>
                    </a:lnTo>
                    <a:lnTo>
                      <a:pt x="108" y="0"/>
                    </a:lnTo>
                    <a:lnTo>
                      <a:pt x="96" y="0"/>
                    </a:lnTo>
                    <a:lnTo>
                      <a:pt x="86" y="2"/>
                    </a:lnTo>
                    <a:lnTo>
                      <a:pt x="64" y="10"/>
                    </a:lnTo>
                    <a:lnTo>
                      <a:pt x="52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22" y="20"/>
                    </a:lnTo>
                    <a:lnTo>
                      <a:pt x="10" y="24"/>
                    </a:lnTo>
                    <a:lnTo>
                      <a:pt x="4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10" y="36"/>
                    </a:lnTo>
                    <a:lnTo>
                      <a:pt x="20" y="34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44" name="Полилиния 6025">
                <a:extLst>
                  <a:ext uri="{FF2B5EF4-FFF2-40B4-BE49-F238E27FC236}">
                    <a16:creationId xmlns:a16="http://schemas.microsoft.com/office/drawing/2014/main" xmlns="" id="{A3A9F262-8DA6-4E9C-95CE-4CFEC6CB7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3070" y="928053"/>
                <a:ext cx="168910" cy="82550"/>
              </a:xfrm>
              <a:custGeom>
                <a:avLst/>
                <a:gdLst/>
                <a:ahLst/>
                <a:cxnLst>
                  <a:cxn ang="0">
                    <a:pos x="30" y="40"/>
                  </a:cxn>
                  <a:cxn ang="0">
                    <a:pos x="32" y="50"/>
                  </a:cxn>
                  <a:cxn ang="0">
                    <a:pos x="40" y="46"/>
                  </a:cxn>
                  <a:cxn ang="0">
                    <a:pos x="52" y="44"/>
                  </a:cxn>
                  <a:cxn ang="0">
                    <a:pos x="66" y="54"/>
                  </a:cxn>
                  <a:cxn ang="0">
                    <a:pos x="72" y="62"/>
                  </a:cxn>
                  <a:cxn ang="0">
                    <a:pos x="68" y="70"/>
                  </a:cxn>
                  <a:cxn ang="0">
                    <a:pos x="44" y="68"/>
                  </a:cxn>
                  <a:cxn ang="0">
                    <a:pos x="26" y="70"/>
                  </a:cxn>
                  <a:cxn ang="0">
                    <a:pos x="24" y="74"/>
                  </a:cxn>
                  <a:cxn ang="0">
                    <a:pos x="24" y="82"/>
                  </a:cxn>
                  <a:cxn ang="0">
                    <a:pos x="36" y="90"/>
                  </a:cxn>
                  <a:cxn ang="0">
                    <a:pos x="60" y="92"/>
                  </a:cxn>
                  <a:cxn ang="0">
                    <a:pos x="78" y="88"/>
                  </a:cxn>
                  <a:cxn ang="0">
                    <a:pos x="108" y="82"/>
                  </a:cxn>
                  <a:cxn ang="0">
                    <a:pos x="114" y="86"/>
                  </a:cxn>
                  <a:cxn ang="0">
                    <a:pos x="120" y="92"/>
                  </a:cxn>
                  <a:cxn ang="0">
                    <a:pos x="146" y="90"/>
                  </a:cxn>
                  <a:cxn ang="0">
                    <a:pos x="156" y="90"/>
                  </a:cxn>
                  <a:cxn ang="0">
                    <a:pos x="170" y="92"/>
                  </a:cxn>
                  <a:cxn ang="0">
                    <a:pos x="182" y="102"/>
                  </a:cxn>
                  <a:cxn ang="0">
                    <a:pos x="194" y="120"/>
                  </a:cxn>
                  <a:cxn ang="0">
                    <a:pos x="204" y="126"/>
                  </a:cxn>
                  <a:cxn ang="0">
                    <a:pos x="220" y="130"/>
                  </a:cxn>
                  <a:cxn ang="0">
                    <a:pos x="244" y="128"/>
                  </a:cxn>
                  <a:cxn ang="0">
                    <a:pos x="254" y="126"/>
                  </a:cxn>
                  <a:cxn ang="0">
                    <a:pos x="266" y="122"/>
                  </a:cxn>
                  <a:cxn ang="0">
                    <a:pos x="266" y="114"/>
                  </a:cxn>
                  <a:cxn ang="0">
                    <a:pos x="258" y="102"/>
                  </a:cxn>
                  <a:cxn ang="0">
                    <a:pos x="234" y="82"/>
                  </a:cxn>
                  <a:cxn ang="0">
                    <a:pos x="238" y="78"/>
                  </a:cxn>
                  <a:cxn ang="0">
                    <a:pos x="242" y="76"/>
                  </a:cxn>
                  <a:cxn ang="0">
                    <a:pos x="248" y="68"/>
                  </a:cxn>
                  <a:cxn ang="0">
                    <a:pos x="242" y="58"/>
                  </a:cxn>
                  <a:cxn ang="0">
                    <a:pos x="224" y="50"/>
                  </a:cxn>
                  <a:cxn ang="0">
                    <a:pos x="210" y="48"/>
                  </a:cxn>
                  <a:cxn ang="0">
                    <a:pos x="186" y="44"/>
                  </a:cxn>
                  <a:cxn ang="0">
                    <a:pos x="184" y="40"/>
                  </a:cxn>
                  <a:cxn ang="0">
                    <a:pos x="176" y="32"/>
                  </a:cxn>
                  <a:cxn ang="0">
                    <a:pos x="164" y="28"/>
                  </a:cxn>
                  <a:cxn ang="0">
                    <a:pos x="140" y="26"/>
                  </a:cxn>
                  <a:cxn ang="0">
                    <a:pos x="130" y="32"/>
                  </a:cxn>
                  <a:cxn ang="0">
                    <a:pos x="124" y="36"/>
                  </a:cxn>
                  <a:cxn ang="0">
                    <a:pos x="118" y="28"/>
                  </a:cxn>
                  <a:cxn ang="0">
                    <a:pos x="114" y="24"/>
                  </a:cxn>
                  <a:cxn ang="0">
                    <a:pos x="96" y="10"/>
                  </a:cxn>
                  <a:cxn ang="0">
                    <a:pos x="58" y="0"/>
                  </a:cxn>
                  <a:cxn ang="0">
                    <a:pos x="22" y="2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8" y="34"/>
                  </a:cxn>
                  <a:cxn ang="0">
                    <a:pos x="20" y="30"/>
                  </a:cxn>
                  <a:cxn ang="0">
                    <a:pos x="28" y="34"/>
                  </a:cxn>
                  <a:cxn ang="0">
                    <a:pos x="30" y="40"/>
                  </a:cxn>
                </a:cxnLst>
                <a:rect l="0" t="0" r="r" b="b"/>
                <a:pathLst>
                  <a:path w="266" h="130">
                    <a:moveTo>
                      <a:pt x="30" y="40"/>
                    </a:moveTo>
                    <a:lnTo>
                      <a:pt x="30" y="40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0" y="46"/>
                    </a:lnTo>
                    <a:lnTo>
                      <a:pt x="46" y="44"/>
                    </a:lnTo>
                    <a:lnTo>
                      <a:pt x="52" y="44"/>
                    </a:lnTo>
                    <a:lnTo>
                      <a:pt x="58" y="46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72" y="62"/>
                    </a:lnTo>
                    <a:lnTo>
                      <a:pt x="72" y="66"/>
                    </a:lnTo>
                    <a:lnTo>
                      <a:pt x="68" y="70"/>
                    </a:lnTo>
                    <a:lnTo>
                      <a:pt x="60" y="70"/>
                    </a:lnTo>
                    <a:lnTo>
                      <a:pt x="44" y="68"/>
                    </a:lnTo>
                    <a:lnTo>
                      <a:pt x="34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4" y="74"/>
                    </a:lnTo>
                    <a:lnTo>
                      <a:pt x="22" y="78"/>
                    </a:lnTo>
                    <a:lnTo>
                      <a:pt x="24" y="82"/>
                    </a:lnTo>
                    <a:lnTo>
                      <a:pt x="28" y="86"/>
                    </a:lnTo>
                    <a:lnTo>
                      <a:pt x="36" y="90"/>
                    </a:lnTo>
                    <a:lnTo>
                      <a:pt x="46" y="92"/>
                    </a:lnTo>
                    <a:lnTo>
                      <a:pt x="60" y="92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98" y="82"/>
                    </a:lnTo>
                    <a:lnTo>
                      <a:pt x="108" y="82"/>
                    </a:lnTo>
                    <a:lnTo>
                      <a:pt x="112" y="82"/>
                    </a:lnTo>
                    <a:lnTo>
                      <a:pt x="114" y="86"/>
                    </a:lnTo>
                    <a:lnTo>
                      <a:pt x="116" y="88"/>
                    </a:lnTo>
                    <a:lnTo>
                      <a:pt x="120" y="92"/>
                    </a:lnTo>
                    <a:lnTo>
                      <a:pt x="130" y="92"/>
                    </a:lnTo>
                    <a:lnTo>
                      <a:pt x="146" y="90"/>
                    </a:lnTo>
                    <a:lnTo>
                      <a:pt x="146" y="90"/>
                    </a:lnTo>
                    <a:lnTo>
                      <a:pt x="156" y="90"/>
                    </a:lnTo>
                    <a:lnTo>
                      <a:pt x="164" y="90"/>
                    </a:lnTo>
                    <a:lnTo>
                      <a:pt x="170" y="92"/>
                    </a:lnTo>
                    <a:lnTo>
                      <a:pt x="174" y="94"/>
                    </a:lnTo>
                    <a:lnTo>
                      <a:pt x="182" y="102"/>
                    </a:lnTo>
                    <a:lnTo>
                      <a:pt x="186" y="110"/>
                    </a:lnTo>
                    <a:lnTo>
                      <a:pt x="194" y="120"/>
                    </a:lnTo>
                    <a:lnTo>
                      <a:pt x="198" y="124"/>
                    </a:lnTo>
                    <a:lnTo>
                      <a:pt x="204" y="126"/>
                    </a:lnTo>
                    <a:lnTo>
                      <a:pt x="210" y="128"/>
                    </a:lnTo>
                    <a:lnTo>
                      <a:pt x="220" y="130"/>
                    </a:lnTo>
                    <a:lnTo>
                      <a:pt x="230" y="130"/>
                    </a:lnTo>
                    <a:lnTo>
                      <a:pt x="244" y="128"/>
                    </a:lnTo>
                    <a:lnTo>
                      <a:pt x="244" y="128"/>
                    </a:lnTo>
                    <a:lnTo>
                      <a:pt x="254" y="126"/>
                    </a:lnTo>
                    <a:lnTo>
                      <a:pt x="262" y="124"/>
                    </a:lnTo>
                    <a:lnTo>
                      <a:pt x="266" y="122"/>
                    </a:lnTo>
                    <a:lnTo>
                      <a:pt x="266" y="118"/>
                    </a:lnTo>
                    <a:lnTo>
                      <a:pt x="266" y="114"/>
                    </a:lnTo>
                    <a:lnTo>
                      <a:pt x="264" y="110"/>
                    </a:lnTo>
                    <a:lnTo>
                      <a:pt x="258" y="102"/>
                    </a:lnTo>
                    <a:lnTo>
                      <a:pt x="240" y="88"/>
                    </a:lnTo>
                    <a:lnTo>
                      <a:pt x="234" y="82"/>
                    </a:lnTo>
                    <a:lnTo>
                      <a:pt x="234" y="80"/>
                    </a:lnTo>
                    <a:lnTo>
                      <a:pt x="238" y="78"/>
                    </a:lnTo>
                    <a:lnTo>
                      <a:pt x="238" y="78"/>
                    </a:lnTo>
                    <a:lnTo>
                      <a:pt x="242" y="76"/>
                    </a:lnTo>
                    <a:lnTo>
                      <a:pt x="246" y="72"/>
                    </a:lnTo>
                    <a:lnTo>
                      <a:pt x="248" y="68"/>
                    </a:lnTo>
                    <a:lnTo>
                      <a:pt x="246" y="64"/>
                    </a:lnTo>
                    <a:lnTo>
                      <a:pt x="242" y="58"/>
                    </a:lnTo>
                    <a:lnTo>
                      <a:pt x="236" y="54"/>
                    </a:lnTo>
                    <a:lnTo>
                      <a:pt x="224" y="50"/>
                    </a:lnTo>
                    <a:lnTo>
                      <a:pt x="210" y="48"/>
                    </a:lnTo>
                    <a:lnTo>
                      <a:pt x="210" y="48"/>
                    </a:lnTo>
                    <a:lnTo>
                      <a:pt x="190" y="46"/>
                    </a:lnTo>
                    <a:lnTo>
                      <a:pt x="186" y="44"/>
                    </a:lnTo>
                    <a:lnTo>
                      <a:pt x="186" y="42"/>
                    </a:lnTo>
                    <a:lnTo>
                      <a:pt x="184" y="40"/>
                    </a:lnTo>
                    <a:lnTo>
                      <a:pt x="182" y="36"/>
                    </a:lnTo>
                    <a:lnTo>
                      <a:pt x="176" y="32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50" y="26"/>
                    </a:lnTo>
                    <a:lnTo>
                      <a:pt x="140" y="26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4"/>
                    </a:lnTo>
                    <a:lnTo>
                      <a:pt x="124" y="36"/>
                    </a:lnTo>
                    <a:lnTo>
                      <a:pt x="122" y="34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4" y="24"/>
                    </a:lnTo>
                    <a:lnTo>
                      <a:pt x="110" y="18"/>
                    </a:lnTo>
                    <a:lnTo>
                      <a:pt x="96" y="10"/>
                    </a:lnTo>
                    <a:lnTo>
                      <a:pt x="78" y="4"/>
                    </a:lnTo>
                    <a:lnTo>
                      <a:pt x="58" y="0"/>
                    </a:lnTo>
                    <a:lnTo>
                      <a:pt x="40" y="0"/>
                    </a:lnTo>
                    <a:lnTo>
                      <a:pt x="22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8" y="34"/>
                    </a:lnTo>
                    <a:lnTo>
                      <a:pt x="14" y="32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8" y="34"/>
                    </a:lnTo>
                    <a:lnTo>
                      <a:pt x="30" y="40"/>
                    </a:lnTo>
                    <a:lnTo>
                      <a:pt x="30" y="4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45" name="Полилиния 6026">
                <a:extLst>
                  <a:ext uri="{FF2B5EF4-FFF2-40B4-BE49-F238E27FC236}">
                    <a16:creationId xmlns:a16="http://schemas.microsoft.com/office/drawing/2014/main" xmlns="" id="{9EFB115D-9B89-41BF-91A8-CAF0D6E08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4180" y="1013143"/>
                <a:ext cx="44450" cy="33020"/>
              </a:xfrm>
              <a:custGeom>
                <a:avLst/>
                <a:gdLst/>
                <a:ahLst/>
                <a:cxnLst>
                  <a:cxn ang="0">
                    <a:pos x="56" y="52"/>
                  </a:cxn>
                  <a:cxn ang="0">
                    <a:pos x="56" y="52"/>
                  </a:cxn>
                  <a:cxn ang="0">
                    <a:pos x="66" y="50"/>
                  </a:cxn>
                  <a:cxn ang="0">
                    <a:pos x="68" y="48"/>
                  </a:cxn>
                  <a:cxn ang="0">
                    <a:pos x="70" y="46"/>
                  </a:cxn>
                  <a:cxn ang="0">
                    <a:pos x="70" y="44"/>
                  </a:cxn>
                  <a:cxn ang="0">
                    <a:pos x="68" y="40"/>
                  </a:cxn>
                  <a:cxn ang="0">
                    <a:pos x="56" y="26"/>
                  </a:cxn>
                  <a:cxn ang="0">
                    <a:pos x="56" y="26"/>
                  </a:cxn>
                  <a:cxn ang="0">
                    <a:pos x="46" y="18"/>
                  </a:cxn>
                  <a:cxn ang="0">
                    <a:pos x="36" y="12"/>
                  </a:cxn>
                  <a:cxn ang="0">
                    <a:pos x="26" y="6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22"/>
                  </a:cxn>
                  <a:cxn ang="0">
                    <a:pos x="18" y="36"/>
                  </a:cxn>
                  <a:cxn ang="0">
                    <a:pos x="24" y="44"/>
                  </a:cxn>
                  <a:cxn ang="0">
                    <a:pos x="32" y="48"/>
                  </a:cxn>
                  <a:cxn ang="0">
                    <a:pos x="42" y="52"/>
                  </a:cxn>
                  <a:cxn ang="0">
                    <a:pos x="56" y="52"/>
                  </a:cxn>
                  <a:cxn ang="0">
                    <a:pos x="56" y="52"/>
                  </a:cxn>
                </a:cxnLst>
                <a:rect l="0" t="0" r="r" b="b"/>
                <a:pathLst>
                  <a:path w="70" h="52">
                    <a:moveTo>
                      <a:pt x="56" y="52"/>
                    </a:moveTo>
                    <a:lnTo>
                      <a:pt x="56" y="52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46" y="18"/>
                    </a:lnTo>
                    <a:lnTo>
                      <a:pt x="36" y="12"/>
                    </a:lnTo>
                    <a:lnTo>
                      <a:pt x="26" y="6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8" y="22"/>
                    </a:lnTo>
                    <a:lnTo>
                      <a:pt x="18" y="36"/>
                    </a:lnTo>
                    <a:lnTo>
                      <a:pt x="24" y="44"/>
                    </a:lnTo>
                    <a:lnTo>
                      <a:pt x="32" y="48"/>
                    </a:lnTo>
                    <a:lnTo>
                      <a:pt x="42" y="52"/>
                    </a:lnTo>
                    <a:lnTo>
                      <a:pt x="56" y="52"/>
                    </a:lnTo>
                    <a:lnTo>
                      <a:pt x="56" y="5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46" name="Полилиния 6027">
                <a:extLst>
                  <a:ext uri="{FF2B5EF4-FFF2-40B4-BE49-F238E27FC236}">
                    <a16:creationId xmlns:a16="http://schemas.microsoft.com/office/drawing/2014/main" xmlns="" id="{BB1D1A63-C214-414F-9B28-392123B90E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410" y="957263"/>
                <a:ext cx="95250" cy="54610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22" y="44"/>
                  </a:cxn>
                  <a:cxn ang="0">
                    <a:pos x="44" y="54"/>
                  </a:cxn>
                  <a:cxn ang="0">
                    <a:pos x="50" y="56"/>
                  </a:cxn>
                  <a:cxn ang="0">
                    <a:pos x="52" y="58"/>
                  </a:cxn>
                  <a:cxn ang="0">
                    <a:pos x="42" y="64"/>
                  </a:cxn>
                  <a:cxn ang="0">
                    <a:pos x="32" y="68"/>
                  </a:cxn>
                  <a:cxn ang="0">
                    <a:pos x="40" y="68"/>
                  </a:cxn>
                  <a:cxn ang="0">
                    <a:pos x="50" y="70"/>
                  </a:cxn>
                  <a:cxn ang="0">
                    <a:pos x="56" y="76"/>
                  </a:cxn>
                  <a:cxn ang="0">
                    <a:pos x="60" y="84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98" y="76"/>
                  </a:cxn>
                  <a:cxn ang="0">
                    <a:pos x="132" y="70"/>
                  </a:cxn>
                  <a:cxn ang="0">
                    <a:pos x="142" y="64"/>
                  </a:cxn>
                  <a:cxn ang="0">
                    <a:pos x="140" y="60"/>
                  </a:cxn>
                  <a:cxn ang="0">
                    <a:pos x="140" y="52"/>
                  </a:cxn>
                  <a:cxn ang="0">
                    <a:pos x="150" y="42"/>
                  </a:cxn>
                  <a:cxn ang="0">
                    <a:pos x="148" y="36"/>
                  </a:cxn>
                  <a:cxn ang="0">
                    <a:pos x="140" y="32"/>
                  </a:cxn>
                  <a:cxn ang="0">
                    <a:pos x="122" y="24"/>
                  </a:cxn>
                  <a:cxn ang="0">
                    <a:pos x="100" y="22"/>
                  </a:cxn>
                  <a:cxn ang="0">
                    <a:pos x="82" y="14"/>
                  </a:cxn>
                  <a:cxn ang="0">
                    <a:pos x="68" y="8"/>
                  </a:cxn>
                  <a:cxn ang="0">
                    <a:pos x="42" y="0"/>
                  </a:cxn>
                  <a:cxn ang="0">
                    <a:pos x="18" y="0"/>
                  </a:cxn>
                  <a:cxn ang="0">
                    <a:pos x="8" y="8"/>
                  </a:cxn>
                  <a:cxn ang="0">
                    <a:pos x="8" y="14"/>
                  </a:cxn>
                  <a:cxn ang="0">
                    <a:pos x="10" y="20"/>
                  </a:cxn>
                  <a:cxn ang="0">
                    <a:pos x="6" y="28"/>
                  </a:cxn>
                  <a:cxn ang="0">
                    <a:pos x="0" y="30"/>
                  </a:cxn>
                  <a:cxn ang="0">
                    <a:pos x="14" y="38"/>
                  </a:cxn>
                </a:cxnLst>
                <a:rect l="0" t="0" r="r" b="b"/>
                <a:pathLst>
                  <a:path w="150" h="86">
                    <a:moveTo>
                      <a:pt x="14" y="38"/>
                    </a:moveTo>
                    <a:lnTo>
                      <a:pt x="14" y="38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8" y="4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50" y="56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48" y="62"/>
                    </a:lnTo>
                    <a:lnTo>
                      <a:pt x="42" y="64"/>
                    </a:lnTo>
                    <a:lnTo>
                      <a:pt x="32" y="66"/>
                    </a:lnTo>
                    <a:lnTo>
                      <a:pt x="32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50" y="70"/>
                    </a:lnTo>
                    <a:lnTo>
                      <a:pt x="54" y="74"/>
                    </a:lnTo>
                    <a:lnTo>
                      <a:pt x="56" y="76"/>
                    </a:lnTo>
                    <a:lnTo>
                      <a:pt x="58" y="80"/>
                    </a:lnTo>
                    <a:lnTo>
                      <a:pt x="60" y="84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86" y="78"/>
                    </a:lnTo>
                    <a:lnTo>
                      <a:pt x="98" y="76"/>
                    </a:lnTo>
                    <a:lnTo>
                      <a:pt x="122" y="72"/>
                    </a:lnTo>
                    <a:lnTo>
                      <a:pt x="132" y="70"/>
                    </a:lnTo>
                    <a:lnTo>
                      <a:pt x="138" y="68"/>
                    </a:lnTo>
                    <a:lnTo>
                      <a:pt x="142" y="64"/>
                    </a:lnTo>
                    <a:lnTo>
                      <a:pt x="140" y="60"/>
                    </a:lnTo>
                    <a:lnTo>
                      <a:pt x="140" y="60"/>
                    </a:lnTo>
                    <a:lnTo>
                      <a:pt x="138" y="54"/>
                    </a:lnTo>
                    <a:lnTo>
                      <a:pt x="140" y="52"/>
                    </a:lnTo>
                    <a:lnTo>
                      <a:pt x="146" y="46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48" y="36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28" y="26"/>
                    </a:lnTo>
                    <a:lnTo>
                      <a:pt x="122" y="24"/>
                    </a:lnTo>
                    <a:lnTo>
                      <a:pt x="110" y="24"/>
                    </a:lnTo>
                    <a:lnTo>
                      <a:pt x="100" y="22"/>
                    </a:lnTo>
                    <a:lnTo>
                      <a:pt x="92" y="20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68" y="8"/>
                    </a:lnTo>
                    <a:lnTo>
                      <a:pt x="56" y="2"/>
                    </a:lnTo>
                    <a:lnTo>
                      <a:pt x="42" y="0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47" name="Полилиния 6033">
                <a:extLst>
                  <a:ext uri="{FF2B5EF4-FFF2-40B4-BE49-F238E27FC236}">
                    <a16:creationId xmlns:a16="http://schemas.microsoft.com/office/drawing/2014/main" xmlns="" id="{C1130B87-32CC-4AB9-B7A2-4FC285410A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430" y="1806893"/>
                <a:ext cx="15240" cy="889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4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</a:cxnLst>
                <a:rect l="0" t="0" r="r" b="b"/>
                <a:pathLst>
                  <a:path w="24" h="14">
                    <a:moveTo>
                      <a:pt x="14" y="0"/>
                    </a:moveTo>
                    <a:lnTo>
                      <a:pt x="14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48" name="Полилиния 6037">
                <a:extLst>
                  <a:ext uri="{FF2B5EF4-FFF2-40B4-BE49-F238E27FC236}">
                    <a16:creationId xmlns:a16="http://schemas.microsoft.com/office/drawing/2014/main" xmlns="" id="{0487870B-36BF-4A48-B924-625A1D8CD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950" y="1811973"/>
                <a:ext cx="24130" cy="22860"/>
              </a:xfrm>
              <a:custGeom>
                <a:avLst/>
                <a:gdLst/>
                <a:ahLst/>
                <a:cxnLst>
                  <a:cxn ang="0">
                    <a:pos x="28" y="2"/>
                  </a:cxn>
                  <a:cxn ang="0">
                    <a:pos x="28" y="2"/>
                  </a:cxn>
                  <a:cxn ang="0">
                    <a:pos x="18" y="16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0" y="36"/>
                  </a:cxn>
                  <a:cxn ang="0">
                    <a:pos x="4" y="36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2" y="26"/>
                  </a:cxn>
                  <a:cxn ang="0">
                    <a:pos x="26" y="20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6" y="4"/>
                  </a:cxn>
                  <a:cxn ang="0">
                    <a:pos x="38" y="2"/>
                  </a:cxn>
                  <a:cxn ang="0">
                    <a:pos x="36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8" y="2"/>
                  </a:cxn>
                </a:cxnLst>
                <a:rect l="0" t="0" r="r" b="b"/>
                <a:pathLst>
                  <a:path w="38" h="36">
                    <a:moveTo>
                      <a:pt x="28" y="2"/>
                    </a:moveTo>
                    <a:lnTo>
                      <a:pt x="28" y="2"/>
                    </a:lnTo>
                    <a:lnTo>
                      <a:pt x="18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6" y="2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49" name="Полилиния 6054">
                <a:extLst>
                  <a:ext uri="{FF2B5EF4-FFF2-40B4-BE49-F238E27FC236}">
                    <a16:creationId xmlns:a16="http://schemas.microsoft.com/office/drawing/2014/main" xmlns="" id="{6F580247-2D5C-4904-8B87-5E2D565A35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730" y="1058863"/>
                <a:ext cx="317500" cy="121920"/>
              </a:xfrm>
              <a:custGeom>
                <a:avLst/>
                <a:gdLst/>
                <a:ahLst/>
                <a:cxnLst>
                  <a:cxn ang="0">
                    <a:pos x="314" y="78"/>
                  </a:cxn>
                  <a:cxn ang="0">
                    <a:pos x="338" y="86"/>
                  </a:cxn>
                  <a:cxn ang="0">
                    <a:pos x="354" y="100"/>
                  </a:cxn>
                  <a:cxn ang="0">
                    <a:pos x="340" y="106"/>
                  </a:cxn>
                  <a:cxn ang="0">
                    <a:pos x="280" y="102"/>
                  </a:cxn>
                  <a:cxn ang="0">
                    <a:pos x="258" y="102"/>
                  </a:cxn>
                  <a:cxn ang="0">
                    <a:pos x="236" y="72"/>
                  </a:cxn>
                  <a:cxn ang="0">
                    <a:pos x="186" y="46"/>
                  </a:cxn>
                  <a:cxn ang="0">
                    <a:pos x="154" y="54"/>
                  </a:cxn>
                  <a:cxn ang="0">
                    <a:pos x="138" y="36"/>
                  </a:cxn>
                  <a:cxn ang="0">
                    <a:pos x="102" y="32"/>
                  </a:cxn>
                  <a:cxn ang="0">
                    <a:pos x="42" y="58"/>
                  </a:cxn>
                  <a:cxn ang="0">
                    <a:pos x="46" y="66"/>
                  </a:cxn>
                  <a:cxn ang="0">
                    <a:pos x="22" y="88"/>
                  </a:cxn>
                  <a:cxn ang="0">
                    <a:pos x="24" y="98"/>
                  </a:cxn>
                  <a:cxn ang="0">
                    <a:pos x="14" y="110"/>
                  </a:cxn>
                  <a:cxn ang="0">
                    <a:pos x="6" y="132"/>
                  </a:cxn>
                  <a:cxn ang="0">
                    <a:pos x="66" y="146"/>
                  </a:cxn>
                  <a:cxn ang="0">
                    <a:pos x="94" y="138"/>
                  </a:cxn>
                  <a:cxn ang="0">
                    <a:pos x="106" y="146"/>
                  </a:cxn>
                  <a:cxn ang="0">
                    <a:pos x="124" y="148"/>
                  </a:cxn>
                  <a:cxn ang="0">
                    <a:pos x="144" y="126"/>
                  </a:cxn>
                  <a:cxn ang="0">
                    <a:pos x="152" y="130"/>
                  </a:cxn>
                  <a:cxn ang="0">
                    <a:pos x="158" y="140"/>
                  </a:cxn>
                  <a:cxn ang="0">
                    <a:pos x="232" y="132"/>
                  </a:cxn>
                  <a:cxn ang="0">
                    <a:pos x="264" y="134"/>
                  </a:cxn>
                  <a:cxn ang="0">
                    <a:pos x="212" y="148"/>
                  </a:cxn>
                  <a:cxn ang="0">
                    <a:pos x="144" y="160"/>
                  </a:cxn>
                  <a:cxn ang="0">
                    <a:pos x="134" y="176"/>
                  </a:cxn>
                  <a:cxn ang="0">
                    <a:pos x="166" y="190"/>
                  </a:cxn>
                  <a:cxn ang="0">
                    <a:pos x="234" y="184"/>
                  </a:cxn>
                  <a:cxn ang="0">
                    <a:pos x="296" y="164"/>
                  </a:cxn>
                  <a:cxn ang="0">
                    <a:pos x="350" y="146"/>
                  </a:cxn>
                  <a:cxn ang="0">
                    <a:pos x="378" y="152"/>
                  </a:cxn>
                  <a:cxn ang="0">
                    <a:pos x="394" y="144"/>
                  </a:cxn>
                  <a:cxn ang="0">
                    <a:pos x="420" y="150"/>
                  </a:cxn>
                  <a:cxn ang="0">
                    <a:pos x="460" y="138"/>
                  </a:cxn>
                  <a:cxn ang="0">
                    <a:pos x="492" y="106"/>
                  </a:cxn>
                  <a:cxn ang="0">
                    <a:pos x="498" y="84"/>
                  </a:cxn>
                  <a:cxn ang="0">
                    <a:pos x="470" y="68"/>
                  </a:cxn>
                  <a:cxn ang="0">
                    <a:pos x="436" y="70"/>
                  </a:cxn>
                  <a:cxn ang="0">
                    <a:pos x="398" y="80"/>
                  </a:cxn>
                  <a:cxn ang="0">
                    <a:pos x="400" y="68"/>
                  </a:cxn>
                  <a:cxn ang="0">
                    <a:pos x="384" y="60"/>
                  </a:cxn>
                  <a:cxn ang="0">
                    <a:pos x="384" y="52"/>
                  </a:cxn>
                  <a:cxn ang="0">
                    <a:pos x="382" y="40"/>
                  </a:cxn>
                  <a:cxn ang="0">
                    <a:pos x="370" y="18"/>
                  </a:cxn>
                  <a:cxn ang="0">
                    <a:pos x="358" y="0"/>
                  </a:cxn>
                  <a:cxn ang="0">
                    <a:pos x="300" y="28"/>
                  </a:cxn>
                  <a:cxn ang="0">
                    <a:pos x="290" y="40"/>
                  </a:cxn>
                  <a:cxn ang="0">
                    <a:pos x="318" y="54"/>
                  </a:cxn>
                  <a:cxn ang="0">
                    <a:pos x="328" y="66"/>
                  </a:cxn>
                </a:cxnLst>
                <a:rect l="0" t="0" r="r" b="b"/>
                <a:pathLst>
                  <a:path w="500" h="192">
                    <a:moveTo>
                      <a:pt x="322" y="70"/>
                    </a:moveTo>
                    <a:lnTo>
                      <a:pt x="322" y="70"/>
                    </a:lnTo>
                    <a:lnTo>
                      <a:pt x="316" y="76"/>
                    </a:lnTo>
                    <a:lnTo>
                      <a:pt x="314" y="78"/>
                    </a:lnTo>
                    <a:lnTo>
                      <a:pt x="316" y="80"/>
                    </a:lnTo>
                    <a:lnTo>
                      <a:pt x="320" y="82"/>
                    </a:lnTo>
                    <a:lnTo>
                      <a:pt x="330" y="84"/>
                    </a:lnTo>
                    <a:lnTo>
                      <a:pt x="338" y="86"/>
                    </a:lnTo>
                    <a:lnTo>
                      <a:pt x="348" y="90"/>
                    </a:lnTo>
                    <a:lnTo>
                      <a:pt x="354" y="94"/>
                    </a:lnTo>
                    <a:lnTo>
                      <a:pt x="356" y="96"/>
                    </a:lnTo>
                    <a:lnTo>
                      <a:pt x="354" y="100"/>
                    </a:lnTo>
                    <a:lnTo>
                      <a:pt x="354" y="100"/>
                    </a:lnTo>
                    <a:lnTo>
                      <a:pt x="352" y="104"/>
                    </a:lnTo>
                    <a:lnTo>
                      <a:pt x="346" y="108"/>
                    </a:lnTo>
                    <a:lnTo>
                      <a:pt x="340" y="106"/>
                    </a:lnTo>
                    <a:lnTo>
                      <a:pt x="332" y="106"/>
                    </a:lnTo>
                    <a:lnTo>
                      <a:pt x="310" y="102"/>
                    </a:lnTo>
                    <a:lnTo>
                      <a:pt x="296" y="100"/>
                    </a:lnTo>
                    <a:lnTo>
                      <a:pt x="280" y="102"/>
                    </a:lnTo>
                    <a:lnTo>
                      <a:pt x="280" y="102"/>
                    </a:lnTo>
                    <a:lnTo>
                      <a:pt x="268" y="104"/>
                    </a:lnTo>
                    <a:lnTo>
                      <a:pt x="260" y="104"/>
                    </a:lnTo>
                    <a:lnTo>
                      <a:pt x="258" y="102"/>
                    </a:lnTo>
                    <a:lnTo>
                      <a:pt x="256" y="98"/>
                    </a:lnTo>
                    <a:lnTo>
                      <a:pt x="252" y="90"/>
                    </a:lnTo>
                    <a:lnTo>
                      <a:pt x="246" y="82"/>
                    </a:lnTo>
                    <a:lnTo>
                      <a:pt x="236" y="72"/>
                    </a:lnTo>
                    <a:lnTo>
                      <a:pt x="220" y="60"/>
                    </a:lnTo>
                    <a:lnTo>
                      <a:pt x="220" y="60"/>
                    </a:lnTo>
                    <a:lnTo>
                      <a:pt x="200" y="50"/>
                    </a:lnTo>
                    <a:lnTo>
                      <a:pt x="186" y="46"/>
                    </a:lnTo>
                    <a:lnTo>
                      <a:pt x="174" y="46"/>
                    </a:lnTo>
                    <a:lnTo>
                      <a:pt x="166" y="50"/>
                    </a:lnTo>
                    <a:lnTo>
                      <a:pt x="160" y="52"/>
                    </a:lnTo>
                    <a:lnTo>
                      <a:pt x="154" y="54"/>
                    </a:lnTo>
                    <a:lnTo>
                      <a:pt x="150" y="52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38" y="36"/>
                    </a:lnTo>
                    <a:lnTo>
                      <a:pt x="130" y="30"/>
                    </a:lnTo>
                    <a:lnTo>
                      <a:pt x="122" y="30"/>
                    </a:lnTo>
                    <a:lnTo>
                      <a:pt x="112" y="30"/>
                    </a:lnTo>
                    <a:lnTo>
                      <a:pt x="102" y="32"/>
                    </a:lnTo>
                    <a:lnTo>
                      <a:pt x="88" y="38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42" y="58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4"/>
                    </a:lnTo>
                    <a:lnTo>
                      <a:pt x="46" y="66"/>
                    </a:lnTo>
                    <a:lnTo>
                      <a:pt x="42" y="72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22" y="88"/>
                    </a:lnTo>
                    <a:lnTo>
                      <a:pt x="20" y="94"/>
                    </a:lnTo>
                    <a:lnTo>
                      <a:pt x="20" y="96"/>
                    </a:lnTo>
                    <a:lnTo>
                      <a:pt x="22" y="98"/>
                    </a:lnTo>
                    <a:lnTo>
                      <a:pt x="24" y="98"/>
                    </a:lnTo>
                    <a:lnTo>
                      <a:pt x="26" y="100"/>
                    </a:lnTo>
                    <a:lnTo>
                      <a:pt x="22" y="104"/>
                    </a:lnTo>
                    <a:lnTo>
                      <a:pt x="14" y="110"/>
                    </a:lnTo>
                    <a:lnTo>
                      <a:pt x="14" y="110"/>
                    </a:lnTo>
                    <a:lnTo>
                      <a:pt x="4" y="118"/>
                    </a:lnTo>
                    <a:lnTo>
                      <a:pt x="0" y="124"/>
                    </a:lnTo>
                    <a:lnTo>
                      <a:pt x="2" y="128"/>
                    </a:lnTo>
                    <a:lnTo>
                      <a:pt x="6" y="132"/>
                    </a:lnTo>
                    <a:lnTo>
                      <a:pt x="26" y="138"/>
                    </a:lnTo>
                    <a:lnTo>
                      <a:pt x="54" y="144"/>
                    </a:lnTo>
                    <a:lnTo>
                      <a:pt x="54" y="144"/>
                    </a:lnTo>
                    <a:lnTo>
                      <a:pt x="66" y="146"/>
                    </a:lnTo>
                    <a:lnTo>
                      <a:pt x="76" y="146"/>
                    </a:lnTo>
                    <a:lnTo>
                      <a:pt x="84" y="144"/>
                    </a:lnTo>
                    <a:lnTo>
                      <a:pt x="88" y="142"/>
                    </a:lnTo>
                    <a:lnTo>
                      <a:pt x="94" y="138"/>
                    </a:lnTo>
                    <a:lnTo>
                      <a:pt x="96" y="136"/>
                    </a:lnTo>
                    <a:lnTo>
                      <a:pt x="98" y="140"/>
                    </a:lnTo>
                    <a:lnTo>
                      <a:pt x="98" y="140"/>
                    </a:lnTo>
                    <a:lnTo>
                      <a:pt x="106" y="146"/>
                    </a:lnTo>
                    <a:lnTo>
                      <a:pt x="110" y="148"/>
                    </a:lnTo>
                    <a:lnTo>
                      <a:pt x="114" y="150"/>
                    </a:lnTo>
                    <a:lnTo>
                      <a:pt x="118" y="150"/>
                    </a:lnTo>
                    <a:lnTo>
                      <a:pt x="124" y="148"/>
                    </a:lnTo>
                    <a:lnTo>
                      <a:pt x="128" y="14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44" y="126"/>
                    </a:lnTo>
                    <a:lnTo>
                      <a:pt x="150" y="122"/>
                    </a:lnTo>
                    <a:lnTo>
                      <a:pt x="152" y="122"/>
                    </a:lnTo>
                    <a:lnTo>
                      <a:pt x="154" y="124"/>
                    </a:lnTo>
                    <a:lnTo>
                      <a:pt x="152" y="130"/>
                    </a:lnTo>
                    <a:lnTo>
                      <a:pt x="152" y="130"/>
                    </a:lnTo>
                    <a:lnTo>
                      <a:pt x="150" y="134"/>
                    </a:lnTo>
                    <a:lnTo>
                      <a:pt x="154" y="138"/>
                    </a:lnTo>
                    <a:lnTo>
                      <a:pt x="158" y="140"/>
                    </a:lnTo>
                    <a:lnTo>
                      <a:pt x="166" y="142"/>
                    </a:lnTo>
                    <a:lnTo>
                      <a:pt x="192" y="140"/>
                    </a:lnTo>
                    <a:lnTo>
                      <a:pt x="232" y="132"/>
                    </a:lnTo>
                    <a:lnTo>
                      <a:pt x="232" y="132"/>
                    </a:lnTo>
                    <a:lnTo>
                      <a:pt x="252" y="130"/>
                    </a:lnTo>
                    <a:lnTo>
                      <a:pt x="262" y="130"/>
                    </a:lnTo>
                    <a:lnTo>
                      <a:pt x="266" y="130"/>
                    </a:lnTo>
                    <a:lnTo>
                      <a:pt x="264" y="134"/>
                    </a:lnTo>
                    <a:lnTo>
                      <a:pt x="256" y="138"/>
                    </a:lnTo>
                    <a:lnTo>
                      <a:pt x="244" y="142"/>
                    </a:lnTo>
                    <a:lnTo>
                      <a:pt x="228" y="144"/>
                    </a:lnTo>
                    <a:lnTo>
                      <a:pt x="212" y="148"/>
                    </a:lnTo>
                    <a:lnTo>
                      <a:pt x="212" y="148"/>
                    </a:lnTo>
                    <a:lnTo>
                      <a:pt x="176" y="152"/>
                    </a:lnTo>
                    <a:lnTo>
                      <a:pt x="158" y="156"/>
                    </a:lnTo>
                    <a:lnTo>
                      <a:pt x="144" y="160"/>
                    </a:lnTo>
                    <a:lnTo>
                      <a:pt x="136" y="166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4" y="176"/>
                    </a:lnTo>
                    <a:lnTo>
                      <a:pt x="138" y="178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66" y="190"/>
                    </a:lnTo>
                    <a:lnTo>
                      <a:pt x="178" y="192"/>
                    </a:lnTo>
                    <a:lnTo>
                      <a:pt x="192" y="192"/>
                    </a:lnTo>
                    <a:lnTo>
                      <a:pt x="206" y="190"/>
                    </a:lnTo>
                    <a:lnTo>
                      <a:pt x="234" y="184"/>
                    </a:lnTo>
                    <a:lnTo>
                      <a:pt x="266" y="174"/>
                    </a:lnTo>
                    <a:lnTo>
                      <a:pt x="266" y="174"/>
                    </a:lnTo>
                    <a:lnTo>
                      <a:pt x="282" y="170"/>
                    </a:lnTo>
                    <a:lnTo>
                      <a:pt x="296" y="164"/>
                    </a:lnTo>
                    <a:lnTo>
                      <a:pt x="318" y="154"/>
                    </a:lnTo>
                    <a:lnTo>
                      <a:pt x="328" y="150"/>
                    </a:lnTo>
                    <a:lnTo>
                      <a:pt x="338" y="146"/>
                    </a:lnTo>
                    <a:lnTo>
                      <a:pt x="350" y="146"/>
                    </a:lnTo>
                    <a:lnTo>
                      <a:pt x="360" y="148"/>
                    </a:lnTo>
                    <a:lnTo>
                      <a:pt x="360" y="148"/>
                    </a:lnTo>
                    <a:lnTo>
                      <a:pt x="370" y="150"/>
                    </a:lnTo>
                    <a:lnTo>
                      <a:pt x="378" y="152"/>
                    </a:lnTo>
                    <a:lnTo>
                      <a:pt x="382" y="150"/>
                    </a:lnTo>
                    <a:lnTo>
                      <a:pt x="386" y="148"/>
                    </a:lnTo>
                    <a:lnTo>
                      <a:pt x="388" y="146"/>
                    </a:lnTo>
                    <a:lnTo>
                      <a:pt x="394" y="144"/>
                    </a:lnTo>
                    <a:lnTo>
                      <a:pt x="400" y="144"/>
                    </a:lnTo>
                    <a:lnTo>
                      <a:pt x="410" y="146"/>
                    </a:lnTo>
                    <a:lnTo>
                      <a:pt x="410" y="146"/>
                    </a:lnTo>
                    <a:lnTo>
                      <a:pt x="420" y="150"/>
                    </a:lnTo>
                    <a:lnTo>
                      <a:pt x="430" y="150"/>
                    </a:lnTo>
                    <a:lnTo>
                      <a:pt x="440" y="148"/>
                    </a:lnTo>
                    <a:lnTo>
                      <a:pt x="450" y="144"/>
                    </a:lnTo>
                    <a:lnTo>
                      <a:pt x="460" y="138"/>
                    </a:lnTo>
                    <a:lnTo>
                      <a:pt x="470" y="130"/>
                    </a:lnTo>
                    <a:lnTo>
                      <a:pt x="482" y="120"/>
                    </a:lnTo>
                    <a:lnTo>
                      <a:pt x="492" y="106"/>
                    </a:lnTo>
                    <a:lnTo>
                      <a:pt x="492" y="106"/>
                    </a:lnTo>
                    <a:lnTo>
                      <a:pt x="496" y="100"/>
                    </a:lnTo>
                    <a:lnTo>
                      <a:pt x="500" y="94"/>
                    </a:lnTo>
                    <a:lnTo>
                      <a:pt x="500" y="88"/>
                    </a:lnTo>
                    <a:lnTo>
                      <a:pt x="498" y="84"/>
                    </a:lnTo>
                    <a:lnTo>
                      <a:pt x="496" y="80"/>
                    </a:lnTo>
                    <a:lnTo>
                      <a:pt x="492" y="76"/>
                    </a:lnTo>
                    <a:lnTo>
                      <a:pt x="482" y="70"/>
                    </a:lnTo>
                    <a:lnTo>
                      <a:pt x="470" y="68"/>
                    </a:lnTo>
                    <a:lnTo>
                      <a:pt x="456" y="66"/>
                    </a:lnTo>
                    <a:lnTo>
                      <a:pt x="444" y="68"/>
                    </a:lnTo>
                    <a:lnTo>
                      <a:pt x="436" y="70"/>
                    </a:lnTo>
                    <a:lnTo>
                      <a:pt x="436" y="70"/>
                    </a:lnTo>
                    <a:lnTo>
                      <a:pt x="420" y="76"/>
                    </a:lnTo>
                    <a:lnTo>
                      <a:pt x="406" y="80"/>
                    </a:lnTo>
                    <a:lnTo>
                      <a:pt x="402" y="82"/>
                    </a:lnTo>
                    <a:lnTo>
                      <a:pt x="398" y="80"/>
                    </a:lnTo>
                    <a:lnTo>
                      <a:pt x="398" y="78"/>
                    </a:lnTo>
                    <a:lnTo>
                      <a:pt x="400" y="72"/>
                    </a:lnTo>
                    <a:lnTo>
                      <a:pt x="400" y="72"/>
                    </a:lnTo>
                    <a:lnTo>
                      <a:pt x="400" y="68"/>
                    </a:lnTo>
                    <a:lnTo>
                      <a:pt x="398" y="64"/>
                    </a:lnTo>
                    <a:lnTo>
                      <a:pt x="394" y="62"/>
                    </a:lnTo>
                    <a:lnTo>
                      <a:pt x="390" y="62"/>
                    </a:lnTo>
                    <a:lnTo>
                      <a:pt x="384" y="60"/>
                    </a:lnTo>
                    <a:lnTo>
                      <a:pt x="380" y="60"/>
                    </a:lnTo>
                    <a:lnTo>
                      <a:pt x="380" y="56"/>
                    </a:lnTo>
                    <a:lnTo>
                      <a:pt x="384" y="52"/>
                    </a:lnTo>
                    <a:lnTo>
                      <a:pt x="384" y="52"/>
                    </a:lnTo>
                    <a:lnTo>
                      <a:pt x="388" y="46"/>
                    </a:lnTo>
                    <a:lnTo>
                      <a:pt x="388" y="44"/>
                    </a:lnTo>
                    <a:lnTo>
                      <a:pt x="386" y="42"/>
                    </a:lnTo>
                    <a:lnTo>
                      <a:pt x="382" y="40"/>
                    </a:lnTo>
                    <a:lnTo>
                      <a:pt x="378" y="38"/>
                    </a:lnTo>
                    <a:lnTo>
                      <a:pt x="374" y="34"/>
                    </a:lnTo>
                    <a:lnTo>
                      <a:pt x="372" y="28"/>
                    </a:lnTo>
                    <a:lnTo>
                      <a:pt x="370" y="18"/>
                    </a:lnTo>
                    <a:lnTo>
                      <a:pt x="370" y="18"/>
                    </a:lnTo>
                    <a:lnTo>
                      <a:pt x="368" y="8"/>
                    </a:lnTo>
                    <a:lnTo>
                      <a:pt x="364" y="2"/>
                    </a:lnTo>
                    <a:lnTo>
                      <a:pt x="358" y="0"/>
                    </a:lnTo>
                    <a:lnTo>
                      <a:pt x="350" y="2"/>
                    </a:lnTo>
                    <a:lnTo>
                      <a:pt x="340" y="6"/>
                    </a:lnTo>
                    <a:lnTo>
                      <a:pt x="328" y="12"/>
                    </a:lnTo>
                    <a:lnTo>
                      <a:pt x="300" y="28"/>
                    </a:lnTo>
                    <a:lnTo>
                      <a:pt x="300" y="28"/>
                    </a:lnTo>
                    <a:lnTo>
                      <a:pt x="294" y="32"/>
                    </a:lnTo>
                    <a:lnTo>
                      <a:pt x="292" y="36"/>
                    </a:lnTo>
                    <a:lnTo>
                      <a:pt x="290" y="40"/>
                    </a:lnTo>
                    <a:lnTo>
                      <a:pt x="292" y="42"/>
                    </a:lnTo>
                    <a:lnTo>
                      <a:pt x="298" y="46"/>
                    </a:lnTo>
                    <a:lnTo>
                      <a:pt x="308" y="50"/>
                    </a:lnTo>
                    <a:lnTo>
                      <a:pt x="318" y="54"/>
                    </a:lnTo>
                    <a:lnTo>
                      <a:pt x="326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6"/>
                    </a:lnTo>
                    <a:lnTo>
                      <a:pt x="322" y="70"/>
                    </a:lnTo>
                    <a:lnTo>
                      <a:pt x="322" y="7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50" name="Полилиния 6074">
                <a:extLst>
                  <a:ext uri="{FF2B5EF4-FFF2-40B4-BE49-F238E27FC236}">
                    <a16:creationId xmlns:a16="http://schemas.microsoft.com/office/drawing/2014/main" xmlns="" id="{F94F4020-0DD9-4AAF-BD0D-A62D324C4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930" y="3139123"/>
                <a:ext cx="278130" cy="109220"/>
              </a:xfrm>
              <a:custGeom>
                <a:avLst/>
                <a:gdLst/>
                <a:ahLst/>
                <a:cxnLst>
                  <a:cxn ang="0">
                    <a:pos x="416" y="160"/>
                  </a:cxn>
                  <a:cxn ang="0">
                    <a:pos x="436" y="156"/>
                  </a:cxn>
                  <a:cxn ang="0">
                    <a:pos x="428" y="148"/>
                  </a:cxn>
                  <a:cxn ang="0">
                    <a:pos x="414" y="136"/>
                  </a:cxn>
                  <a:cxn ang="0">
                    <a:pos x="384" y="126"/>
                  </a:cxn>
                  <a:cxn ang="0">
                    <a:pos x="374" y="120"/>
                  </a:cxn>
                  <a:cxn ang="0">
                    <a:pos x="376" y="108"/>
                  </a:cxn>
                  <a:cxn ang="0">
                    <a:pos x="358" y="106"/>
                  </a:cxn>
                  <a:cxn ang="0">
                    <a:pos x="350" y="100"/>
                  </a:cxn>
                  <a:cxn ang="0">
                    <a:pos x="338" y="100"/>
                  </a:cxn>
                  <a:cxn ang="0">
                    <a:pos x="326" y="92"/>
                  </a:cxn>
                  <a:cxn ang="0">
                    <a:pos x="300" y="68"/>
                  </a:cxn>
                  <a:cxn ang="0">
                    <a:pos x="300" y="76"/>
                  </a:cxn>
                  <a:cxn ang="0">
                    <a:pos x="292" y="64"/>
                  </a:cxn>
                  <a:cxn ang="0">
                    <a:pos x="286" y="60"/>
                  </a:cxn>
                  <a:cxn ang="0">
                    <a:pos x="260" y="48"/>
                  </a:cxn>
                  <a:cxn ang="0">
                    <a:pos x="230" y="40"/>
                  </a:cxn>
                  <a:cxn ang="0">
                    <a:pos x="216" y="28"/>
                  </a:cxn>
                  <a:cxn ang="0">
                    <a:pos x="194" y="14"/>
                  </a:cxn>
                  <a:cxn ang="0">
                    <a:pos x="180" y="8"/>
                  </a:cxn>
                  <a:cxn ang="0">
                    <a:pos x="164" y="8"/>
                  </a:cxn>
                  <a:cxn ang="0">
                    <a:pos x="150" y="0"/>
                  </a:cxn>
                  <a:cxn ang="0">
                    <a:pos x="136" y="4"/>
                  </a:cxn>
                  <a:cxn ang="0">
                    <a:pos x="112" y="0"/>
                  </a:cxn>
                  <a:cxn ang="0">
                    <a:pos x="92" y="10"/>
                  </a:cxn>
                  <a:cxn ang="0">
                    <a:pos x="56" y="18"/>
                  </a:cxn>
                  <a:cxn ang="0">
                    <a:pos x="24" y="42"/>
                  </a:cxn>
                  <a:cxn ang="0">
                    <a:pos x="24" y="58"/>
                  </a:cxn>
                  <a:cxn ang="0">
                    <a:pos x="2" y="66"/>
                  </a:cxn>
                  <a:cxn ang="0">
                    <a:pos x="4" y="72"/>
                  </a:cxn>
                  <a:cxn ang="0">
                    <a:pos x="18" y="72"/>
                  </a:cxn>
                  <a:cxn ang="0">
                    <a:pos x="24" y="72"/>
                  </a:cxn>
                  <a:cxn ang="0">
                    <a:pos x="40" y="62"/>
                  </a:cxn>
                  <a:cxn ang="0">
                    <a:pos x="70" y="44"/>
                  </a:cxn>
                  <a:cxn ang="0">
                    <a:pos x="92" y="30"/>
                  </a:cxn>
                  <a:cxn ang="0">
                    <a:pos x="132" y="32"/>
                  </a:cxn>
                  <a:cxn ang="0">
                    <a:pos x="124" y="38"/>
                  </a:cxn>
                  <a:cxn ang="0">
                    <a:pos x="118" y="46"/>
                  </a:cxn>
                  <a:cxn ang="0">
                    <a:pos x="164" y="58"/>
                  </a:cxn>
                  <a:cxn ang="0">
                    <a:pos x="186" y="62"/>
                  </a:cxn>
                  <a:cxn ang="0">
                    <a:pos x="214" y="80"/>
                  </a:cxn>
                  <a:cxn ang="0">
                    <a:pos x="242" y="84"/>
                  </a:cxn>
                  <a:cxn ang="0">
                    <a:pos x="256" y="94"/>
                  </a:cxn>
                  <a:cxn ang="0">
                    <a:pos x="268" y="120"/>
                  </a:cxn>
                  <a:cxn ang="0">
                    <a:pos x="288" y="128"/>
                  </a:cxn>
                  <a:cxn ang="0">
                    <a:pos x="318" y="136"/>
                  </a:cxn>
                  <a:cxn ang="0">
                    <a:pos x="310" y="150"/>
                  </a:cxn>
                  <a:cxn ang="0">
                    <a:pos x="290" y="168"/>
                  </a:cxn>
                  <a:cxn ang="0">
                    <a:pos x="348" y="164"/>
                  </a:cxn>
                  <a:cxn ang="0">
                    <a:pos x="382" y="170"/>
                  </a:cxn>
                  <a:cxn ang="0">
                    <a:pos x="400" y="166"/>
                  </a:cxn>
                </a:cxnLst>
                <a:rect l="0" t="0" r="r" b="b"/>
                <a:pathLst>
                  <a:path w="438" h="172">
                    <a:moveTo>
                      <a:pt x="400" y="166"/>
                    </a:moveTo>
                    <a:lnTo>
                      <a:pt x="400" y="166"/>
                    </a:lnTo>
                    <a:lnTo>
                      <a:pt x="410" y="162"/>
                    </a:lnTo>
                    <a:lnTo>
                      <a:pt x="416" y="160"/>
                    </a:lnTo>
                    <a:lnTo>
                      <a:pt x="426" y="160"/>
                    </a:lnTo>
                    <a:lnTo>
                      <a:pt x="432" y="162"/>
                    </a:lnTo>
                    <a:lnTo>
                      <a:pt x="436" y="156"/>
                    </a:lnTo>
                    <a:lnTo>
                      <a:pt x="436" y="156"/>
                    </a:lnTo>
                    <a:lnTo>
                      <a:pt x="438" y="152"/>
                    </a:lnTo>
                    <a:lnTo>
                      <a:pt x="438" y="150"/>
                    </a:lnTo>
                    <a:lnTo>
                      <a:pt x="434" y="150"/>
                    </a:lnTo>
                    <a:lnTo>
                      <a:pt x="428" y="148"/>
                    </a:lnTo>
                    <a:lnTo>
                      <a:pt x="424" y="146"/>
                    </a:lnTo>
                    <a:lnTo>
                      <a:pt x="420" y="144"/>
                    </a:lnTo>
                    <a:lnTo>
                      <a:pt x="420" y="144"/>
                    </a:lnTo>
                    <a:lnTo>
                      <a:pt x="414" y="136"/>
                    </a:lnTo>
                    <a:lnTo>
                      <a:pt x="410" y="132"/>
                    </a:lnTo>
                    <a:lnTo>
                      <a:pt x="400" y="128"/>
                    </a:lnTo>
                    <a:lnTo>
                      <a:pt x="384" y="126"/>
                    </a:lnTo>
                    <a:lnTo>
                      <a:pt x="384" y="126"/>
                    </a:lnTo>
                    <a:lnTo>
                      <a:pt x="372" y="124"/>
                    </a:lnTo>
                    <a:lnTo>
                      <a:pt x="370" y="124"/>
                    </a:lnTo>
                    <a:lnTo>
                      <a:pt x="372" y="122"/>
                    </a:lnTo>
                    <a:lnTo>
                      <a:pt x="374" y="120"/>
                    </a:lnTo>
                    <a:lnTo>
                      <a:pt x="376" y="116"/>
                    </a:lnTo>
                    <a:lnTo>
                      <a:pt x="376" y="112"/>
                    </a:lnTo>
                    <a:lnTo>
                      <a:pt x="376" y="112"/>
                    </a:lnTo>
                    <a:lnTo>
                      <a:pt x="376" y="108"/>
                    </a:lnTo>
                    <a:lnTo>
                      <a:pt x="374" y="108"/>
                    </a:lnTo>
                    <a:lnTo>
                      <a:pt x="368" y="106"/>
                    </a:lnTo>
                    <a:lnTo>
                      <a:pt x="362" y="106"/>
                    </a:lnTo>
                    <a:lnTo>
                      <a:pt x="358" y="106"/>
                    </a:lnTo>
                    <a:lnTo>
                      <a:pt x="356" y="104"/>
                    </a:lnTo>
                    <a:lnTo>
                      <a:pt x="356" y="104"/>
                    </a:lnTo>
                    <a:lnTo>
                      <a:pt x="352" y="102"/>
                    </a:lnTo>
                    <a:lnTo>
                      <a:pt x="350" y="100"/>
                    </a:lnTo>
                    <a:lnTo>
                      <a:pt x="344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8" y="100"/>
                    </a:lnTo>
                    <a:lnTo>
                      <a:pt x="334" y="96"/>
                    </a:lnTo>
                    <a:lnTo>
                      <a:pt x="332" y="94"/>
                    </a:lnTo>
                    <a:lnTo>
                      <a:pt x="326" y="92"/>
                    </a:lnTo>
                    <a:lnTo>
                      <a:pt x="320" y="86"/>
                    </a:lnTo>
                    <a:lnTo>
                      <a:pt x="320" y="86"/>
                    </a:lnTo>
                    <a:lnTo>
                      <a:pt x="304" y="70"/>
                    </a:lnTo>
                    <a:lnTo>
                      <a:pt x="300" y="68"/>
                    </a:lnTo>
                    <a:lnTo>
                      <a:pt x="300" y="70"/>
                    </a:lnTo>
                    <a:lnTo>
                      <a:pt x="300" y="72"/>
                    </a:lnTo>
                    <a:lnTo>
                      <a:pt x="300" y="72"/>
                    </a:lnTo>
                    <a:lnTo>
                      <a:pt x="300" y="76"/>
                    </a:lnTo>
                    <a:lnTo>
                      <a:pt x="300" y="76"/>
                    </a:lnTo>
                    <a:lnTo>
                      <a:pt x="296" y="76"/>
                    </a:lnTo>
                    <a:lnTo>
                      <a:pt x="294" y="70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92" y="62"/>
                    </a:lnTo>
                    <a:lnTo>
                      <a:pt x="292" y="60"/>
                    </a:lnTo>
                    <a:lnTo>
                      <a:pt x="286" y="60"/>
                    </a:lnTo>
                    <a:lnTo>
                      <a:pt x="276" y="56"/>
                    </a:lnTo>
                    <a:lnTo>
                      <a:pt x="268" y="54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2" y="42"/>
                    </a:lnTo>
                    <a:lnTo>
                      <a:pt x="244" y="40"/>
                    </a:lnTo>
                    <a:lnTo>
                      <a:pt x="234" y="40"/>
                    </a:lnTo>
                    <a:lnTo>
                      <a:pt x="230" y="40"/>
                    </a:lnTo>
                    <a:lnTo>
                      <a:pt x="226" y="38"/>
                    </a:lnTo>
                    <a:lnTo>
                      <a:pt x="220" y="34"/>
                    </a:lnTo>
                    <a:lnTo>
                      <a:pt x="216" y="28"/>
                    </a:lnTo>
                    <a:lnTo>
                      <a:pt x="216" y="28"/>
                    </a:lnTo>
                    <a:lnTo>
                      <a:pt x="210" y="20"/>
                    </a:lnTo>
                    <a:lnTo>
                      <a:pt x="204" y="16"/>
                    </a:lnTo>
                    <a:lnTo>
                      <a:pt x="200" y="14"/>
                    </a:lnTo>
                    <a:lnTo>
                      <a:pt x="194" y="14"/>
                    </a:lnTo>
                    <a:lnTo>
                      <a:pt x="186" y="14"/>
                    </a:lnTo>
                    <a:lnTo>
                      <a:pt x="182" y="12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76" y="6"/>
                    </a:lnTo>
                    <a:lnTo>
                      <a:pt x="174" y="4"/>
                    </a:lnTo>
                    <a:lnTo>
                      <a:pt x="168" y="6"/>
                    </a:lnTo>
                    <a:lnTo>
                      <a:pt x="164" y="8"/>
                    </a:lnTo>
                    <a:lnTo>
                      <a:pt x="160" y="6"/>
                    </a:lnTo>
                    <a:lnTo>
                      <a:pt x="156" y="4"/>
                    </a:lnTo>
                    <a:lnTo>
                      <a:pt x="156" y="4"/>
                    </a:lnTo>
                    <a:lnTo>
                      <a:pt x="150" y="0"/>
                    </a:lnTo>
                    <a:lnTo>
                      <a:pt x="148" y="2"/>
                    </a:lnTo>
                    <a:lnTo>
                      <a:pt x="146" y="2"/>
                    </a:lnTo>
                    <a:lnTo>
                      <a:pt x="142" y="4"/>
                    </a:lnTo>
                    <a:lnTo>
                      <a:pt x="136" y="4"/>
                    </a:lnTo>
                    <a:lnTo>
                      <a:pt x="126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2" y="0"/>
                    </a:lnTo>
                    <a:lnTo>
                      <a:pt x="108" y="2"/>
                    </a:lnTo>
                    <a:lnTo>
                      <a:pt x="104" y="4"/>
                    </a:lnTo>
                    <a:lnTo>
                      <a:pt x="98" y="8"/>
                    </a:lnTo>
                    <a:lnTo>
                      <a:pt x="9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68" y="14"/>
                    </a:lnTo>
                    <a:lnTo>
                      <a:pt x="56" y="18"/>
                    </a:lnTo>
                    <a:lnTo>
                      <a:pt x="44" y="22"/>
                    </a:lnTo>
                    <a:lnTo>
                      <a:pt x="36" y="28"/>
                    </a:lnTo>
                    <a:lnTo>
                      <a:pt x="28" y="34"/>
                    </a:lnTo>
                    <a:lnTo>
                      <a:pt x="24" y="42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2" y="60"/>
                    </a:lnTo>
                    <a:lnTo>
                      <a:pt x="14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4" y="72"/>
                    </a:lnTo>
                    <a:lnTo>
                      <a:pt x="30" y="6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2"/>
                    </a:lnTo>
                    <a:lnTo>
                      <a:pt x="42" y="58"/>
                    </a:lnTo>
                    <a:lnTo>
                      <a:pt x="52" y="54"/>
                    </a:lnTo>
                    <a:lnTo>
                      <a:pt x="62" y="48"/>
                    </a:lnTo>
                    <a:lnTo>
                      <a:pt x="70" y="44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4" y="34"/>
                    </a:lnTo>
                    <a:lnTo>
                      <a:pt x="92" y="30"/>
                    </a:lnTo>
                    <a:lnTo>
                      <a:pt x="100" y="28"/>
                    </a:lnTo>
                    <a:lnTo>
                      <a:pt x="108" y="28"/>
                    </a:lnTo>
                    <a:lnTo>
                      <a:pt x="124" y="28"/>
                    </a:lnTo>
                    <a:lnTo>
                      <a:pt x="132" y="32"/>
                    </a:lnTo>
                    <a:lnTo>
                      <a:pt x="132" y="32"/>
                    </a:lnTo>
                    <a:lnTo>
                      <a:pt x="134" y="34"/>
                    </a:lnTo>
                    <a:lnTo>
                      <a:pt x="132" y="36"/>
                    </a:lnTo>
                    <a:lnTo>
                      <a:pt x="124" y="38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26" y="52"/>
                    </a:lnTo>
                    <a:lnTo>
                      <a:pt x="134" y="56"/>
                    </a:lnTo>
                    <a:lnTo>
                      <a:pt x="146" y="58"/>
                    </a:lnTo>
                    <a:lnTo>
                      <a:pt x="164" y="58"/>
                    </a:lnTo>
                    <a:lnTo>
                      <a:pt x="164" y="58"/>
                    </a:lnTo>
                    <a:lnTo>
                      <a:pt x="174" y="58"/>
                    </a:lnTo>
                    <a:lnTo>
                      <a:pt x="180" y="60"/>
                    </a:lnTo>
                    <a:lnTo>
                      <a:pt x="186" y="62"/>
                    </a:lnTo>
                    <a:lnTo>
                      <a:pt x="190" y="66"/>
                    </a:lnTo>
                    <a:lnTo>
                      <a:pt x="200" y="74"/>
                    </a:lnTo>
                    <a:lnTo>
                      <a:pt x="206" y="78"/>
                    </a:lnTo>
                    <a:lnTo>
                      <a:pt x="214" y="80"/>
                    </a:lnTo>
                    <a:lnTo>
                      <a:pt x="214" y="80"/>
                    </a:lnTo>
                    <a:lnTo>
                      <a:pt x="222" y="84"/>
                    </a:lnTo>
                    <a:lnTo>
                      <a:pt x="230" y="84"/>
                    </a:lnTo>
                    <a:lnTo>
                      <a:pt x="242" y="84"/>
                    </a:lnTo>
                    <a:lnTo>
                      <a:pt x="246" y="84"/>
                    </a:lnTo>
                    <a:lnTo>
                      <a:pt x="250" y="86"/>
                    </a:lnTo>
                    <a:lnTo>
                      <a:pt x="252" y="88"/>
                    </a:lnTo>
                    <a:lnTo>
                      <a:pt x="256" y="94"/>
                    </a:lnTo>
                    <a:lnTo>
                      <a:pt x="256" y="94"/>
                    </a:lnTo>
                    <a:lnTo>
                      <a:pt x="260" y="106"/>
                    </a:lnTo>
                    <a:lnTo>
                      <a:pt x="266" y="116"/>
                    </a:lnTo>
                    <a:lnTo>
                      <a:pt x="268" y="120"/>
                    </a:lnTo>
                    <a:lnTo>
                      <a:pt x="274" y="124"/>
                    </a:lnTo>
                    <a:lnTo>
                      <a:pt x="280" y="126"/>
                    </a:lnTo>
                    <a:lnTo>
                      <a:pt x="288" y="128"/>
                    </a:lnTo>
                    <a:lnTo>
                      <a:pt x="288" y="128"/>
                    </a:lnTo>
                    <a:lnTo>
                      <a:pt x="304" y="128"/>
                    </a:lnTo>
                    <a:lnTo>
                      <a:pt x="310" y="130"/>
                    </a:lnTo>
                    <a:lnTo>
                      <a:pt x="316" y="134"/>
                    </a:lnTo>
                    <a:lnTo>
                      <a:pt x="318" y="136"/>
                    </a:lnTo>
                    <a:lnTo>
                      <a:pt x="318" y="140"/>
                    </a:lnTo>
                    <a:lnTo>
                      <a:pt x="316" y="144"/>
                    </a:lnTo>
                    <a:lnTo>
                      <a:pt x="310" y="150"/>
                    </a:lnTo>
                    <a:lnTo>
                      <a:pt x="310" y="150"/>
                    </a:lnTo>
                    <a:lnTo>
                      <a:pt x="298" y="158"/>
                    </a:lnTo>
                    <a:lnTo>
                      <a:pt x="292" y="162"/>
                    </a:lnTo>
                    <a:lnTo>
                      <a:pt x="290" y="166"/>
                    </a:lnTo>
                    <a:lnTo>
                      <a:pt x="290" y="168"/>
                    </a:lnTo>
                    <a:lnTo>
                      <a:pt x="296" y="170"/>
                    </a:lnTo>
                    <a:lnTo>
                      <a:pt x="328" y="166"/>
                    </a:lnTo>
                    <a:lnTo>
                      <a:pt x="328" y="166"/>
                    </a:lnTo>
                    <a:lnTo>
                      <a:pt x="348" y="164"/>
                    </a:lnTo>
                    <a:lnTo>
                      <a:pt x="360" y="166"/>
                    </a:lnTo>
                    <a:lnTo>
                      <a:pt x="370" y="166"/>
                    </a:lnTo>
                    <a:lnTo>
                      <a:pt x="376" y="168"/>
                    </a:lnTo>
                    <a:lnTo>
                      <a:pt x="382" y="170"/>
                    </a:lnTo>
                    <a:lnTo>
                      <a:pt x="386" y="172"/>
                    </a:lnTo>
                    <a:lnTo>
                      <a:pt x="392" y="170"/>
                    </a:lnTo>
                    <a:lnTo>
                      <a:pt x="400" y="166"/>
                    </a:lnTo>
                    <a:lnTo>
                      <a:pt x="400" y="16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51" name="Полилиния 6084">
                <a:extLst>
                  <a:ext uri="{FF2B5EF4-FFF2-40B4-BE49-F238E27FC236}">
                    <a16:creationId xmlns:a16="http://schemas.microsoft.com/office/drawing/2014/main" xmlns="" id="{EBFEE333-D800-4608-9F5A-EB9D4891D7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1460" y="3296603"/>
                <a:ext cx="5080" cy="508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52" name="Полилиния 6086">
                <a:extLst>
                  <a:ext uri="{FF2B5EF4-FFF2-40B4-BE49-F238E27FC236}">
                    <a16:creationId xmlns:a16="http://schemas.microsoft.com/office/drawing/2014/main" xmlns="" id="{31FA47B4-D734-43F2-B515-24EC7B1629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979" y="1296353"/>
                <a:ext cx="2874010" cy="2354580"/>
              </a:xfrm>
              <a:custGeom>
                <a:avLst/>
                <a:gdLst/>
                <a:ahLst/>
                <a:cxnLst>
                  <a:cxn ang="0">
                    <a:pos x="3400" y="3516"/>
                  </a:cxn>
                  <a:cxn ang="0">
                    <a:pos x="3292" y="3276"/>
                  </a:cxn>
                  <a:cxn ang="0">
                    <a:pos x="3246" y="3102"/>
                  </a:cxn>
                  <a:cxn ang="0">
                    <a:pos x="3116" y="3080"/>
                  </a:cxn>
                  <a:cxn ang="0">
                    <a:pos x="2830" y="2916"/>
                  </a:cxn>
                  <a:cxn ang="0">
                    <a:pos x="3078" y="2572"/>
                  </a:cxn>
                  <a:cxn ang="0">
                    <a:pos x="3134" y="2554"/>
                  </a:cxn>
                  <a:cxn ang="0">
                    <a:pos x="3436" y="2646"/>
                  </a:cxn>
                  <a:cxn ang="0">
                    <a:pos x="3526" y="2642"/>
                  </a:cxn>
                  <a:cxn ang="0">
                    <a:pos x="3686" y="2282"/>
                  </a:cxn>
                  <a:cxn ang="0">
                    <a:pos x="3698" y="2162"/>
                  </a:cxn>
                  <a:cxn ang="0">
                    <a:pos x="3748" y="2092"/>
                  </a:cxn>
                  <a:cxn ang="0">
                    <a:pos x="3924" y="1928"/>
                  </a:cxn>
                  <a:cxn ang="0">
                    <a:pos x="4006" y="1782"/>
                  </a:cxn>
                  <a:cxn ang="0">
                    <a:pos x="4138" y="1824"/>
                  </a:cxn>
                  <a:cxn ang="0">
                    <a:pos x="4150" y="1496"/>
                  </a:cxn>
                  <a:cxn ang="0">
                    <a:pos x="4522" y="1296"/>
                  </a:cxn>
                  <a:cxn ang="0">
                    <a:pos x="4314" y="1090"/>
                  </a:cxn>
                  <a:cxn ang="0">
                    <a:pos x="4060" y="934"/>
                  </a:cxn>
                  <a:cxn ang="0">
                    <a:pos x="3720" y="680"/>
                  </a:cxn>
                  <a:cxn ang="0">
                    <a:pos x="3570" y="1166"/>
                  </a:cxn>
                  <a:cxn ang="0">
                    <a:pos x="3346" y="1132"/>
                  </a:cxn>
                  <a:cxn ang="0">
                    <a:pos x="3060" y="648"/>
                  </a:cxn>
                  <a:cxn ang="0">
                    <a:pos x="3304" y="420"/>
                  </a:cxn>
                  <a:cxn ang="0">
                    <a:pos x="3452" y="258"/>
                  </a:cxn>
                  <a:cxn ang="0">
                    <a:pos x="3282" y="322"/>
                  </a:cxn>
                  <a:cxn ang="0">
                    <a:pos x="3048" y="164"/>
                  </a:cxn>
                  <a:cxn ang="0">
                    <a:pos x="2954" y="232"/>
                  </a:cxn>
                  <a:cxn ang="0">
                    <a:pos x="2726" y="298"/>
                  </a:cxn>
                  <a:cxn ang="0">
                    <a:pos x="2330" y="286"/>
                  </a:cxn>
                  <a:cxn ang="0">
                    <a:pos x="1732" y="136"/>
                  </a:cxn>
                  <a:cxn ang="0">
                    <a:pos x="1406" y="178"/>
                  </a:cxn>
                  <a:cxn ang="0">
                    <a:pos x="636" y="94"/>
                  </a:cxn>
                  <a:cxn ang="0">
                    <a:pos x="54" y="266"/>
                  </a:cxn>
                  <a:cxn ang="0">
                    <a:pos x="28" y="440"/>
                  </a:cxn>
                  <a:cxn ang="0">
                    <a:pos x="270" y="598"/>
                  </a:cxn>
                  <a:cxn ang="0">
                    <a:pos x="246" y="900"/>
                  </a:cxn>
                  <a:cxn ang="0">
                    <a:pos x="218" y="1124"/>
                  </a:cxn>
                  <a:cxn ang="0">
                    <a:pos x="548" y="956"/>
                  </a:cxn>
                  <a:cxn ang="0">
                    <a:pos x="648" y="882"/>
                  </a:cxn>
                  <a:cxn ang="0">
                    <a:pos x="1136" y="842"/>
                  </a:cxn>
                  <a:cxn ang="0">
                    <a:pos x="1412" y="1020"/>
                  </a:cxn>
                  <a:cxn ang="0">
                    <a:pos x="1524" y="1162"/>
                  </a:cxn>
                  <a:cxn ang="0">
                    <a:pos x="1646" y="1306"/>
                  </a:cxn>
                  <a:cxn ang="0">
                    <a:pos x="1750" y="1434"/>
                  </a:cxn>
                  <a:cxn ang="0">
                    <a:pos x="1840" y="1570"/>
                  </a:cxn>
                  <a:cxn ang="0">
                    <a:pos x="1838" y="2170"/>
                  </a:cxn>
                  <a:cxn ang="0">
                    <a:pos x="2146" y="2682"/>
                  </a:cxn>
                  <a:cxn ang="0">
                    <a:pos x="2168" y="2564"/>
                  </a:cxn>
                  <a:cxn ang="0">
                    <a:pos x="2530" y="2998"/>
                  </a:cxn>
                  <a:cxn ang="0">
                    <a:pos x="3202" y="3400"/>
                  </a:cxn>
                  <a:cxn ang="0">
                    <a:pos x="3330" y="3570"/>
                  </a:cxn>
                  <a:cxn ang="0">
                    <a:pos x="3432" y="3656"/>
                  </a:cxn>
                  <a:cxn ang="0">
                    <a:pos x="3562" y="3616"/>
                  </a:cxn>
                  <a:cxn ang="0">
                    <a:pos x="3408" y="1922"/>
                  </a:cxn>
                  <a:cxn ang="0">
                    <a:pos x="3590" y="1870"/>
                  </a:cxn>
                  <a:cxn ang="0">
                    <a:pos x="3578" y="1812"/>
                  </a:cxn>
                  <a:cxn ang="0">
                    <a:pos x="3344" y="1588"/>
                  </a:cxn>
                  <a:cxn ang="0">
                    <a:pos x="3548" y="1750"/>
                  </a:cxn>
                  <a:cxn ang="0">
                    <a:pos x="3418" y="1798"/>
                  </a:cxn>
                  <a:cxn ang="0">
                    <a:pos x="3294" y="1766"/>
                  </a:cxn>
                  <a:cxn ang="0">
                    <a:pos x="3244" y="1726"/>
                  </a:cxn>
                  <a:cxn ang="0">
                    <a:pos x="3258" y="1654"/>
                  </a:cxn>
                </a:cxnLst>
                <a:rect l="0" t="0" r="r" b="b"/>
                <a:pathLst>
                  <a:path w="4526" h="3708">
                    <a:moveTo>
                      <a:pt x="3654" y="3626"/>
                    </a:move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42" y="3614"/>
                    </a:lnTo>
                    <a:lnTo>
                      <a:pt x="3628" y="3600"/>
                    </a:lnTo>
                    <a:lnTo>
                      <a:pt x="3622" y="3596"/>
                    </a:lnTo>
                    <a:lnTo>
                      <a:pt x="3614" y="3592"/>
                    </a:lnTo>
                    <a:lnTo>
                      <a:pt x="3606" y="3590"/>
                    </a:lnTo>
                    <a:lnTo>
                      <a:pt x="3598" y="3588"/>
                    </a:lnTo>
                    <a:lnTo>
                      <a:pt x="3598" y="3588"/>
                    </a:lnTo>
                    <a:lnTo>
                      <a:pt x="3588" y="3590"/>
                    </a:lnTo>
                    <a:lnTo>
                      <a:pt x="3588" y="3588"/>
                    </a:lnTo>
                    <a:lnTo>
                      <a:pt x="3588" y="3588"/>
                    </a:lnTo>
                    <a:lnTo>
                      <a:pt x="3588" y="3586"/>
                    </a:lnTo>
                    <a:lnTo>
                      <a:pt x="3586" y="3584"/>
                    </a:lnTo>
                    <a:lnTo>
                      <a:pt x="3574" y="3582"/>
                    </a:lnTo>
                    <a:lnTo>
                      <a:pt x="3574" y="3582"/>
                    </a:lnTo>
                    <a:lnTo>
                      <a:pt x="3562" y="3582"/>
                    </a:lnTo>
                    <a:lnTo>
                      <a:pt x="3560" y="3582"/>
                    </a:lnTo>
                    <a:lnTo>
                      <a:pt x="3560" y="3584"/>
                    </a:lnTo>
                    <a:lnTo>
                      <a:pt x="3556" y="3590"/>
                    </a:lnTo>
                    <a:lnTo>
                      <a:pt x="3552" y="3594"/>
                    </a:lnTo>
                    <a:lnTo>
                      <a:pt x="3546" y="3598"/>
                    </a:lnTo>
                    <a:lnTo>
                      <a:pt x="3546" y="3598"/>
                    </a:lnTo>
                    <a:lnTo>
                      <a:pt x="3524" y="3608"/>
                    </a:lnTo>
                    <a:lnTo>
                      <a:pt x="3518" y="3612"/>
                    </a:lnTo>
                    <a:lnTo>
                      <a:pt x="3514" y="3616"/>
                    </a:lnTo>
                    <a:lnTo>
                      <a:pt x="3496" y="3622"/>
                    </a:lnTo>
                    <a:lnTo>
                      <a:pt x="3496" y="3622"/>
                    </a:lnTo>
                    <a:lnTo>
                      <a:pt x="3492" y="3622"/>
                    </a:lnTo>
                    <a:lnTo>
                      <a:pt x="3488" y="3620"/>
                    </a:lnTo>
                    <a:lnTo>
                      <a:pt x="3480" y="3612"/>
                    </a:lnTo>
                    <a:lnTo>
                      <a:pt x="3480" y="3612"/>
                    </a:lnTo>
                    <a:lnTo>
                      <a:pt x="3476" y="3608"/>
                    </a:lnTo>
                    <a:lnTo>
                      <a:pt x="3474" y="3604"/>
                    </a:lnTo>
                    <a:lnTo>
                      <a:pt x="3474" y="3604"/>
                    </a:lnTo>
                    <a:lnTo>
                      <a:pt x="3472" y="3602"/>
                    </a:lnTo>
                    <a:lnTo>
                      <a:pt x="3470" y="3602"/>
                    </a:lnTo>
                    <a:lnTo>
                      <a:pt x="3468" y="3604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68" y="3612"/>
                    </a:lnTo>
                    <a:lnTo>
                      <a:pt x="3464" y="3612"/>
                    </a:lnTo>
                    <a:lnTo>
                      <a:pt x="3460" y="3610"/>
                    </a:lnTo>
                    <a:lnTo>
                      <a:pt x="3456" y="3608"/>
                    </a:lnTo>
                    <a:lnTo>
                      <a:pt x="3456" y="3608"/>
                    </a:lnTo>
                    <a:lnTo>
                      <a:pt x="3458" y="3604"/>
                    </a:lnTo>
                    <a:lnTo>
                      <a:pt x="3460" y="3604"/>
                    </a:lnTo>
                    <a:lnTo>
                      <a:pt x="3460" y="3602"/>
                    </a:lnTo>
                    <a:lnTo>
                      <a:pt x="3460" y="3600"/>
                    </a:lnTo>
                    <a:lnTo>
                      <a:pt x="3460" y="3600"/>
                    </a:lnTo>
                    <a:lnTo>
                      <a:pt x="3458" y="3600"/>
                    </a:lnTo>
                    <a:lnTo>
                      <a:pt x="3454" y="3600"/>
                    </a:lnTo>
                    <a:lnTo>
                      <a:pt x="3452" y="3600"/>
                    </a:lnTo>
                    <a:lnTo>
                      <a:pt x="3452" y="3596"/>
                    </a:lnTo>
                    <a:lnTo>
                      <a:pt x="3452" y="3596"/>
                    </a:lnTo>
                    <a:lnTo>
                      <a:pt x="3452" y="3590"/>
                    </a:lnTo>
                    <a:lnTo>
                      <a:pt x="3450" y="3588"/>
                    </a:lnTo>
                    <a:lnTo>
                      <a:pt x="3444" y="3584"/>
                    </a:lnTo>
                    <a:lnTo>
                      <a:pt x="3444" y="3584"/>
                    </a:lnTo>
                    <a:lnTo>
                      <a:pt x="3440" y="3578"/>
                    </a:lnTo>
                    <a:lnTo>
                      <a:pt x="3432" y="3568"/>
                    </a:lnTo>
                    <a:lnTo>
                      <a:pt x="3422" y="3558"/>
                    </a:lnTo>
                    <a:lnTo>
                      <a:pt x="3412" y="3544"/>
                    </a:lnTo>
                    <a:lnTo>
                      <a:pt x="3412" y="3544"/>
                    </a:lnTo>
                    <a:lnTo>
                      <a:pt x="3406" y="3534"/>
                    </a:lnTo>
                    <a:lnTo>
                      <a:pt x="3404" y="3528"/>
                    </a:lnTo>
                    <a:lnTo>
                      <a:pt x="3404" y="3522"/>
                    </a:lnTo>
                    <a:lnTo>
                      <a:pt x="3400" y="3516"/>
                    </a:lnTo>
                    <a:lnTo>
                      <a:pt x="3400" y="3516"/>
                    </a:lnTo>
                    <a:lnTo>
                      <a:pt x="3396" y="3512"/>
                    </a:lnTo>
                    <a:lnTo>
                      <a:pt x="3392" y="3504"/>
                    </a:lnTo>
                    <a:lnTo>
                      <a:pt x="3392" y="3504"/>
                    </a:lnTo>
                    <a:lnTo>
                      <a:pt x="3392" y="3498"/>
                    </a:lnTo>
                    <a:lnTo>
                      <a:pt x="3392" y="3492"/>
                    </a:lnTo>
                    <a:lnTo>
                      <a:pt x="3396" y="3486"/>
                    </a:lnTo>
                    <a:lnTo>
                      <a:pt x="3398" y="3484"/>
                    </a:lnTo>
                    <a:lnTo>
                      <a:pt x="3398" y="3484"/>
                    </a:lnTo>
                    <a:lnTo>
                      <a:pt x="3400" y="3482"/>
                    </a:lnTo>
                    <a:lnTo>
                      <a:pt x="3400" y="3478"/>
                    </a:lnTo>
                    <a:lnTo>
                      <a:pt x="3398" y="3474"/>
                    </a:lnTo>
                    <a:lnTo>
                      <a:pt x="3396" y="3472"/>
                    </a:lnTo>
                    <a:lnTo>
                      <a:pt x="3396" y="3472"/>
                    </a:lnTo>
                    <a:lnTo>
                      <a:pt x="3396" y="3470"/>
                    </a:lnTo>
                    <a:lnTo>
                      <a:pt x="3394" y="3470"/>
                    </a:lnTo>
                    <a:lnTo>
                      <a:pt x="3396" y="3464"/>
                    </a:lnTo>
                    <a:lnTo>
                      <a:pt x="3400" y="3452"/>
                    </a:lnTo>
                    <a:lnTo>
                      <a:pt x="3400" y="3452"/>
                    </a:lnTo>
                    <a:lnTo>
                      <a:pt x="3400" y="3446"/>
                    </a:lnTo>
                    <a:lnTo>
                      <a:pt x="3402" y="3444"/>
                    </a:lnTo>
                    <a:lnTo>
                      <a:pt x="3404" y="3444"/>
                    </a:lnTo>
                    <a:lnTo>
                      <a:pt x="3404" y="3444"/>
                    </a:lnTo>
                    <a:lnTo>
                      <a:pt x="3408" y="3444"/>
                    </a:lnTo>
                    <a:lnTo>
                      <a:pt x="3406" y="3438"/>
                    </a:lnTo>
                    <a:lnTo>
                      <a:pt x="3406" y="3438"/>
                    </a:lnTo>
                    <a:lnTo>
                      <a:pt x="3406" y="3424"/>
                    </a:lnTo>
                    <a:lnTo>
                      <a:pt x="3404" y="3404"/>
                    </a:lnTo>
                    <a:lnTo>
                      <a:pt x="3404" y="3404"/>
                    </a:lnTo>
                    <a:lnTo>
                      <a:pt x="3402" y="3396"/>
                    </a:lnTo>
                    <a:lnTo>
                      <a:pt x="3404" y="3392"/>
                    </a:lnTo>
                    <a:lnTo>
                      <a:pt x="3406" y="3386"/>
                    </a:lnTo>
                    <a:lnTo>
                      <a:pt x="3408" y="3378"/>
                    </a:lnTo>
                    <a:lnTo>
                      <a:pt x="3408" y="3378"/>
                    </a:lnTo>
                    <a:lnTo>
                      <a:pt x="3410" y="3368"/>
                    </a:lnTo>
                    <a:lnTo>
                      <a:pt x="3414" y="3358"/>
                    </a:lnTo>
                    <a:lnTo>
                      <a:pt x="3418" y="3350"/>
                    </a:lnTo>
                    <a:lnTo>
                      <a:pt x="3418" y="3346"/>
                    </a:lnTo>
                    <a:lnTo>
                      <a:pt x="3418" y="3342"/>
                    </a:lnTo>
                    <a:lnTo>
                      <a:pt x="3418" y="3342"/>
                    </a:lnTo>
                    <a:lnTo>
                      <a:pt x="3416" y="3334"/>
                    </a:lnTo>
                    <a:lnTo>
                      <a:pt x="3416" y="3328"/>
                    </a:lnTo>
                    <a:lnTo>
                      <a:pt x="3418" y="3324"/>
                    </a:lnTo>
                    <a:lnTo>
                      <a:pt x="3420" y="3318"/>
                    </a:lnTo>
                    <a:lnTo>
                      <a:pt x="3420" y="3318"/>
                    </a:lnTo>
                    <a:lnTo>
                      <a:pt x="3420" y="3314"/>
                    </a:lnTo>
                    <a:lnTo>
                      <a:pt x="3418" y="3310"/>
                    </a:lnTo>
                    <a:lnTo>
                      <a:pt x="3412" y="3304"/>
                    </a:lnTo>
                    <a:lnTo>
                      <a:pt x="3406" y="3300"/>
                    </a:lnTo>
                    <a:lnTo>
                      <a:pt x="3406" y="3300"/>
                    </a:lnTo>
                    <a:lnTo>
                      <a:pt x="3388" y="3290"/>
                    </a:lnTo>
                    <a:lnTo>
                      <a:pt x="3380" y="3280"/>
                    </a:lnTo>
                    <a:lnTo>
                      <a:pt x="3380" y="3280"/>
                    </a:lnTo>
                    <a:lnTo>
                      <a:pt x="3372" y="3274"/>
                    </a:lnTo>
                    <a:lnTo>
                      <a:pt x="3360" y="3270"/>
                    </a:lnTo>
                    <a:lnTo>
                      <a:pt x="3350" y="3268"/>
                    </a:lnTo>
                    <a:lnTo>
                      <a:pt x="3344" y="3268"/>
                    </a:lnTo>
                    <a:lnTo>
                      <a:pt x="3344" y="3268"/>
                    </a:lnTo>
                    <a:lnTo>
                      <a:pt x="3340" y="3270"/>
                    </a:lnTo>
                    <a:lnTo>
                      <a:pt x="3334" y="3270"/>
                    </a:lnTo>
                    <a:lnTo>
                      <a:pt x="3326" y="3270"/>
                    </a:lnTo>
                    <a:lnTo>
                      <a:pt x="3320" y="3268"/>
                    </a:lnTo>
                    <a:lnTo>
                      <a:pt x="3320" y="3268"/>
                    </a:lnTo>
                    <a:lnTo>
                      <a:pt x="3308" y="3264"/>
                    </a:lnTo>
                    <a:lnTo>
                      <a:pt x="3306" y="3264"/>
                    </a:lnTo>
                    <a:lnTo>
                      <a:pt x="3308" y="3266"/>
                    </a:lnTo>
                    <a:lnTo>
                      <a:pt x="3308" y="3266"/>
                    </a:lnTo>
                    <a:lnTo>
                      <a:pt x="3308" y="3268"/>
                    </a:lnTo>
                    <a:lnTo>
                      <a:pt x="3308" y="3270"/>
                    </a:lnTo>
                    <a:lnTo>
                      <a:pt x="3304" y="3272"/>
                    </a:lnTo>
                    <a:lnTo>
                      <a:pt x="3292" y="3276"/>
                    </a:lnTo>
                    <a:lnTo>
                      <a:pt x="3292" y="3276"/>
                    </a:lnTo>
                    <a:lnTo>
                      <a:pt x="3278" y="3278"/>
                    </a:lnTo>
                    <a:lnTo>
                      <a:pt x="3266" y="3276"/>
                    </a:lnTo>
                    <a:lnTo>
                      <a:pt x="3258" y="3274"/>
                    </a:lnTo>
                    <a:lnTo>
                      <a:pt x="3248" y="3274"/>
                    </a:lnTo>
                    <a:lnTo>
                      <a:pt x="3248" y="3274"/>
                    </a:lnTo>
                    <a:lnTo>
                      <a:pt x="3244" y="3276"/>
                    </a:lnTo>
                    <a:lnTo>
                      <a:pt x="3242" y="3274"/>
                    </a:lnTo>
                    <a:lnTo>
                      <a:pt x="3240" y="3272"/>
                    </a:lnTo>
                    <a:lnTo>
                      <a:pt x="3238" y="3270"/>
                    </a:lnTo>
                    <a:lnTo>
                      <a:pt x="3238" y="3270"/>
                    </a:lnTo>
                    <a:lnTo>
                      <a:pt x="3236" y="3270"/>
                    </a:lnTo>
                    <a:lnTo>
                      <a:pt x="3232" y="3272"/>
                    </a:lnTo>
                    <a:lnTo>
                      <a:pt x="3226" y="3276"/>
                    </a:lnTo>
                    <a:lnTo>
                      <a:pt x="3222" y="3282"/>
                    </a:lnTo>
                    <a:lnTo>
                      <a:pt x="3218" y="3282"/>
                    </a:lnTo>
                    <a:lnTo>
                      <a:pt x="3216" y="3280"/>
                    </a:lnTo>
                    <a:lnTo>
                      <a:pt x="3216" y="3280"/>
                    </a:lnTo>
                    <a:lnTo>
                      <a:pt x="3206" y="3272"/>
                    </a:lnTo>
                    <a:lnTo>
                      <a:pt x="3202" y="3268"/>
                    </a:lnTo>
                    <a:lnTo>
                      <a:pt x="3200" y="3268"/>
                    </a:lnTo>
                    <a:lnTo>
                      <a:pt x="3202" y="3270"/>
                    </a:lnTo>
                    <a:lnTo>
                      <a:pt x="3202" y="3270"/>
                    </a:lnTo>
                    <a:lnTo>
                      <a:pt x="3204" y="3274"/>
                    </a:lnTo>
                    <a:lnTo>
                      <a:pt x="3202" y="3280"/>
                    </a:lnTo>
                    <a:lnTo>
                      <a:pt x="3202" y="3280"/>
                    </a:lnTo>
                    <a:lnTo>
                      <a:pt x="3200" y="3282"/>
                    </a:lnTo>
                    <a:lnTo>
                      <a:pt x="3198" y="3280"/>
                    </a:lnTo>
                    <a:lnTo>
                      <a:pt x="3194" y="3274"/>
                    </a:lnTo>
                    <a:lnTo>
                      <a:pt x="3188" y="3270"/>
                    </a:lnTo>
                    <a:lnTo>
                      <a:pt x="3188" y="3270"/>
                    </a:lnTo>
                    <a:lnTo>
                      <a:pt x="3188" y="3268"/>
                    </a:lnTo>
                    <a:lnTo>
                      <a:pt x="3190" y="3264"/>
                    </a:lnTo>
                    <a:lnTo>
                      <a:pt x="3196" y="3256"/>
                    </a:lnTo>
                    <a:lnTo>
                      <a:pt x="3202" y="3250"/>
                    </a:lnTo>
                    <a:lnTo>
                      <a:pt x="3208" y="3242"/>
                    </a:lnTo>
                    <a:lnTo>
                      <a:pt x="3208" y="3242"/>
                    </a:lnTo>
                    <a:lnTo>
                      <a:pt x="3212" y="3236"/>
                    </a:lnTo>
                    <a:lnTo>
                      <a:pt x="3214" y="3228"/>
                    </a:lnTo>
                    <a:lnTo>
                      <a:pt x="3216" y="3206"/>
                    </a:lnTo>
                    <a:lnTo>
                      <a:pt x="3218" y="3182"/>
                    </a:lnTo>
                    <a:lnTo>
                      <a:pt x="3222" y="3160"/>
                    </a:lnTo>
                    <a:lnTo>
                      <a:pt x="3222" y="3160"/>
                    </a:lnTo>
                    <a:lnTo>
                      <a:pt x="3222" y="3154"/>
                    </a:lnTo>
                    <a:lnTo>
                      <a:pt x="3220" y="3150"/>
                    </a:lnTo>
                    <a:lnTo>
                      <a:pt x="3218" y="3148"/>
                    </a:lnTo>
                    <a:lnTo>
                      <a:pt x="3216" y="3148"/>
                    </a:lnTo>
                    <a:lnTo>
                      <a:pt x="3216" y="3148"/>
                    </a:lnTo>
                    <a:lnTo>
                      <a:pt x="3214" y="3150"/>
                    </a:lnTo>
                    <a:lnTo>
                      <a:pt x="3212" y="3150"/>
                    </a:lnTo>
                    <a:lnTo>
                      <a:pt x="3212" y="3144"/>
                    </a:lnTo>
                    <a:lnTo>
                      <a:pt x="3212" y="3144"/>
                    </a:lnTo>
                    <a:lnTo>
                      <a:pt x="3220" y="3128"/>
                    </a:lnTo>
                    <a:lnTo>
                      <a:pt x="3220" y="3128"/>
                    </a:lnTo>
                    <a:lnTo>
                      <a:pt x="3222" y="3124"/>
                    </a:lnTo>
                    <a:lnTo>
                      <a:pt x="3224" y="3124"/>
                    </a:lnTo>
                    <a:lnTo>
                      <a:pt x="3224" y="3128"/>
                    </a:lnTo>
                    <a:lnTo>
                      <a:pt x="3222" y="3134"/>
                    </a:lnTo>
                    <a:lnTo>
                      <a:pt x="3222" y="3134"/>
                    </a:lnTo>
                    <a:lnTo>
                      <a:pt x="3222" y="3140"/>
                    </a:lnTo>
                    <a:lnTo>
                      <a:pt x="3224" y="3144"/>
                    </a:lnTo>
                    <a:lnTo>
                      <a:pt x="3226" y="3148"/>
                    </a:lnTo>
                    <a:lnTo>
                      <a:pt x="3230" y="3154"/>
                    </a:lnTo>
                    <a:lnTo>
                      <a:pt x="3230" y="3154"/>
                    </a:lnTo>
                    <a:lnTo>
                      <a:pt x="3232" y="3156"/>
                    </a:lnTo>
                    <a:lnTo>
                      <a:pt x="3232" y="3152"/>
                    </a:lnTo>
                    <a:lnTo>
                      <a:pt x="3236" y="3138"/>
                    </a:lnTo>
                    <a:lnTo>
                      <a:pt x="3242" y="3118"/>
                    </a:lnTo>
                    <a:lnTo>
                      <a:pt x="3244" y="3104"/>
                    </a:lnTo>
                    <a:lnTo>
                      <a:pt x="3244" y="3104"/>
                    </a:lnTo>
                    <a:lnTo>
                      <a:pt x="3246" y="3102"/>
                    </a:lnTo>
                    <a:lnTo>
                      <a:pt x="3244" y="3102"/>
                    </a:lnTo>
                    <a:lnTo>
                      <a:pt x="3240" y="3102"/>
                    </a:lnTo>
                    <a:lnTo>
                      <a:pt x="3238" y="3102"/>
                    </a:lnTo>
                    <a:lnTo>
                      <a:pt x="3242" y="3098"/>
                    </a:lnTo>
                    <a:lnTo>
                      <a:pt x="3242" y="3098"/>
                    </a:lnTo>
                    <a:lnTo>
                      <a:pt x="3250" y="3088"/>
                    </a:lnTo>
                    <a:lnTo>
                      <a:pt x="3248" y="3086"/>
                    </a:lnTo>
                    <a:lnTo>
                      <a:pt x="3244" y="3088"/>
                    </a:lnTo>
                    <a:lnTo>
                      <a:pt x="3244" y="3088"/>
                    </a:lnTo>
                    <a:lnTo>
                      <a:pt x="3238" y="3090"/>
                    </a:lnTo>
                    <a:lnTo>
                      <a:pt x="3236" y="3088"/>
                    </a:lnTo>
                    <a:lnTo>
                      <a:pt x="3236" y="3084"/>
                    </a:lnTo>
                    <a:lnTo>
                      <a:pt x="3242" y="3078"/>
                    </a:lnTo>
                    <a:lnTo>
                      <a:pt x="3242" y="3078"/>
                    </a:lnTo>
                    <a:lnTo>
                      <a:pt x="3246" y="3076"/>
                    </a:lnTo>
                    <a:lnTo>
                      <a:pt x="3248" y="3072"/>
                    </a:lnTo>
                    <a:lnTo>
                      <a:pt x="3248" y="3064"/>
                    </a:lnTo>
                    <a:lnTo>
                      <a:pt x="3252" y="3050"/>
                    </a:lnTo>
                    <a:lnTo>
                      <a:pt x="3256" y="3040"/>
                    </a:lnTo>
                    <a:lnTo>
                      <a:pt x="3264" y="3030"/>
                    </a:lnTo>
                    <a:lnTo>
                      <a:pt x="3264" y="3030"/>
                    </a:lnTo>
                    <a:lnTo>
                      <a:pt x="3274" y="3016"/>
                    </a:lnTo>
                    <a:lnTo>
                      <a:pt x="3276" y="3010"/>
                    </a:lnTo>
                    <a:lnTo>
                      <a:pt x="3274" y="3006"/>
                    </a:lnTo>
                    <a:lnTo>
                      <a:pt x="3272" y="3002"/>
                    </a:lnTo>
                    <a:lnTo>
                      <a:pt x="3272" y="3002"/>
                    </a:lnTo>
                    <a:lnTo>
                      <a:pt x="3272" y="2996"/>
                    </a:lnTo>
                    <a:lnTo>
                      <a:pt x="3272" y="2994"/>
                    </a:lnTo>
                    <a:lnTo>
                      <a:pt x="3268" y="2992"/>
                    </a:lnTo>
                    <a:lnTo>
                      <a:pt x="3266" y="2988"/>
                    </a:lnTo>
                    <a:lnTo>
                      <a:pt x="3266" y="2988"/>
                    </a:lnTo>
                    <a:lnTo>
                      <a:pt x="3264" y="2986"/>
                    </a:lnTo>
                    <a:lnTo>
                      <a:pt x="3260" y="2986"/>
                    </a:lnTo>
                    <a:lnTo>
                      <a:pt x="3256" y="2986"/>
                    </a:lnTo>
                    <a:lnTo>
                      <a:pt x="3252" y="2988"/>
                    </a:lnTo>
                    <a:lnTo>
                      <a:pt x="3252" y="2988"/>
                    </a:lnTo>
                    <a:lnTo>
                      <a:pt x="3254" y="2990"/>
                    </a:lnTo>
                    <a:lnTo>
                      <a:pt x="3254" y="2990"/>
                    </a:lnTo>
                    <a:lnTo>
                      <a:pt x="3260" y="2990"/>
                    </a:lnTo>
                    <a:lnTo>
                      <a:pt x="3260" y="2992"/>
                    </a:lnTo>
                    <a:lnTo>
                      <a:pt x="3256" y="2994"/>
                    </a:lnTo>
                    <a:lnTo>
                      <a:pt x="3256" y="2994"/>
                    </a:lnTo>
                    <a:lnTo>
                      <a:pt x="3254" y="2994"/>
                    </a:lnTo>
                    <a:lnTo>
                      <a:pt x="3250" y="2994"/>
                    </a:lnTo>
                    <a:lnTo>
                      <a:pt x="3242" y="2990"/>
                    </a:lnTo>
                    <a:lnTo>
                      <a:pt x="3230" y="2988"/>
                    </a:lnTo>
                    <a:lnTo>
                      <a:pt x="3222" y="2986"/>
                    </a:lnTo>
                    <a:lnTo>
                      <a:pt x="3214" y="2986"/>
                    </a:lnTo>
                    <a:lnTo>
                      <a:pt x="3214" y="2986"/>
                    </a:lnTo>
                    <a:lnTo>
                      <a:pt x="3202" y="2990"/>
                    </a:lnTo>
                    <a:lnTo>
                      <a:pt x="3196" y="2992"/>
                    </a:lnTo>
                    <a:lnTo>
                      <a:pt x="3190" y="2996"/>
                    </a:lnTo>
                    <a:lnTo>
                      <a:pt x="3180" y="2998"/>
                    </a:lnTo>
                    <a:lnTo>
                      <a:pt x="3180" y="2998"/>
                    </a:lnTo>
                    <a:lnTo>
                      <a:pt x="3162" y="3000"/>
                    </a:lnTo>
                    <a:lnTo>
                      <a:pt x="3146" y="3004"/>
                    </a:lnTo>
                    <a:lnTo>
                      <a:pt x="3140" y="3008"/>
                    </a:lnTo>
                    <a:lnTo>
                      <a:pt x="3134" y="3012"/>
                    </a:lnTo>
                    <a:lnTo>
                      <a:pt x="3130" y="3016"/>
                    </a:lnTo>
                    <a:lnTo>
                      <a:pt x="3130" y="3020"/>
                    </a:lnTo>
                    <a:lnTo>
                      <a:pt x="3130" y="3020"/>
                    </a:lnTo>
                    <a:lnTo>
                      <a:pt x="3128" y="3028"/>
                    </a:lnTo>
                    <a:lnTo>
                      <a:pt x="3126" y="3034"/>
                    </a:lnTo>
                    <a:lnTo>
                      <a:pt x="3124" y="3040"/>
                    </a:lnTo>
                    <a:lnTo>
                      <a:pt x="3124" y="3056"/>
                    </a:lnTo>
                    <a:lnTo>
                      <a:pt x="3124" y="3056"/>
                    </a:lnTo>
                    <a:lnTo>
                      <a:pt x="3126" y="3068"/>
                    </a:lnTo>
                    <a:lnTo>
                      <a:pt x="3124" y="3070"/>
                    </a:lnTo>
                    <a:lnTo>
                      <a:pt x="3122" y="3072"/>
                    </a:lnTo>
                    <a:lnTo>
                      <a:pt x="3118" y="3076"/>
                    </a:lnTo>
                    <a:lnTo>
                      <a:pt x="3116" y="3080"/>
                    </a:lnTo>
                    <a:lnTo>
                      <a:pt x="3116" y="3088"/>
                    </a:lnTo>
                    <a:lnTo>
                      <a:pt x="3116" y="3088"/>
                    </a:lnTo>
                    <a:lnTo>
                      <a:pt x="3114" y="3096"/>
                    </a:lnTo>
                    <a:lnTo>
                      <a:pt x="3112" y="3102"/>
                    </a:lnTo>
                    <a:lnTo>
                      <a:pt x="3108" y="3108"/>
                    </a:lnTo>
                    <a:lnTo>
                      <a:pt x="3104" y="3112"/>
                    </a:lnTo>
                    <a:lnTo>
                      <a:pt x="3094" y="3118"/>
                    </a:lnTo>
                    <a:lnTo>
                      <a:pt x="3086" y="3122"/>
                    </a:lnTo>
                    <a:lnTo>
                      <a:pt x="3086" y="3122"/>
                    </a:lnTo>
                    <a:lnTo>
                      <a:pt x="3084" y="3126"/>
                    </a:lnTo>
                    <a:lnTo>
                      <a:pt x="3084" y="3126"/>
                    </a:lnTo>
                    <a:lnTo>
                      <a:pt x="3088" y="3128"/>
                    </a:lnTo>
                    <a:lnTo>
                      <a:pt x="3092" y="3132"/>
                    </a:lnTo>
                    <a:lnTo>
                      <a:pt x="3092" y="3134"/>
                    </a:lnTo>
                    <a:lnTo>
                      <a:pt x="3090" y="3138"/>
                    </a:lnTo>
                    <a:lnTo>
                      <a:pt x="3090" y="3138"/>
                    </a:lnTo>
                    <a:lnTo>
                      <a:pt x="3086" y="3142"/>
                    </a:lnTo>
                    <a:lnTo>
                      <a:pt x="3078" y="3144"/>
                    </a:lnTo>
                    <a:lnTo>
                      <a:pt x="3072" y="3144"/>
                    </a:lnTo>
                    <a:lnTo>
                      <a:pt x="3070" y="3142"/>
                    </a:lnTo>
                    <a:lnTo>
                      <a:pt x="3070" y="3140"/>
                    </a:lnTo>
                    <a:lnTo>
                      <a:pt x="3070" y="3140"/>
                    </a:lnTo>
                    <a:lnTo>
                      <a:pt x="3068" y="3134"/>
                    </a:lnTo>
                    <a:lnTo>
                      <a:pt x="3066" y="3132"/>
                    </a:lnTo>
                    <a:lnTo>
                      <a:pt x="3058" y="3132"/>
                    </a:lnTo>
                    <a:lnTo>
                      <a:pt x="3046" y="3132"/>
                    </a:lnTo>
                    <a:lnTo>
                      <a:pt x="3046" y="3132"/>
                    </a:lnTo>
                    <a:lnTo>
                      <a:pt x="3038" y="3134"/>
                    </a:lnTo>
                    <a:lnTo>
                      <a:pt x="3034" y="3138"/>
                    </a:lnTo>
                    <a:lnTo>
                      <a:pt x="3028" y="3142"/>
                    </a:lnTo>
                    <a:lnTo>
                      <a:pt x="3010" y="3144"/>
                    </a:lnTo>
                    <a:lnTo>
                      <a:pt x="3010" y="3144"/>
                    </a:lnTo>
                    <a:lnTo>
                      <a:pt x="2996" y="3146"/>
                    </a:lnTo>
                    <a:lnTo>
                      <a:pt x="2986" y="3152"/>
                    </a:lnTo>
                    <a:lnTo>
                      <a:pt x="2978" y="3156"/>
                    </a:lnTo>
                    <a:lnTo>
                      <a:pt x="2968" y="3160"/>
                    </a:lnTo>
                    <a:lnTo>
                      <a:pt x="2968" y="3160"/>
                    </a:lnTo>
                    <a:lnTo>
                      <a:pt x="2964" y="3160"/>
                    </a:lnTo>
                    <a:lnTo>
                      <a:pt x="2960" y="3158"/>
                    </a:lnTo>
                    <a:lnTo>
                      <a:pt x="2956" y="3148"/>
                    </a:lnTo>
                    <a:lnTo>
                      <a:pt x="2952" y="3144"/>
                    </a:lnTo>
                    <a:lnTo>
                      <a:pt x="2946" y="3138"/>
                    </a:lnTo>
                    <a:lnTo>
                      <a:pt x="2938" y="3134"/>
                    </a:lnTo>
                    <a:lnTo>
                      <a:pt x="2924" y="3130"/>
                    </a:lnTo>
                    <a:lnTo>
                      <a:pt x="2924" y="3130"/>
                    </a:lnTo>
                    <a:lnTo>
                      <a:pt x="2912" y="3126"/>
                    </a:lnTo>
                    <a:lnTo>
                      <a:pt x="2904" y="3120"/>
                    </a:lnTo>
                    <a:lnTo>
                      <a:pt x="2898" y="3112"/>
                    </a:lnTo>
                    <a:lnTo>
                      <a:pt x="2894" y="3102"/>
                    </a:lnTo>
                    <a:lnTo>
                      <a:pt x="2884" y="3076"/>
                    </a:lnTo>
                    <a:lnTo>
                      <a:pt x="2876" y="3062"/>
                    </a:lnTo>
                    <a:lnTo>
                      <a:pt x="2864" y="3046"/>
                    </a:lnTo>
                    <a:lnTo>
                      <a:pt x="2864" y="3046"/>
                    </a:lnTo>
                    <a:lnTo>
                      <a:pt x="2858" y="3036"/>
                    </a:lnTo>
                    <a:lnTo>
                      <a:pt x="2852" y="3028"/>
                    </a:lnTo>
                    <a:lnTo>
                      <a:pt x="2848" y="3010"/>
                    </a:lnTo>
                    <a:lnTo>
                      <a:pt x="2844" y="2998"/>
                    </a:lnTo>
                    <a:lnTo>
                      <a:pt x="2844" y="2994"/>
                    </a:lnTo>
                    <a:lnTo>
                      <a:pt x="2842" y="2992"/>
                    </a:lnTo>
                    <a:lnTo>
                      <a:pt x="2842" y="2992"/>
                    </a:lnTo>
                    <a:lnTo>
                      <a:pt x="2838" y="2990"/>
                    </a:lnTo>
                    <a:lnTo>
                      <a:pt x="2836" y="2988"/>
                    </a:lnTo>
                    <a:lnTo>
                      <a:pt x="2834" y="2976"/>
                    </a:lnTo>
                    <a:lnTo>
                      <a:pt x="2830" y="2948"/>
                    </a:lnTo>
                    <a:lnTo>
                      <a:pt x="2830" y="2948"/>
                    </a:lnTo>
                    <a:lnTo>
                      <a:pt x="2830" y="2938"/>
                    </a:lnTo>
                    <a:lnTo>
                      <a:pt x="2828" y="2934"/>
                    </a:lnTo>
                    <a:lnTo>
                      <a:pt x="2828" y="2932"/>
                    </a:lnTo>
                    <a:lnTo>
                      <a:pt x="2830" y="2926"/>
                    </a:lnTo>
                    <a:lnTo>
                      <a:pt x="2830" y="2926"/>
                    </a:lnTo>
                    <a:lnTo>
                      <a:pt x="2830" y="2916"/>
                    </a:lnTo>
                    <a:lnTo>
                      <a:pt x="2830" y="2906"/>
                    </a:lnTo>
                    <a:lnTo>
                      <a:pt x="2830" y="2886"/>
                    </a:lnTo>
                    <a:lnTo>
                      <a:pt x="2834" y="2854"/>
                    </a:lnTo>
                    <a:lnTo>
                      <a:pt x="2834" y="2854"/>
                    </a:lnTo>
                    <a:lnTo>
                      <a:pt x="2840" y="2820"/>
                    </a:lnTo>
                    <a:lnTo>
                      <a:pt x="2846" y="2800"/>
                    </a:lnTo>
                    <a:lnTo>
                      <a:pt x="2852" y="2784"/>
                    </a:lnTo>
                    <a:lnTo>
                      <a:pt x="2856" y="2766"/>
                    </a:lnTo>
                    <a:lnTo>
                      <a:pt x="2856" y="2766"/>
                    </a:lnTo>
                    <a:lnTo>
                      <a:pt x="2854" y="2748"/>
                    </a:lnTo>
                    <a:lnTo>
                      <a:pt x="2850" y="2728"/>
                    </a:lnTo>
                    <a:lnTo>
                      <a:pt x="2846" y="2710"/>
                    </a:lnTo>
                    <a:lnTo>
                      <a:pt x="2846" y="2696"/>
                    </a:lnTo>
                    <a:lnTo>
                      <a:pt x="2846" y="2696"/>
                    </a:lnTo>
                    <a:lnTo>
                      <a:pt x="2850" y="2686"/>
                    </a:lnTo>
                    <a:lnTo>
                      <a:pt x="2854" y="2678"/>
                    </a:lnTo>
                    <a:lnTo>
                      <a:pt x="2858" y="2672"/>
                    </a:lnTo>
                    <a:lnTo>
                      <a:pt x="2864" y="2662"/>
                    </a:lnTo>
                    <a:lnTo>
                      <a:pt x="2864" y="2662"/>
                    </a:lnTo>
                    <a:lnTo>
                      <a:pt x="2866" y="2658"/>
                    </a:lnTo>
                    <a:lnTo>
                      <a:pt x="2870" y="2654"/>
                    </a:lnTo>
                    <a:lnTo>
                      <a:pt x="2880" y="2646"/>
                    </a:lnTo>
                    <a:lnTo>
                      <a:pt x="2886" y="2642"/>
                    </a:lnTo>
                    <a:lnTo>
                      <a:pt x="2888" y="2640"/>
                    </a:lnTo>
                    <a:lnTo>
                      <a:pt x="2886" y="2638"/>
                    </a:lnTo>
                    <a:lnTo>
                      <a:pt x="2886" y="2638"/>
                    </a:lnTo>
                    <a:lnTo>
                      <a:pt x="2880" y="2628"/>
                    </a:lnTo>
                    <a:lnTo>
                      <a:pt x="2878" y="2626"/>
                    </a:lnTo>
                    <a:lnTo>
                      <a:pt x="2882" y="2628"/>
                    </a:lnTo>
                    <a:lnTo>
                      <a:pt x="2882" y="2628"/>
                    </a:lnTo>
                    <a:lnTo>
                      <a:pt x="2886" y="2628"/>
                    </a:lnTo>
                    <a:lnTo>
                      <a:pt x="2890" y="2628"/>
                    </a:lnTo>
                    <a:lnTo>
                      <a:pt x="2892" y="2626"/>
                    </a:lnTo>
                    <a:lnTo>
                      <a:pt x="2894" y="2628"/>
                    </a:lnTo>
                    <a:lnTo>
                      <a:pt x="2894" y="2628"/>
                    </a:lnTo>
                    <a:lnTo>
                      <a:pt x="2896" y="2628"/>
                    </a:lnTo>
                    <a:lnTo>
                      <a:pt x="2902" y="2628"/>
                    </a:lnTo>
                    <a:lnTo>
                      <a:pt x="2912" y="2624"/>
                    </a:lnTo>
                    <a:lnTo>
                      <a:pt x="2926" y="2616"/>
                    </a:lnTo>
                    <a:lnTo>
                      <a:pt x="2936" y="2606"/>
                    </a:lnTo>
                    <a:lnTo>
                      <a:pt x="2936" y="2606"/>
                    </a:lnTo>
                    <a:lnTo>
                      <a:pt x="2942" y="2600"/>
                    </a:lnTo>
                    <a:lnTo>
                      <a:pt x="2948" y="2594"/>
                    </a:lnTo>
                    <a:lnTo>
                      <a:pt x="2964" y="2584"/>
                    </a:lnTo>
                    <a:lnTo>
                      <a:pt x="2964" y="2584"/>
                    </a:lnTo>
                    <a:lnTo>
                      <a:pt x="2980" y="2572"/>
                    </a:lnTo>
                    <a:lnTo>
                      <a:pt x="2990" y="2570"/>
                    </a:lnTo>
                    <a:lnTo>
                      <a:pt x="3006" y="2568"/>
                    </a:lnTo>
                    <a:lnTo>
                      <a:pt x="3006" y="2568"/>
                    </a:lnTo>
                    <a:lnTo>
                      <a:pt x="3014" y="2568"/>
                    </a:lnTo>
                    <a:lnTo>
                      <a:pt x="3020" y="2570"/>
                    </a:lnTo>
                    <a:lnTo>
                      <a:pt x="3032" y="2574"/>
                    </a:lnTo>
                    <a:lnTo>
                      <a:pt x="3040" y="2580"/>
                    </a:lnTo>
                    <a:lnTo>
                      <a:pt x="3046" y="2580"/>
                    </a:lnTo>
                    <a:lnTo>
                      <a:pt x="3050" y="2580"/>
                    </a:lnTo>
                    <a:lnTo>
                      <a:pt x="3050" y="2580"/>
                    </a:lnTo>
                    <a:lnTo>
                      <a:pt x="3060" y="2578"/>
                    </a:lnTo>
                    <a:lnTo>
                      <a:pt x="3064" y="2580"/>
                    </a:lnTo>
                    <a:lnTo>
                      <a:pt x="3068" y="2582"/>
                    </a:lnTo>
                    <a:lnTo>
                      <a:pt x="3072" y="2580"/>
                    </a:lnTo>
                    <a:lnTo>
                      <a:pt x="3072" y="2580"/>
                    </a:lnTo>
                    <a:lnTo>
                      <a:pt x="3074" y="2578"/>
                    </a:lnTo>
                    <a:lnTo>
                      <a:pt x="3072" y="2578"/>
                    </a:lnTo>
                    <a:lnTo>
                      <a:pt x="3066" y="2576"/>
                    </a:lnTo>
                    <a:lnTo>
                      <a:pt x="3058" y="2572"/>
                    </a:lnTo>
                    <a:lnTo>
                      <a:pt x="3058" y="2572"/>
                    </a:lnTo>
                    <a:lnTo>
                      <a:pt x="3060" y="2568"/>
                    </a:lnTo>
                    <a:lnTo>
                      <a:pt x="3060" y="2568"/>
                    </a:lnTo>
                    <a:lnTo>
                      <a:pt x="3068" y="2566"/>
                    </a:lnTo>
                    <a:lnTo>
                      <a:pt x="3074" y="2568"/>
                    </a:lnTo>
                    <a:lnTo>
                      <a:pt x="3078" y="2572"/>
                    </a:lnTo>
                    <a:lnTo>
                      <a:pt x="3082" y="2578"/>
                    </a:lnTo>
                    <a:lnTo>
                      <a:pt x="3082" y="2578"/>
                    </a:lnTo>
                    <a:lnTo>
                      <a:pt x="3084" y="2580"/>
                    </a:lnTo>
                    <a:lnTo>
                      <a:pt x="3086" y="2582"/>
                    </a:lnTo>
                    <a:lnTo>
                      <a:pt x="3092" y="2584"/>
                    </a:lnTo>
                    <a:lnTo>
                      <a:pt x="3096" y="2586"/>
                    </a:lnTo>
                    <a:lnTo>
                      <a:pt x="3094" y="2588"/>
                    </a:lnTo>
                    <a:lnTo>
                      <a:pt x="3092" y="2590"/>
                    </a:lnTo>
                    <a:lnTo>
                      <a:pt x="3092" y="2590"/>
                    </a:lnTo>
                    <a:lnTo>
                      <a:pt x="3092" y="2594"/>
                    </a:lnTo>
                    <a:lnTo>
                      <a:pt x="3094" y="2596"/>
                    </a:lnTo>
                    <a:lnTo>
                      <a:pt x="3102" y="2600"/>
                    </a:lnTo>
                    <a:lnTo>
                      <a:pt x="3112" y="2600"/>
                    </a:lnTo>
                    <a:lnTo>
                      <a:pt x="3118" y="2600"/>
                    </a:lnTo>
                    <a:lnTo>
                      <a:pt x="3118" y="2600"/>
                    </a:lnTo>
                    <a:lnTo>
                      <a:pt x="3120" y="2596"/>
                    </a:lnTo>
                    <a:lnTo>
                      <a:pt x="3126" y="2594"/>
                    </a:lnTo>
                    <a:lnTo>
                      <a:pt x="3130" y="2594"/>
                    </a:lnTo>
                    <a:lnTo>
                      <a:pt x="3134" y="2600"/>
                    </a:lnTo>
                    <a:lnTo>
                      <a:pt x="3134" y="2600"/>
                    </a:lnTo>
                    <a:lnTo>
                      <a:pt x="3136" y="2602"/>
                    </a:lnTo>
                    <a:lnTo>
                      <a:pt x="3138" y="2604"/>
                    </a:lnTo>
                    <a:lnTo>
                      <a:pt x="3142" y="2602"/>
                    </a:lnTo>
                    <a:lnTo>
                      <a:pt x="3144" y="2596"/>
                    </a:lnTo>
                    <a:lnTo>
                      <a:pt x="3144" y="2592"/>
                    </a:lnTo>
                    <a:lnTo>
                      <a:pt x="3142" y="2588"/>
                    </a:lnTo>
                    <a:lnTo>
                      <a:pt x="3142" y="2588"/>
                    </a:lnTo>
                    <a:lnTo>
                      <a:pt x="3142" y="2584"/>
                    </a:lnTo>
                    <a:lnTo>
                      <a:pt x="3146" y="2584"/>
                    </a:lnTo>
                    <a:lnTo>
                      <a:pt x="3152" y="2586"/>
                    </a:lnTo>
                    <a:lnTo>
                      <a:pt x="3160" y="2594"/>
                    </a:lnTo>
                    <a:lnTo>
                      <a:pt x="3160" y="2594"/>
                    </a:lnTo>
                    <a:lnTo>
                      <a:pt x="3166" y="2602"/>
                    </a:lnTo>
                    <a:lnTo>
                      <a:pt x="3168" y="2608"/>
                    </a:lnTo>
                    <a:lnTo>
                      <a:pt x="3168" y="2610"/>
                    </a:lnTo>
                    <a:lnTo>
                      <a:pt x="3170" y="2610"/>
                    </a:lnTo>
                    <a:lnTo>
                      <a:pt x="3176" y="2606"/>
                    </a:lnTo>
                    <a:lnTo>
                      <a:pt x="3176" y="2606"/>
                    </a:lnTo>
                    <a:lnTo>
                      <a:pt x="3180" y="2602"/>
                    </a:lnTo>
                    <a:lnTo>
                      <a:pt x="3182" y="2600"/>
                    </a:lnTo>
                    <a:lnTo>
                      <a:pt x="3182" y="2596"/>
                    </a:lnTo>
                    <a:lnTo>
                      <a:pt x="3180" y="2594"/>
                    </a:lnTo>
                    <a:lnTo>
                      <a:pt x="3174" y="2590"/>
                    </a:lnTo>
                    <a:lnTo>
                      <a:pt x="3162" y="2584"/>
                    </a:lnTo>
                    <a:lnTo>
                      <a:pt x="3162" y="2584"/>
                    </a:lnTo>
                    <a:lnTo>
                      <a:pt x="3158" y="2580"/>
                    </a:lnTo>
                    <a:lnTo>
                      <a:pt x="3158" y="2578"/>
                    </a:lnTo>
                    <a:lnTo>
                      <a:pt x="3160" y="2576"/>
                    </a:lnTo>
                    <a:lnTo>
                      <a:pt x="3164" y="2574"/>
                    </a:lnTo>
                    <a:lnTo>
                      <a:pt x="3170" y="2568"/>
                    </a:lnTo>
                    <a:lnTo>
                      <a:pt x="3172" y="2564"/>
                    </a:lnTo>
                    <a:lnTo>
                      <a:pt x="3172" y="2560"/>
                    </a:lnTo>
                    <a:lnTo>
                      <a:pt x="3172" y="2560"/>
                    </a:lnTo>
                    <a:lnTo>
                      <a:pt x="3170" y="2556"/>
                    </a:lnTo>
                    <a:lnTo>
                      <a:pt x="3168" y="2556"/>
                    </a:lnTo>
                    <a:lnTo>
                      <a:pt x="3164" y="2558"/>
                    </a:lnTo>
                    <a:lnTo>
                      <a:pt x="3160" y="2562"/>
                    </a:lnTo>
                    <a:lnTo>
                      <a:pt x="3158" y="2562"/>
                    </a:lnTo>
                    <a:lnTo>
                      <a:pt x="3156" y="2562"/>
                    </a:lnTo>
                    <a:lnTo>
                      <a:pt x="3156" y="2562"/>
                    </a:lnTo>
                    <a:lnTo>
                      <a:pt x="3154" y="2560"/>
                    </a:lnTo>
                    <a:lnTo>
                      <a:pt x="3154" y="2558"/>
                    </a:lnTo>
                    <a:lnTo>
                      <a:pt x="3156" y="2556"/>
                    </a:lnTo>
                    <a:lnTo>
                      <a:pt x="3158" y="2552"/>
                    </a:lnTo>
                    <a:lnTo>
                      <a:pt x="3154" y="2550"/>
                    </a:lnTo>
                    <a:lnTo>
                      <a:pt x="3154" y="2550"/>
                    </a:lnTo>
                    <a:lnTo>
                      <a:pt x="3148" y="2550"/>
                    </a:lnTo>
                    <a:lnTo>
                      <a:pt x="3144" y="2554"/>
                    </a:lnTo>
                    <a:lnTo>
                      <a:pt x="3142" y="2556"/>
                    </a:lnTo>
                    <a:lnTo>
                      <a:pt x="3134" y="2554"/>
                    </a:lnTo>
                    <a:lnTo>
                      <a:pt x="3134" y="2554"/>
                    </a:lnTo>
                    <a:lnTo>
                      <a:pt x="3130" y="2550"/>
                    </a:lnTo>
                    <a:lnTo>
                      <a:pt x="3128" y="2548"/>
                    </a:lnTo>
                    <a:lnTo>
                      <a:pt x="3128" y="2544"/>
                    </a:lnTo>
                    <a:lnTo>
                      <a:pt x="3130" y="2540"/>
                    </a:lnTo>
                    <a:lnTo>
                      <a:pt x="3132" y="2538"/>
                    </a:lnTo>
                    <a:lnTo>
                      <a:pt x="3136" y="2536"/>
                    </a:lnTo>
                    <a:lnTo>
                      <a:pt x="3142" y="2536"/>
                    </a:lnTo>
                    <a:lnTo>
                      <a:pt x="3148" y="2538"/>
                    </a:lnTo>
                    <a:lnTo>
                      <a:pt x="3148" y="2538"/>
                    </a:lnTo>
                    <a:lnTo>
                      <a:pt x="3156" y="2544"/>
                    </a:lnTo>
                    <a:lnTo>
                      <a:pt x="3164" y="2546"/>
                    </a:lnTo>
                    <a:lnTo>
                      <a:pt x="3170" y="2544"/>
                    </a:lnTo>
                    <a:lnTo>
                      <a:pt x="3178" y="2538"/>
                    </a:lnTo>
                    <a:lnTo>
                      <a:pt x="3178" y="2538"/>
                    </a:lnTo>
                    <a:lnTo>
                      <a:pt x="3182" y="2536"/>
                    </a:lnTo>
                    <a:lnTo>
                      <a:pt x="3190" y="2536"/>
                    </a:lnTo>
                    <a:lnTo>
                      <a:pt x="3202" y="2536"/>
                    </a:lnTo>
                    <a:lnTo>
                      <a:pt x="3214" y="2538"/>
                    </a:lnTo>
                    <a:lnTo>
                      <a:pt x="3218" y="2538"/>
                    </a:lnTo>
                    <a:lnTo>
                      <a:pt x="3220" y="2536"/>
                    </a:lnTo>
                    <a:lnTo>
                      <a:pt x="3220" y="2536"/>
                    </a:lnTo>
                    <a:lnTo>
                      <a:pt x="3222" y="2522"/>
                    </a:lnTo>
                    <a:lnTo>
                      <a:pt x="3224" y="2520"/>
                    </a:lnTo>
                    <a:lnTo>
                      <a:pt x="3226" y="2522"/>
                    </a:lnTo>
                    <a:lnTo>
                      <a:pt x="3232" y="2534"/>
                    </a:lnTo>
                    <a:lnTo>
                      <a:pt x="3232" y="2534"/>
                    </a:lnTo>
                    <a:lnTo>
                      <a:pt x="3232" y="2538"/>
                    </a:lnTo>
                    <a:lnTo>
                      <a:pt x="3230" y="2540"/>
                    </a:lnTo>
                    <a:lnTo>
                      <a:pt x="3226" y="2544"/>
                    </a:lnTo>
                    <a:lnTo>
                      <a:pt x="3224" y="2546"/>
                    </a:lnTo>
                    <a:lnTo>
                      <a:pt x="3234" y="2544"/>
                    </a:lnTo>
                    <a:lnTo>
                      <a:pt x="3234" y="2544"/>
                    </a:lnTo>
                    <a:lnTo>
                      <a:pt x="3268" y="2536"/>
                    </a:lnTo>
                    <a:lnTo>
                      <a:pt x="3282" y="2536"/>
                    </a:lnTo>
                    <a:lnTo>
                      <a:pt x="3296" y="2538"/>
                    </a:lnTo>
                    <a:lnTo>
                      <a:pt x="3296" y="2538"/>
                    </a:lnTo>
                    <a:lnTo>
                      <a:pt x="3312" y="2544"/>
                    </a:lnTo>
                    <a:lnTo>
                      <a:pt x="3318" y="2546"/>
                    </a:lnTo>
                    <a:lnTo>
                      <a:pt x="3320" y="2552"/>
                    </a:lnTo>
                    <a:lnTo>
                      <a:pt x="3320" y="2552"/>
                    </a:lnTo>
                    <a:lnTo>
                      <a:pt x="3324" y="2556"/>
                    </a:lnTo>
                    <a:lnTo>
                      <a:pt x="3326" y="2556"/>
                    </a:lnTo>
                    <a:lnTo>
                      <a:pt x="3330" y="2560"/>
                    </a:lnTo>
                    <a:lnTo>
                      <a:pt x="3330" y="2566"/>
                    </a:lnTo>
                    <a:lnTo>
                      <a:pt x="3330" y="2566"/>
                    </a:lnTo>
                    <a:lnTo>
                      <a:pt x="3332" y="2570"/>
                    </a:lnTo>
                    <a:lnTo>
                      <a:pt x="3336" y="2572"/>
                    </a:lnTo>
                    <a:lnTo>
                      <a:pt x="3340" y="2570"/>
                    </a:lnTo>
                    <a:lnTo>
                      <a:pt x="3346" y="2570"/>
                    </a:lnTo>
                    <a:lnTo>
                      <a:pt x="3360" y="2564"/>
                    </a:lnTo>
                    <a:lnTo>
                      <a:pt x="3368" y="2562"/>
                    </a:lnTo>
                    <a:lnTo>
                      <a:pt x="3368" y="2562"/>
                    </a:lnTo>
                    <a:lnTo>
                      <a:pt x="3370" y="2560"/>
                    </a:lnTo>
                    <a:lnTo>
                      <a:pt x="3372" y="2560"/>
                    </a:lnTo>
                    <a:lnTo>
                      <a:pt x="3372" y="2556"/>
                    </a:lnTo>
                    <a:lnTo>
                      <a:pt x="3376" y="2552"/>
                    </a:lnTo>
                    <a:lnTo>
                      <a:pt x="3382" y="2552"/>
                    </a:lnTo>
                    <a:lnTo>
                      <a:pt x="3382" y="2552"/>
                    </a:lnTo>
                    <a:lnTo>
                      <a:pt x="3388" y="2554"/>
                    </a:lnTo>
                    <a:lnTo>
                      <a:pt x="3394" y="2558"/>
                    </a:lnTo>
                    <a:lnTo>
                      <a:pt x="3406" y="2574"/>
                    </a:lnTo>
                    <a:lnTo>
                      <a:pt x="3418" y="2592"/>
                    </a:lnTo>
                    <a:lnTo>
                      <a:pt x="3424" y="2596"/>
                    </a:lnTo>
                    <a:lnTo>
                      <a:pt x="3428" y="2598"/>
                    </a:lnTo>
                    <a:lnTo>
                      <a:pt x="3428" y="2598"/>
                    </a:lnTo>
                    <a:lnTo>
                      <a:pt x="3432" y="2600"/>
                    </a:lnTo>
                    <a:lnTo>
                      <a:pt x="3434" y="2604"/>
                    </a:lnTo>
                    <a:lnTo>
                      <a:pt x="3438" y="2616"/>
                    </a:lnTo>
                    <a:lnTo>
                      <a:pt x="3440" y="2630"/>
                    </a:lnTo>
                    <a:lnTo>
                      <a:pt x="3436" y="2646"/>
                    </a:lnTo>
                    <a:lnTo>
                      <a:pt x="3436" y="2646"/>
                    </a:lnTo>
                    <a:lnTo>
                      <a:pt x="3434" y="2658"/>
                    </a:lnTo>
                    <a:lnTo>
                      <a:pt x="3434" y="2670"/>
                    </a:lnTo>
                    <a:lnTo>
                      <a:pt x="3436" y="2676"/>
                    </a:lnTo>
                    <a:lnTo>
                      <a:pt x="3438" y="2678"/>
                    </a:lnTo>
                    <a:lnTo>
                      <a:pt x="3440" y="2676"/>
                    </a:lnTo>
                    <a:lnTo>
                      <a:pt x="3440" y="2676"/>
                    </a:lnTo>
                    <a:lnTo>
                      <a:pt x="3446" y="2672"/>
                    </a:lnTo>
                    <a:lnTo>
                      <a:pt x="3450" y="2670"/>
                    </a:lnTo>
                    <a:lnTo>
                      <a:pt x="3450" y="2670"/>
                    </a:lnTo>
                    <a:lnTo>
                      <a:pt x="3452" y="2672"/>
                    </a:lnTo>
                    <a:lnTo>
                      <a:pt x="3448" y="2678"/>
                    </a:lnTo>
                    <a:lnTo>
                      <a:pt x="3448" y="2678"/>
                    </a:lnTo>
                    <a:lnTo>
                      <a:pt x="3444" y="2682"/>
                    </a:lnTo>
                    <a:lnTo>
                      <a:pt x="3444" y="2688"/>
                    </a:lnTo>
                    <a:lnTo>
                      <a:pt x="3446" y="2698"/>
                    </a:lnTo>
                    <a:lnTo>
                      <a:pt x="3450" y="2710"/>
                    </a:lnTo>
                    <a:lnTo>
                      <a:pt x="3456" y="2718"/>
                    </a:lnTo>
                    <a:lnTo>
                      <a:pt x="3456" y="2718"/>
                    </a:lnTo>
                    <a:lnTo>
                      <a:pt x="3458" y="2720"/>
                    </a:lnTo>
                    <a:lnTo>
                      <a:pt x="3460" y="2720"/>
                    </a:lnTo>
                    <a:lnTo>
                      <a:pt x="3462" y="2720"/>
                    </a:lnTo>
                    <a:lnTo>
                      <a:pt x="3462" y="2718"/>
                    </a:lnTo>
                    <a:lnTo>
                      <a:pt x="3462" y="2720"/>
                    </a:lnTo>
                    <a:lnTo>
                      <a:pt x="3464" y="2726"/>
                    </a:lnTo>
                    <a:lnTo>
                      <a:pt x="3464" y="2726"/>
                    </a:lnTo>
                    <a:lnTo>
                      <a:pt x="3466" y="2734"/>
                    </a:lnTo>
                    <a:lnTo>
                      <a:pt x="3470" y="2738"/>
                    </a:lnTo>
                    <a:lnTo>
                      <a:pt x="3474" y="2742"/>
                    </a:lnTo>
                    <a:lnTo>
                      <a:pt x="3476" y="2754"/>
                    </a:lnTo>
                    <a:lnTo>
                      <a:pt x="3476" y="2754"/>
                    </a:lnTo>
                    <a:lnTo>
                      <a:pt x="3478" y="2760"/>
                    </a:lnTo>
                    <a:lnTo>
                      <a:pt x="3480" y="2764"/>
                    </a:lnTo>
                    <a:lnTo>
                      <a:pt x="3484" y="2768"/>
                    </a:lnTo>
                    <a:lnTo>
                      <a:pt x="3486" y="2768"/>
                    </a:lnTo>
                    <a:lnTo>
                      <a:pt x="3492" y="2772"/>
                    </a:lnTo>
                    <a:lnTo>
                      <a:pt x="3496" y="2776"/>
                    </a:lnTo>
                    <a:lnTo>
                      <a:pt x="3498" y="2782"/>
                    </a:lnTo>
                    <a:lnTo>
                      <a:pt x="3498" y="2782"/>
                    </a:lnTo>
                    <a:lnTo>
                      <a:pt x="3500" y="2792"/>
                    </a:lnTo>
                    <a:lnTo>
                      <a:pt x="3504" y="2796"/>
                    </a:lnTo>
                    <a:lnTo>
                      <a:pt x="3506" y="2796"/>
                    </a:lnTo>
                    <a:lnTo>
                      <a:pt x="3504" y="2798"/>
                    </a:lnTo>
                    <a:lnTo>
                      <a:pt x="3504" y="2798"/>
                    </a:lnTo>
                    <a:lnTo>
                      <a:pt x="3502" y="2804"/>
                    </a:lnTo>
                    <a:lnTo>
                      <a:pt x="3504" y="2808"/>
                    </a:lnTo>
                    <a:lnTo>
                      <a:pt x="3508" y="2808"/>
                    </a:lnTo>
                    <a:lnTo>
                      <a:pt x="3518" y="2806"/>
                    </a:lnTo>
                    <a:lnTo>
                      <a:pt x="3518" y="2806"/>
                    </a:lnTo>
                    <a:lnTo>
                      <a:pt x="3522" y="2806"/>
                    </a:lnTo>
                    <a:lnTo>
                      <a:pt x="3524" y="2806"/>
                    </a:lnTo>
                    <a:lnTo>
                      <a:pt x="3526" y="2810"/>
                    </a:lnTo>
                    <a:lnTo>
                      <a:pt x="3526" y="2810"/>
                    </a:lnTo>
                    <a:lnTo>
                      <a:pt x="3530" y="2804"/>
                    </a:lnTo>
                    <a:lnTo>
                      <a:pt x="3530" y="2804"/>
                    </a:lnTo>
                    <a:lnTo>
                      <a:pt x="3534" y="2796"/>
                    </a:lnTo>
                    <a:lnTo>
                      <a:pt x="3536" y="2790"/>
                    </a:lnTo>
                    <a:lnTo>
                      <a:pt x="3536" y="2786"/>
                    </a:lnTo>
                    <a:lnTo>
                      <a:pt x="3540" y="2778"/>
                    </a:lnTo>
                    <a:lnTo>
                      <a:pt x="3540" y="2778"/>
                    </a:lnTo>
                    <a:lnTo>
                      <a:pt x="3544" y="2768"/>
                    </a:lnTo>
                    <a:lnTo>
                      <a:pt x="3544" y="2758"/>
                    </a:lnTo>
                    <a:lnTo>
                      <a:pt x="3544" y="2746"/>
                    </a:lnTo>
                    <a:lnTo>
                      <a:pt x="3546" y="2732"/>
                    </a:lnTo>
                    <a:lnTo>
                      <a:pt x="3546" y="2732"/>
                    </a:lnTo>
                    <a:lnTo>
                      <a:pt x="3546" y="2722"/>
                    </a:lnTo>
                    <a:lnTo>
                      <a:pt x="3544" y="2712"/>
                    </a:lnTo>
                    <a:lnTo>
                      <a:pt x="3536" y="2686"/>
                    </a:lnTo>
                    <a:lnTo>
                      <a:pt x="3526" y="2662"/>
                    </a:lnTo>
                    <a:lnTo>
                      <a:pt x="3526" y="2650"/>
                    </a:lnTo>
                    <a:lnTo>
                      <a:pt x="3526" y="2642"/>
                    </a:lnTo>
                    <a:lnTo>
                      <a:pt x="3526" y="2642"/>
                    </a:lnTo>
                    <a:lnTo>
                      <a:pt x="3526" y="2636"/>
                    </a:lnTo>
                    <a:lnTo>
                      <a:pt x="3524" y="2630"/>
                    </a:lnTo>
                    <a:lnTo>
                      <a:pt x="3514" y="2610"/>
                    </a:lnTo>
                    <a:lnTo>
                      <a:pt x="3506" y="2598"/>
                    </a:lnTo>
                    <a:lnTo>
                      <a:pt x="3500" y="2582"/>
                    </a:lnTo>
                    <a:lnTo>
                      <a:pt x="3496" y="2564"/>
                    </a:lnTo>
                    <a:lnTo>
                      <a:pt x="3492" y="2542"/>
                    </a:lnTo>
                    <a:lnTo>
                      <a:pt x="3492" y="2542"/>
                    </a:lnTo>
                    <a:lnTo>
                      <a:pt x="3490" y="2520"/>
                    </a:lnTo>
                    <a:lnTo>
                      <a:pt x="3492" y="2500"/>
                    </a:lnTo>
                    <a:lnTo>
                      <a:pt x="3496" y="2484"/>
                    </a:lnTo>
                    <a:lnTo>
                      <a:pt x="3502" y="2470"/>
                    </a:lnTo>
                    <a:lnTo>
                      <a:pt x="3508" y="2458"/>
                    </a:lnTo>
                    <a:lnTo>
                      <a:pt x="3514" y="2448"/>
                    </a:lnTo>
                    <a:lnTo>
                      <a:pt x="3524" y="2438"/>
                    </a:lnTo>
                    <a:lnTo>
                      <a:pt x="3524" y="2438"/>
                    </a:lnTo>
                    <a:lnTo>
                      <a:pt x="3528" y="2434"/>
                    </a:lnTo>
                    <a:lnTo>
                      <a:pt x="3528" y="2432"/>
                    </a:lnTo>
                    <a:lnTo>
                      <a:pt x="3528" y="2428"/>
                    </a:lnTo>
                    <a:lnTo>
                      <a:pt x="3528" y="2426"/>
                    </a:lnTo>
                    <a:lnTo>
                      <a:pt x="3528" y="2426"/>
                    </a:lnTo>
                    <a:lnTo>
                      <a:pt x="3536" y="2424"/>
                    </a:lnTo>
                    <a:lnTo>
                      <a:pt x="3536" y="2424"/>
                    </a:lnTo>
                    <a:lnTo>
                      <a:pt x="3542" y="2424"/>
                    </a:lnTo>
                    <a:lnTo>
                      <a:pt x="3548" y="2420"/>
                    </a:lnTo>
                    <a:lnTo>
                      <a:pt x="3556" y="2412"/>
                    </a:lnTo>
                    <a:lnTo>
                      <a:pt x="3564" y="2402"/>
                    </a:lnTo>
                    <a:lnTo>
                      <a:pt x="3568" y="2400"/>
                    </a:lnTo>
                    <a:lnTo>
                      <a:pt x="3570" y="2398"/>
                    </a:lnTo>
                    <a:lnTo>
                      <a:pt x="3570" y="2398"/>
                    </a:lnTo>
                    <a:lnTo>
                      <a:pt x="3574" y="2398"/>
                    </a:lnTo>
                    <a:lnTo>
                      <a:pt x="3576" y="2394"/>
                    </a:lnTo>
                    <a:lnTo>
                      <a:pt x="3580" y="2384"/>
                    </a:lnTo>
                    <a:lnTo>
                      <a:pt x="3588" y="2370"/>
                    </a:lnTo>
                    <a:lnTo>
                      <a:pt x="3592" y="2362"/>
                    </a:lnTo>
                    <a:lnTo>
                      <a:pt x="3600" y="2356"/>
                    </a:lnTo>
                    <a:lnTo>
                      <a:pt x="3600" y="2356"/>
                    </a:lnTo>
                    <a:lnTo>
                      <a:pt x="3606" y="2352"/>
                    </a:lnTo>
                    <a:lnTo>
                      <a:pt x="3612" y="2350"/>
                    </a:lnTo>
                    <a:lnTo>
                      <a:pt x="3624" y="2350"/>
                    </a:lnTo>
                    <a:lnTo>
                      <a:pt x="3628" y="2350"/>
                    </a:lnTo>
                    <a:lnTo>
                      <a:pt x="3630" y="2350"/>
                    </a:lnTo>
                    <a:lnTo>
                      <a:pt x="3634" y="2346"/>
                    </a:lnTo>
                    <a:lnTo>
                      <a:pt x="3636" y="2342"/>
                    </a:lnTo>
                    <a:lnTo>
                      <a:pt x="3636" y="2342"/>
                    </a:lnTo>
                    <a:lnTo>
                      <a:pt x="3638" y="2334"/>
                    </a:lnTo>
                    <a:lnTo>
                      <a:pt x="3642" y="2328"/>
                    </a:lnTo>
                    <a:lnTo>
                      <a:pt x="3654" y="2318"/>
                    </a:lnTo>
                    <a:lnTo>
                      <a:pt x="3666" y="2310"/>
                    </a:lnTo>
                    <a:lnTo>
                      <a:pt x="3680" y="2306"/>
                    </a:lnTo>
                    <a:lnTo>
                      <a:pt x="3680" y="2306"/>
                    </a:lnTo>
                    <a:lnTo>
                      <a:pt x="3690" y="2304"/>
                    </a:lnTo>
                    <a:lnTo>
                      <a:pt x="3696" y="2300"/>
                    </a:lnTo>
                    <a:lnTo>
                      <a:pt x="3698" y="2294"/>
                    </a:lnTo>
                    <a:lnTo>
                      <a:pt x="3698" y="2292"/>
                    </a:lnTo>
                    <a:lnTo>
                      <a:pt x="3696" y="2290"/>
                    </a:lnTo>
                    <a:lnTo>
                      <a:pt x="3696" y="2290"/>
                    </a:lnTo>
                    <a:lnTo>
                      <a:pt x="3694" y="2290"/>
                    </a:lnTo>
                    <a:lnTo>
                      <a:pt x="3690" y="2290"/>
                    </a:lnTo>
                    <a:lnTo>
                      <a:pt x="3686" y="2294"/>
                    </a:lnTo>
                    <a:lnTo>
                      <a:pt x="3680" y="2296"/>
                    </a:lnTo>
                    <a:lnTo>
                      <a:pt x="3676" y="2298"/>
                    </a:lnTo>
                    <a:lnTo>
                      <a:pt x="3674" y="2296"/>
                    </a:lnTo>
                    <a:lnTo>
                      <a:pt x="3674" y="2296"/>
                    </a:lnTo>
                    <a:lnTo>
                      <a:pt x="3672" y="2294"/>
                    </a:lnTo>
                    <a:lnTo>
                      <a:pt x="3674" y="2292"/>
                    </a:lnTo>
                    <a:lnTo>
                      <a:pt x="3680" y="2290"/>
                    </a:lnTo>
                    <a:lnTo>
                      <a:pt x="3682" y="2288"/>
                    </a:lnTo>
                    <a:lnTo>
                      <a:pt x="3684" y="2286"/>
                    </a:lnTo>
                    <a:lnTo>
                      <a:pt x="3684" y="2286"/>
                    </a:lnTo>
                    <a:lnTo>
                      <a:pt x="3686" y="2282"/>
                    </a:lnTo>
                    <a:lnTo>
                      <a:pt x="3684" y="2278"/>
                    </a:lnTo>
                    <a:lnTo>
                      <a:pt x="3678" y="2272"/>
                    </a:lnTo>
                    <a:lnTo>
                      <a:pt x="3676" y="2268"/>
                    </a:lnTo>
                    <a:lnTo>
                      <a:pt x="3682" y="2268"/>
                    </a:lnTo>
                    <a:lnTo>
                      <a:pt x="3682" y="2268"/>
                    </a:lnTo>
                    <a:lnTo>
                      <a:pt x="3692" y="2272"/>
                    </a:lnTo>
                    <a:lnTo>
                      <a:pt x="3696" y="2274"/>
                    </a:lnTo>
                    <a:lnTo>
                      <a:pt x="3698" y="2276"/>
                    </a:lnTo>
                    <a:lnTo>
                      <a:pt x="3700" y="2274"/>
                    </a:lnTo>
                    <a:lnTo>
                      <a:pt x="3706" y="2270"/>
                    </a:lnTo>
                    <a:lnTo>
                      <a:pt x="3706" y="2270"/>
                    </a:lnTo>
                    <a:lnTo>
                      <a:pt x="3710" y="2264"/>
                    </a:lnTo>
                    <a:lnTo>
                      <a:pt x="3714" y="2262"/>
                    </a:lnTo>
                    <a:lnTo>
                      <a:pt x="3716" y="2260"/>
                    </a:lnTo>
                    <a:lnTo>
                      <a:pt x="3718" y="2254"/>
                    </a:lnTo>
                    <a:lnTo>
                      <a:pt x="3718" y="2254"/>
                    </a:lnTo>
                    <a:lnTo>
                      <a:pt x="3720" y="2246"/>
                    </a:lnTo>
                    <a:lnTo>
                      <a:pt x="3718" y="2242"/>
                    </a:lnTo>
                    <a:lnTo>
                      <a:pt x="3714" y="2240"/>
                    </a:lnTo>
                    <a:lnTo>
                      <a:pt x="3710" y="2244"/>
                    </a:lnTo>
                    <a:lnTo>
                      <a:pt x="3710" y="2244"/>
                    </a:lnTo>
                    <a:lnTo>
                      <a:pt x="3708" y="2244"/>
                    </a:lnTo>
                    <a:lnTo>
                      <a:pt x="3708" y="2242"/>
                    </a:lnTo>
                    <a:lnTo>
                      <a:pt x="3704" y="2240"/>
                    </a:lnTo>
                    <a:lnTo>
                      <a:pt x="3694" y="2240"/>
                    </a:lnTo>
                    <a:lnTo>
                      <a:pt x="3694" y="2240"/>
                    </a:lnTo>
                    <a:lnTo>
                      <a:pt x="3684" y="2242"/>
                    </a:lnTo>
                    <a:lnTo>
                      <a:pt x="3678" y="2240"/>
                    </a:lnTo>
                    <a:lnTo>
                      <a:pt x="3678" y="2236"/>
                    </a:lnTo>
                    <a:lnTo>
                      <a:pt x="3678" y="2230"/>
                    </a:lnTo>
                    <a:lnTo>
                      <a:pt x="3678" y="2230"/>
                    </a:lnTo>
                    <a:lnTo>
                      <a:pt x="3678" y="2228"/>
                    </a:lnTo>
                    <a:lnTo>
                      <a:pt x="3678" y="2228"/>
                    </a:lnTo>
                    <a:lnTo>
                      <a:pt x="3680" y="2232"/>
                    </a:lnTo>
                    <a:lnTo>
                      <a:pt x="3684" y="2236"/>
                    </a:lnTo>
                    <a:lnTo>
                      <a:pt x="3686" y="2236"/>
                    </a:lnTo>
                    <a:lnTo>
                      <a:pt x="3690" y="2236"/>
                    </a:lnTo>
                    <a:lnTo>
                      <a:pt x="3696" y="2234"/>
                    </a:lnTo>
                    <a:lnTo>
                      <a:pt x="3696" y="2234"/>
                    </a:lnTo>
                    <a:lnTo>
                      <a:pt x="3704" y="2230"/>
                    </a:lnTo>
                    <a:lnTo>
                      <a:pt x="3708" y="2230"/>
                    </a:lnTo>
                    <a:lnTo>
                      <a:pt x="3714" y="2232"/>
                    </a:lnTo>
                    <a:lnTo>
                      <a:pt x="3718" y="2236"/>
                    </a:lnTo>
                    <a:lnTo>
                      <a:pt x="3724" y="2244"/>
                    </a:lnTo>
                    <a:lnTo>
                      <a:pt x="3726" y="2248"/>
                    </a:lnTo>
                    <a:lnTo>
                      <a:pt x="3728" y="2248"/>
                    </a:lnTo>
                    <a:lnTo>
                      <a:pt x="3728" y="2248"/>
                    </a:lnTo>
                    <a:lnTo>
                      <a:pt x="3728" y="2246"/>
                    </a:lnTo>
                    <a:lnTo>
                      <a:pt x="3728" y="2244"/>
                    </a:lnTo>
                    <a:lnTo>
                      <a:pt x="3724" y="2236"/>
                    </a:lnTo>
                    <a:lnTo>
                      <a:pt x="3718" y="2222"/>
                    </a:lnTo>
                    <a:lnTo>
                      <a:pt x="3712" y="2198"/>
                    </a:lnTo>
                    <a:lnTo>
                      <a:pt x="3712" y="2198"/>
                    </a:lnTo>
                    <a:lnTo>
                      <a:pt x="3708" y="2188"/>
                    </a:lnTo>
                    <a:lnTo>
                      <a:pt x="3706" y="2186"/>
                    </a:lnTo>
                    <a:lnTo>
                      <a:pt x="3704" y="2186"/>
                    </a:lnTo>
                    <a:lnTo>
                      <a:pt x="3700" y="2188"/>
                    </a:lnTo>
                    <a:lnTo>
                      <a:pt x="3694" y="2190"/>
                    </a:lnTo>
                    <a:lnTo>
                      <a:pt x="3694" y="2190"/>
                    </a:lnTo>
                    <a:lnTo>
                      <a:pt x="3692" y="2190"/>
                    </a:lnTo>
                    <a:lnTo>
                      <a:pt x="3692" y="2190"/>
                    </a:lnTo>
                    <a:lnTo>
                      <a:pt x="3696" y="2186"/>
                    </a:lnTo>
                    <a:lnTo>
                      <a:pt x="3698" y="2180"/>
                    </a:lnTo>
                    <a:lnTo>
                      <a:pt x="3698" y="2176"/>
                    </a:lnTo>
                    <a:lnTo>
                      <a:pt x="3694" y="2174"/>
                    </a:lnTo>
                    <a:lnTo>
                      <a:pt x="3694" y="2174"/>
                    </a:lnTo>
                    <a:lnTo>
                      <a:pt x="3690" y="2170"/>
                    </a:lnTo>
                    <a:lnTo>
                      <a:pt x="3692" y="2170"/>
                    </a:lnTo>
                    <a:lnTo>
                      <a:pt x="3696" y="2168"/>
                    </a:lnTo>
                    <a:lnTo>
                      <a:pt x="3698" y="2166"/>
                    </a:lnTo>
                    <a:lnTo>
                      <a:pt x="3698" y="2162"/>
                    </a:lnTo>
                    <a:lnTo>
                      <a:pt x="3698" y="2156"/>
                    </a:lnTo>
                    <a:lnTo>
                      <a:pt x="3698" y="2156"/>
                    </a:lnTo>
                    <a:lnTo>
                      <a:pt x="3696" y="2144"/>
                    </a:lnTo>
                    <a:lnTo>
                      <a:pt x="3696" y="2140"/>
                    </a:lnTo>
                    <a:lnTo>
                      <a:pt x="3696" y="2136"/>
                    </a:lnTo>
                    <a:lnTo>
                      <a:pt x="3690" y="2130"/>
                    </a:lnTo>
                    <a:lnTo>
                      <a:pt x="3690" y="2130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86" y="2122"/>
                    </a:lnTo>
                    <a:lnTo>
                      <a:pt x="3686" y="2122"/>
                    </a:lnTo>
                    <a:lnTo>
                      <a:pt x="3694" y="2126"/>
                    </a:lnTo>
                    <a:lnTo>
                      <a:pt x="3696" y="2124"/>
                    </a:lnTo>
                    <a:lnTo>
                      <a:pt x="3696" y="2124"/>
                    </a:lnTo>
                    <a:lnTo>
                      <a:pt x="3692" y="2108"/>
                    </a:lnTo>
                    <a:lnTo>
                      <a:pt x="3692" y="2108"/>
                    </a:lnTo>
                    <a:lnTo>
                      <a:pt x="3688" y="2092"/>
                    </a:lnTo>
                    <a:lnTo>
                      <a:pt x="3690" y="2076"/>
                    </a:lnTo>
                    <a:lnTo>
                      <a:pt x="3690" y="2076"/>
                    </a:lnTo>
                    <a:lnTo>
                      <a:pt x="3692" y="2064"/>
                    </a:lnTo>
                    <a:lnTo>
                      <a:pt x="3696" y="2058"/>
                    </a:lnTo>
                    <a:lnTo>
                      <a:pt x="3702" y="2054"/>
                    </a:lnTo>
                    <a:lnTo>
                      <a:pt x="3702" y="2054"/>
                    </a:lnTo>
                    <a:lnTo>
                      <a:pt x="3704" y="2050"/>
                    </a:lnTo>
                    <a:lnTo>
                      <a:pt x="3704" y="2052"/>
                    </a:lnTo>
                    <a:lnTo>
                      <a:pt x="3700" y="2058"/>
                    </a:lnTo>
                    <a:lnTo>
                      <a:pt x="3698" y="2064"/>
                    </a:lnTo>
                    <a:lnTo>
                      <a:pt x="3698" y="2064"/>
                    </a:lnTo>
                    <a:lnTo>
                      <a:pt x="3694" y="2076"/>
                    </a:lnTo>
                    <a:lnTo>
                      <a:pt x="3694" y="2082"/>
                    </a:lnTo>
                    <a:lnTo>
                      <a:pt x="3696" y="2086"/>
                    </a:lnTo>
                    <a:lnTo>
                      <a:pt x="3696" y="2086"/>
                    </a:lnTo>
                    <a:lnTo>
                      <a:pt x="3696" y="2088"/>
                    </a:lnTo>
                    <a:lnTo>
                      <a:pt x="3696" y="2090"/>
                    </a:lnTo>
                    <a:lnTo>
                      <a:pt x="3694" y="2094"/>
                    </a:lnTo>
                    <a:lnTo>
                      <a:pt x="3696" y="2098"/>
                    </a:lnTo>
                    <a:lnTo>
                      <a:pt x="3696" y="2098"/>
                    </a:lnTo>
                    <a:lnTo>
                      <a:pt x="3698" y="2104"/>
                    </a:lnTo>
                    <a:lnTo>
                      <a:pt x="3696" y="2106"/>
                    </a:lnTo>
                    <a:lnTo>
                      <a:pt x="3696" y="2110"/>
                    </a:lnTo>
                    <a:lnTo>
                      <a:pt x="3700" y="2114"/>
                    </a:lnTo>
                    <a:lnTo>
                      <a:pt x="3700" y="2114"/>
                    </a:lnTo>
                    <a:lnTo>
                      <a:pt x="3706" y="2116"/>
                    </a:lnTo>
                    <a:lnTo>
                      <a:pt x="3708" y="2116"/>
                    </a:lnTo>
                    <a:lnTo>
                      <a:pt x="3710" y="2116"/>
                    </a:lnTo>
                    <a:lnTo>
                      <a:pt x="3712" y="2120"/>
                    </a:lnTo>
                    <a:lnTo>
                      <a:pt x="3712" y="2120"/>
                    </a:lnTo>
                    <a:lnTo>
                      <a:pt x="3712" y="2126"/>
                    </a:lnTo>
                    <a:lnTo>
                      <a:pt x="3712" y="2130"/>
                    </a:lnTo>
                    <a:lnTo>
                      <a:pt x="3712" y="2134"/>
                    </a:lnTo>
                    <a:lnTo>
                      <a:pt x="3716" y="2136"/>
                    </a:lnTo>
                    <a:lnTo>
                      <a:pt x="3716" y="2136"/>
                    </a:lnTo>
                    <a:lnTo>
                      <a:pt x="3718" y="2138"/>
                    </a:lnTo>
                    <a:lnTo>
                      <a:pt x="3716" y="2142"/>
                    </a:lnTo>
                    <a:lnTo>
                      <a:pt x="3710" y="2154"/>
                    </a:lnTo>
                    <a:lnTo>
                      <a:pt x="3706" y="2166"/>
                    </a:lnTo>
                    <a:lnTo>
                      <a:pt x="3706" y="2172"/>
                    </a:lnTo>
                    <a:lnTo>
                      <a:pt x="3710" y="2176"/>
                    </a:lnTo>
                    <a:lnTo>
                      <a:pt x="3710" y="2176"/>
                    </a:lnTo>
                    <a:lnTo>
                      <a:pt x="3712" y="2176"/>
                    </a:lnTo>
                    <a:lnTo>
                      <a:pt x="3714" y="2172"/>
                    </a:lnTo>
                    <a:lnTo>
                      <a:pt x="3720" y="2158"/>
                    </a:lnTo>
                    <a:lnTo>
                      <a:pt x="3728" y="2138"/>
                    </a:lnTo>
                    <a:lnTo>
                      <a:pt x="3738" y="2122"/>
                    </a:lnTo>
                    <a:lnTo>
                      <a:pt x="3738" y="2122"/>
                    </a:lnTo>
                    <a:lnTo>
                      <a:pt x="3744" y="2114"/>
                    </a:lnTo>
                    <a:lnTo>
                      <a:pt x="3746" y="2108"/>
                    </a:lnTo>
                    <a:lnTo>
                      <a:pt x="3748" y="2102"/>
                    </a:lnTo>
                    <a:lnTo>
                      <a:pt x="3748" y="2096"/>
                    </a:lnTo>
                    <a:lnTo>
                      <a:pt x="3748" y="2092"/>
                    </a:lnTo>
                    <a:lnTo>
                      <a:pt x="3746" y="2088"/>
                    </a:lnTo>
                    <a:lnTo>
                      <a:pt x="3744" y="2086"/>
                    </a:lnTo>
                    <a:lnTo>
                      <a:pt x="3740" y="2086"/>
                    </a:lnTo>
                    <a:lnTo>
                      <a:pt x="3740" y="2086"/>
                    </a:lnTo>
                    <a:lnTo>
                      <a:pt x="3738" y="2084"/>
                    </a:lnTo>
                    <a:lnTo>
                      <a:pt x="3736" y="2082"/>
                    </a:lnTo>
                    <a:lnTo>
                      <a:pt x="3732" y="2074"/>
                    </a:lnTo>
                    <a:lnTo>
                      <a:pt x="3726" y="2054"/>
                    </a:lnTo>
                    <a:lnTo>
                      <a:pt x="3726" y="2054"/>
                    </a:lnTo>
                    <a:lnTo>
                      <a:pt x="3724" y="2044"/>
                    </a:lnTo>
                    <a:lnTo>
                      <a:pt x="3726" y="2036"/>
                    </a:lnTo>
                    <a:lnTo>
                      <a:pt x="3730" y="2030"/>
                    </a:lnTo>
                    <a:lnTo>
                      <a:pt x="3738" y="2024"/>
                    </a:lnTo>
                    <a:lnTo>
                      <a:pt x="3738" y="2024"/>
                    </a:lnTo>
                    <a:lnTo>
                      <a:pt x="3742" y="2024"/>
                    </a:lnTo>
                    <a:lnTo>
                      <a:pt x="3736" y="2030"/>
                    </a:lnTo>
                    <a:lnTo>
                      <a:pt x="3732" y="2034"/>
                    </a:lnTo>
                    <a:lnTo>
                      <a:pt x="3730" y="2040"/>
                    </a:lnTo>
                    <a:lnTo>
                      <a:pt x="3730" y="2046"/>
                    </a:lnTo>
                    <a:lnTo>
                      <a:pt x="3732" y="2054"/>
                    </a:lnTo>
                    <a:lnTo>
                      <a:pt x="3732" y="2054"/>
                    </a:lnTo>
                    <a:lnTo>
                      <a:pt x="3738" y="2060"/>
                    </a:lnTo>
                    <a:lnTo>
                      <a:pt x="3742" y="2062"/>
                    </a:lnTo>
                    <a:lnTo>
                      <a:pt x="3748" y="2064"/>
                    </a:lnTo>
                    <a:lnTo>
                      <a:pt x="3750" y="2066"/>
                    </a:lnTo>
                    <a:lnTo>
                      <a:pt x="3750" y="2072"/>
                    </a:lnTo>
                    <a:lnTo>
                      <a:pt x="3750" y="2072"/>
                    </a:lnTo>
                    <a:lnTo>
                      <a:pt x="3750" y="2078"/>
                    </a:lnTo>
                    <a:lnTo>
                      <a:pt x="3752" y="2078"/>
                    </a:lnTo>
                    <a:lnTo>
                      <a:pt x="3754" y="2078"/>
                    </a:lnTo>
                    <a:lnTo>
                      <a:pt x="3758" y="2074"/>
                    </a:lnTo>
                    <a:lnTo>
                      <a:pt x="3766" y="2062"/>
                    </a:lnTo>
                    <a:lnTo>
                      <a:pt x="3774" y="2048"/>
                    </a:lnTo>
                    <a:lnTo>
                      <a:pt x="3774" y="2048"/>
                    </a:lnTo>
                    <a:lnTo>
                      <a:pt x="3784" y="2030"/>
                    </a:lnTo>
                    <a:lnTo>
                      <a:pt x="3790" y="2014"/>
                    </a:lnTo>
                    <a:lnTo>
                      <a:pt x="3790" y="2008"/>
                    </a:lnTo>
                    <a:lnTo>
                      <a:pt x="3790" y="2002"/>
                    </a:lnTo>
                    <a:lnTo>
                      <a:pt x="3790" y="2000"/>
                    </a:lnTo>
                    <a:lnTo>
                      <a:pt x="3786" y="1998"/>
                    </a:lnTo>
                    <a:lnTo>
                      <a:pt x="3786" y="1998"/>
                    </a:lnTo>
                    <a:lnTo>
                      <a:pt x="3778" y="1996"/>
                    </a:lnTo>
                    <a:lnTo>
                      <a:pt x="3776" y="1996"/>
                    </a:lnTo>
                    <a:lnTo>
                      <a:pt x="3776" y="1994"/>
                    </a:lnTo>
                    <a:lnTo>
                      <a:pt x="3778" y="1988"/>
                    </a:lnTo>
                    <a:lnTo>
                      <a:pt x="3784" y="1980"/>
                    </a:lnTo>
                    <a:lnTo>
                      <a:pt x="3784" y="1980"/>
                    </a:lnTo>
                    <a:lnTo>
                      <a:pt x="3796" y="1972"/>
                    </a:lnTo>
                    <a:lnTo>
                      <a:pt x="3808" y="1962"/>
                    </a:lnTo>
                    <a:lnTo>
                      <a:pt x="3824" y="1956"/>
                    </a:lnTo>
                    <a:lnTo>
                      <a:pt x="3838" y="1950"/>
                    </a:lnTo>
                    <a:lnTo>
                      <a:pt x="3838" y="1950"/>
                    </a:lnTo>
                    <a:lnTo>
                      <a:pt x="3854" y="1948"/>
                    </a:lnTo>
                    <a:lnTo>
                      <a:pt x="3870" y="1946"/>
                    </a:lnTo>
                    <a:lnTo>
                      <a:pt x="3886" y="1944"/>
                    </a:lnTo>
                    <a:lnTo>
                      <a:pt x="3890" y="1944"/>
                    </a:lnTo>
                    <a:lnTo>
                      <a:pt x="3892" y="1940"/>
                    </a:lnTo>
                    <a:lnTo>
                      <a:pt x="3892" y="1940"/>
                    </a:lnTo>
                    <a:lnTo>
                      <a:pt x="3894" y="1926"/>
                    </a:lnTo>
                    <a:lnTo>
                      <a:pt x="3896" y="1924"/>
                    </a:lnTo>
                    <a:lnTo>
                      <a:pt x="3898" y="1928"/>
                    </a:lnTo>
                    <a:lnTo>
                      <a:pt x="3898" y="1928"/>
                    </a:lnTo>
                    <a:lnTo>
                      <a:pt x="3900" y="1936"/>
                    </a:lnTo>
                    <a:lnTo>
                      <a:pt x="3904" y="1940"/>
                    </a:lnTo>
                    <a:lnTo>
                      <a:pt x="3906" y="1940"/>
                    </a:lnTo>
                    <a:lnTo>
                      <a:pt x="3908" y="1940"/>
                    </a:lnTo>
                    <a:lnTo>
                      <a:pt x="3914" y="1932"/>
                    </a:lnTo>
                    <a:lnTo>
                      <a:pt x="3914" y="1932"/>
                    </a:lnTo>
                    <a:lnTo>
                      <a:pt x="3920" y="1928"/>
                    </a:lnTo>
                    <a:lnTo>
                      <a:pt x="3922" y="1926"/>
                    </a:lnTo>
                    <a:lnTo>
                      <a:pt x="3924" y="1928"/>
                    </a:lnTo>
                    <a:lnTo>
                      <a:pt x="3924" y="1930"/>
                    </a:lnTo>
                    <a:lnTo>
                      <a:pt x="3924" y="1936"/>
                    </a:lnTo>
                    <a:lnTo>
                      <a:pt x="3926" y="1936"/>
                    </a:lnTo>
                    <a:lnTo>
                      <a:pt x="3928" y="1934"/>
                    </a:lnTo>
                    <a:lnTo>
                      <a:pt x="3928" y="1934"/>
                    </a:lnTo>
                    <a:lnTo>
                      <a:pt x="3932" y="1932"/>
                    </a:lnTo>
                    <a:lnTo>
                      <a:pt x="3936" y="1930"/>
                    </a:lnTo>
                    <a:lnTo>
                      <a:pt x="3946" y="1930"/>
                    </a:lnTo>
                    <a:lnTo>
                      <a:pt x="3952" y="1928"/>
                    </a:lnTo>
                    <a:lnTo>
                      <a:pt x="3952" y="1924"/>
                    </a:lnTo>
                    <a:lnTo>
                      <a:pt x="3952" y="1920"/>
                    </a:lnTo>
                    <a:lnTo>
                      <a:pt x="3952" y="1920"/>
                    </a:lnTo>
                    <a:lnTo>
                      <a:pt x="3948" y="1906"/>
                    </a:lnTo>
                    <a:lnTo>
                      <a:pt x="3946" y="1904"/>
                    </a:lnTo>
                    <a:lnTo>
                      <a:pt x="3942" y="1904"/>
                    </a:lnTo>
                    <a:lnTo>
                      <a:pt x="3942" y="1904"/>
                    </a:lnTo>
                    <a:lnTo>
                      <a:pt x="3940" y="1904"/>
                    </a:lnTo>
                    <a:lnTo>
                      <a:pt x="3942" y="1906"/>
                    </a:lnTo>
                    <a:lnTo>
                      <a:pt x="3946" y="1908"/>
                    </a:lnTo>
                    <a:lnTo>
                      <a:pt x="3948" y="1914"/>
                    </a:lnTo>
                    <a:lnTo>
                      <a:pt x="3948" y="1914"/>
                    </a:lnTo>
                    <a:lnTo>
                      <a:pt x="3944" y="1920"/>
                    </a:lnTo>
                    <a:lnTo>
                      <a:pt x="3940" y="1924"/>
                    </a:lnTo>
                    <a:lnTo>
                      <a:pt x="3936" y="1926"/>
                    </a:lnTo>
                    <a:lnTo>
                      <a:pt x="3932" y="1926"/>
                    </a:lnTo>
                    <a:lnTo>
                      <a:pt x="3930" y="1922"/>
                    </a:lnTo>
                    <a:lnTo>
                      <a:pt x="3928" y="1918"/>
                    </a:lnTo>
                    <a:lnTo>
                      <a:pt x="3928" y="1918"/>
                    </a:lnTo>
                    <a:lnTo>
                      <a:pt x="3924" y="1908"/>
                    </a:lnTo>
                    <a:lnTo>
                      <a:pt x="3924" y="1902"/>
                    </a:lnTo>
                    <a:lnTo>
                      <a:pt x="3920" y="1896"/>
                    </a:lnTo>
                    <a:lnTo>
                      <a:pt x="3912" y="1894"/>
                    </a:lnTo>
                    <a:lnTo>
                      <a:pt x="3912" y="1894"/>
                    </a:lnTo>
                    <a:lnTo>
                      <a:pt x="3910" y="1894"/>
                    </a:lnTo>
                    <a:lnTo>
                      <a:pt x="3910" y="1892"/>
                    </a:lnTo>
                    <a:lnTo>
                      <a:pt x="3918" y="1884"/>
                    </a:lnTo>
                    <a:lnTo>
                      <a:pt x="3926" y="1876"/>
                    </a:lnTo>
                    <a:lnTo>
                      <a:pt x="3926" y="1874"/>
                    </a:lnTo>
                    <a:lnTo>
                      <a:pt x="3924" y="1872"/>
                    </a:lnTo>
                    <a:lnTo>
                      <a:pt x="3924" y="1872"/>
                    </a:lnTo>
                    <a:lnTo>
                      <a:pt x="3922" y="1868"/>
                    </a:lnTo>
                    <a:lnTo>
                      <a:pt x="3920" y="1864"/>
                    </a:lnTo>
                    <a:lnTo>
                      <a:pt x="3922" y="1850"/>
                    </a:lnTo>
                    <a:lnTo>
                      <a:pt x="3928" y="1836"/>
                    </a:lnTo>
                    <a:lnTo>
                      <a:pt x="3936" y="1826"/>
                    </a:lnTo>
                    <a:lnTo>
                      <a:pt x="3936" y="1826"/>
                    </a:lnTo>
                    <a:lnTo>
                      <a:pt x="3940" y="1820"/>
                    </a:lnTo>
                    <a:lnTo>
                      <a:pt x="3940" y="1816"/>
                    </a:lnTo>
                    <a:lnTo>
                      <a:pt x="3940" y="1814"/>
                    </a:lnTo>
                    <a:lnTo>
                      <a:pt x="3942" y="1810"/>
                    </a:lnTo>
                    <a:lnTo>
                      <a:pt x="3942" y="1810"/>
                    </a:lnTo>
                    <a:lnTo>
                      <a:pt x="3944" y="1808"/>
                    </a:lnTo>
                    <a:lnTo>
                      <a:pt x="3946" y="1808"/>
                    </a:lnTo>
                    <a:lnTo>
                      <a:pt x="3948" y="1812"/>
                    </a:lnTo>
                    <a:lnTo>
                      <a:pt x="3952" y="1814"/>
                    </a:lnTo>
                    <a:lnTo>
                      <a:pt x="3954" y="1814"/>
                    </a:lnTo>
                    <a:lnTo>
                      <a:pt x="3958" y="1812"/>
                    </a:lnTo>
                    <a:lnTo>
                      <a:pt x="3958" y="1812"/>
                    </a:lnTo>
                    <a:lnTo>
                      <a:pt x="3966" y="1806"/>
                    </a:lnTo>
                    <a:lnTo>
                      <a:pt x="3970" y="1802"/>
                    </a:lnTo>
                    <a:lnTo>
                      <a:pt x="3974" y="1800"/>
                    </a:lnTo>
                    <a:lnTo>
                      <a:pt x="3976" y="1800"/>
                    </a:lnTo>
                    <a:lnTo>
                      <a:pt x="3976" y="1800"/>
                    </a:lnTo>
                    <a:lnTo>
                      <a:pt x="3982" y="1798"/>
                    </a:lnTo>
                    <a:lnTo>
                      <a:pt x="3984" y="1796"/>
                    </a:lnTo>
                    <a:lnTo>
                      <a:pt x="3988" y="1786"/>
                    </a:lnTo>
                    <a:lnTo>
                      <a:pt x="3992" y="1778"/>
                    </a:lnTo>
                    <a:lnTo>
                      <a:pt x="3996" y="1776"/>
                    </a:lnTo>
                    <a:lnTo>
                      <a:pt x="4000" y="1778"/>
                    </a:lnTo>
                    <a:lnTo>
                      <a:pt x="4000" y="1778"/>
                    </a:lnTo>
                    <a:lnTo>
                      <a:pt x="4006" y="1782"/>
                    </a:lnTo>
                    <a:lnTo>
                      <a:pt x="4008" y="1780"/>
                    </a:lnTo>
                    <a:lnTo>
                      <a:pt x="4010" y="1780"/>
                    </a:lnTo>
                    <a:lnTo>
                      <a:pt x="4012" y="1776"/>
                    </a:lnTo>
                    <a:lnTo>
                      <a:pt x="4016" y="1772"/>
                    </a:lnTo>
                    <a:lnTo>
                      <a:pt x="4016" y="1772"/>
                    </a:lnTo>
                    <a:lnTo>
                      <a:pt x="4022" y="1772"/>
                    </a:lnTo>
                    <a:lnTo>
                      <a:pt x="4024" y="1774"/>
                    </a:lnTo>
                    <a:lnTo>
                      <a:pt x="4028" y="1776"/>
                    </a:lnTo>
                    <a:lnTo>
                      <a:pt x="4036" y="1772"/>
                    </a:lnTo>
                    <a:lnTo>
                      <a:pt x="4036" y="1772"/>
                    </a:lnTo>
                    <a:lnTo>
                      <a:pt x="4044" y="1766"/>
                    </a:lnTo>
                    <a:lnTo>
                      <a:pt x="4052" y="1764"/>
                    </a:lnTo>
                    <a:lnTo>
                      <a:pt x="4060" y="1762"/>
                    </a:lnTo>
                    <a:lnTo>
                      <a:pt x="4066" y="1756"/>
                    </a:lnTo>
                    <a:lnTo>
                      <a:pt x="4066" y="1756"/>
                    </a:lnTo>
                    <a:lnTo>
                      <a:pt x="4070" y="1752"/>
                    </a:lnTo>
                    <a:lnTo>
                      <a:pt x="4070" y="1748"/>
                    </a:lnTo>
                    <a:lnTo>
                      <a:pt x="4068" y="1746"/>
                    </a:lnTo>
                    <a:lnTo>
                      <a:pt x="4066" y="1742"/>
                    </a:lnTo>
                    <a:lnTo>
                      <a:pt x="4066" y="1742"/>
                    </a:lnTo>
                    <a:lnTo>
                      <a:pt x="4064" y="1736"/>
                    </a:lnTo>
                    <a:lnTo>
                      <a:pt x="4062" y="1734"/>
                    </a:lnTo>
                    <a:lnTo>
                      <a:pt x="4054" y="1730"/>
                    </a:lnTo>
                    <a:lnTo>
                      <a:pt x="4054" y="1730"/>
                    </a:lnTo>
                    <a:lnTo>
                      <a:pt x="4052" y="1726"/>
                    </a:lnTo>
                    <a:lnTo>
                      <a:pt x="4050" y="1718"/>
                    </a:lnTo>
                    <a:lnTo>
                      <a:pt x="4050" y="1704"/>
                    </a:lnTo>
                    <a:lnTo>
                      <a:pt x="4050" y="1704"/>
                    </a:lnTo>
                    <a:lnTo>
                      <a:pt x="4052" y="1706"/>
                    </a:lnTo>
                    <a:lnTo>
                      <a:pt x="4054" y="1708"/>
                    </a:lnTo>
                    <a:lnTo>
                      <a:pt x="4054" y="1716"/>
                    </a:lnTo>
                    <a:lnTo>
                      <a:pt x="4054" y="1716"/>
                    </a:lnTo>
                    <a:lnTo>
                      <a:pt x="4054" y="1720"/>
                    </a:lnTo>
                    <a:lnTo>
                      <a:pt x="4056" y="1724"/>
                    </a:lnTo>
                    <a:lnTo>
                      <a:pt x="4060" y="1728"/>
                    </a:lnTo>
                    <a:lnTo>
                      <a:pt x="4066" y="1730"/>
                    </a:lnTo>
                    <a:lnTo>
                      <a:pt x="4066" y="1730"/>
                    </a:lnTo>
                    <a:lnTo>
                      <a:pt x="4078" y="1734"/>
                    </a:lnTo>
                    <a:lnTo>
                      <a:pt x="4088" y="1734"/>
                    </a:lnTo>
                    <a:lnTo>
                      <a:pt x="4096" y="1734"/>
                    </a:lnTo>
                    <a:lnTo>
                      <a:pt x="4106" y="1732"/>
                    </a:lnTo>
                    <a:lnTo>
                      <a:pt x="4122" y="1724"/>
                    </a:lnTo>
                    <a:lnTo>
                      <a:pt x="4144" y="1714"/>
                    </a:lnTo>
                    <a:lnTo>
                      <a:pt x="4144" y="1714"/>
                    </a:lnTo>
                    <a:lnTo>
                      <a:pt x="4152" y="1708"/>
                    </a:lnTo>
                    <a:lnTo>
                      <a:pt x="4156" y="1708"/>
                    </a:lnTo>
                    <a:lnTo>
                      <a:pt x="4156" y="1708"/>
                    </a:lnTo>
                    <a:lnTo>
                      <a:pt x="4158" y="1712"/>
                    </a:lnTo>
                    <a:lnTo>
                      <a:pt x="4160" y="1714"/>
                    </a:lnTo>
                    <a:lnTo>
                      <a:pt x="4164" y="1718"/>
                    </a:lnTo>
                    <a:lnTo>
                      <a:pt x="4172" y="1718"/>
                    </a:lnTo>
                    <a:lnTo>
                      <a:pt x="4188" y="1716"/>
                    </a:lnTo>
                    <a:lnTo>
                      <a:pt x="4188" y="1716"/>
                    </a:lnTo>
                    <a:lnTo>
                      <a:pt x="4202" y="1716"/>
                    </a:lnTo>
                    <a:lnTo>
                      <a:pt x="4194" y="1720"/>
                    </a:lnTo>
                    <a:lnTo>
                      <a:pt x="4172" y="1728"/>
                    </a:lnTo>
                    <a:lnTo>
                      <a:pt x="4148" y="1740"/>
                    </a:lnTo>
                    <a:lnTo>
                      <a:pt x="4148" y="1740"/>
                    </a:lnTo>
                    <a:lnTo>
                      <a:pt x="4136" y="1746"/>
                    </a:lnTo>
                    <a:lnTo>
                      <a:pt x="4126" y="1754"/>
                    </a:lnTo>
                    <a:lnTo>
                      <a:pt x="4118" y="1762"/>
                    </a:lnTo>
                    <a:lnTo>
                      <a:pt x="4110" y="1770"/>
                    </a:lnTo>
                    <a:lnTo>
                      <a:pt x="4106" y="1780"/>
                    </a:lnTo>
                    <a:lnTo>
                      <a:pt x="4104" y="1790"/>
                    </a:lnTo>
                    <a:lnTo>
                      <a:pt x="4106" y="1802"/>
                    </a:lnTo>
                    <a:lnTo>
                      <a:pt x="4110" y="1812"/>
                    </a:lnTo>
                    <a:lnTo>
                      <a:pt x="4110" y="1812"/>
                    </a:lnTo>
                    <a:lnTo>
                      <a:pt x="4116" y="1822"/>
                    </a:lnTo>
                    <a:lnTo>
                      <a:pt x="4124" y="1826"/>
                    </a:lnTo>
                    <a:lnTo>
                      <a:pt x="4130" y="1828"/>
                    </a:lnTo>
                    <a:lnTo>
                      <a:pt x="4138" y="1824"/>
                    </a:lnTo>
                    <a:lnTo>
                      <a:pt x="4146" y="1818"/>
                    </a:lnTo>
                    <a:lnTo>
                      <a:pt x="4154" y="1810"/>
                    </a:lnTo>
                    <a:lnTo>
                      <a:pt x="4174" y="1786"/>
                    </a:lnTo>
                    <a:lnTo>
                      <a:pt x="4174" y="1786"/>
                    </a:lnTo>
                    <a:lnTo>
                      <a:pt x="4182" y="1776"/>
                    </a:lnTo>
                    <a:lnTo>
                      <a:pt x="4190" y="1770"/>
                    </a:lnTo>
                    <a:lnTo>
                      <a:pt x="4196" y="1768"/>
                    </a:lnTo>
                    <a:lnTo>
                      <a:pt x="4202" y="1768"/>
                    </a:lnTo>
                    <a:lnTo>
                      <a:pt x="4208" y="1768"/>
                    </a:lnTo>
                    <a:lnTo>
                      <a:pt x="4216" y="1766"/>
                    </a:lnTo>
                    <a:lnTo>
                      <a:pt x="4224" y="1764"/>
                    </a:lnTo>
                    <a:lnTo>
                      <a:pt x="4238" y="1756"/>
                    </a:lnTo>
                    <a:lnTo>
                      <a:pt x="4238" y="1756"/>
                    </a:lnTo>
                    <a:lnTo>
                      <a:pt x="4252" y="1748"/>
                    </a:lnTo>
                    <a:lnTo>
                      <a:pt x="4266" y="1742"/>
                    </a:lnTo>
                    <a:lnTo>
                      <a:pt x="4290" y="1734"/>
                    </a:lnTo>
                    <a:lnTo>
                      <a:pt x="4300" y="1730"/>
                    </a:lnTo>
                    <a:lnTo>
                      <a:pt x="4306" y="1728"/>
                    </a:lnTo>
                    <a:lnTo>
                      <a:pt x="4308" y="1724"/>
                    </a:lnTo>
                    <a:lnTo>
                      <a:pt x="4304" y="1720"/>
                    </a:lnTo>
                    <a:lnTo>
                      <a:pt x="4304" y="1720"/>
                    </a:lnTo>
                    <a:lnTo>
                      <a:pt x="4284" y="1700"/>
                    </a:lnTo>
                    <a:lnTo>
                      <a:pt x="4280" y="1698"/>
                    </a:lnTo>
                    <a:lnTo>
                      <a:pt x="4276" y="1696"/>
                    </a:lnTo>
                    <a:lnTo>
                      <a:pt x="4270" y="1696"/>
                    </a:lnTo>
                    <a:lnTo>
                      <a:pt x="4264" y="1698"/>
                    </a:lnTo>
                    <a:lnTo>
                      <a:pt x="4264" y="1698"/>
                    </a:lnTo>
                    <a:lnTo>
                      <a:pt x="4258" y="1700"/>
                    </a:lnTo>
                    <a:lnTo>
                      <a:pt x="4246" y="1700"/>
                    </a:lnTo>
                    <a:lnTo>
                      <a:pt x="4236" y="1700"/>
                    </a:lnTo>
                    <a:lnTo>
                      <a:pt x="4224" y="1696"/>
                    </a:lnTo>
                    <a:lnTo>
                      <a:pt x="4212" y="1694"/>
                    </a:lnTo>
                    <a:lnTo>
                      <a:pt x="4204" y="1690"/>
                    </a:lnTo>
                    <a:lnTo>
                      <a:pt x="4198" y="1684"/>
                    </a:lnTo>
                    <a:lnTo>
                      <a:pt x="4196" y="1682"/>
                    </a:lnTo>
                    <a:lnTo>
                      <a:pt x="4196" y="1680"/>
                    </a:lnTo>
                    <a:lnTo>
                      <a:pt x="4196" y="1680"/>
                    </a:lnTo>
                    <a:lnTo>
                      <a:pt x="4196" y="1676"/>
                    </a:lnTo>
                    <a:lnTo>
                      <a:pt x="4194" y="1674"/>
                    </a:lnTo>
                    <a:lnTo>
                      <a:pt x="4186" y="1672"/>
                    </a:lnTo>
                    <a:lnTo>
                      <a:pt x="4178" y="1668"/>
                    </a:lnTo>
                    <a:lnTo>
                      <a:pt x="4172" y="1664"/>
                    </a:lnTo>
                    <a:lnTo>
                      <a:pt x="4166" y="1654"/>
                    </a:lnTo>
                    <a:lnTo>
                      <a:pt x="4160" y="1640"/>
                    </a:lnTo>
                    <a:lnTo>
                      <a:pt x="4160" y="1640"/>
                    </a:lnTo>
                    <a:lnTo>
                      <a:pt x="4156" y="1624"/>
                    </a:lnTo>
                    <a:lnTo>
                      <a:pt x="4156" y="1610"/>
                    </a:lnTo>
                    <a:lnTo>
                      <a:pt x="4158" y="1598"/>
                    </a:lnTo>
                    <a:lnTo>
                      <a:pt x="4160" y="1588"/>
                    </a:lnTo>
                    <a:lnTo>
                      <a:pt x="4162" y="1580"/>
                    </a:lnTo>
                    <a:lnTo>
                      <a:pt x="4162" y="1576"/>
                    </a:lnTo>
                    <a:lnTo>
                      <a:pt x="4158" y="1574"/>
                    </a:lnTo>
                    <a:lnTo>
                      <a:pt x="4148" y="1576"/>
                    </a:lnTo>
                    <a:lnTo>
                      <a:pt x="4148" y="1576"/>
                    </a:lnTo>
                    <a:lnTo>
                      <a:pt x="4134" y="1578"/>
                    </a:lnTo>
                    <a:lnTo>
                      <a:pt x="4126" y="1580"/>
                    </a:lnTo>
                    <a:lnTo>
                      <a:pt x="4124" y="1578"/>
                    </a:lnTo>
                    <a:lnTo>
                      <a:pt x="4126" y="1574"/>
                    </a:lnTo>
                    <a:lnTo>
                      <a:pt x="4140" y="1564"/>
                    </a:lnTo>
                    <a:lnTo>
                      <a:pt x="4164" y="1550"/>
                    </a:lnTo>
                    <a:lnTo>
                      <a:pt x="4164" y="1550"/>
                    </a:lnTo>
                    <a:lnTo>
                      <a:pt x="4178" y="1538"/>
                    </a:lnTo>
                    <a:lnTo>
                      <a:pt x="4182" y="1532"/>
                    </a:lnTo>
                    <a:lnTo>
                      <a:pt x="4184" y="1528"/>
                    </a:lnTo>
                    <a:lnTo>
                      <a:pt x="4184" y="1522"/>
                    </a:lnTo>
                    <a:lnTo>
                      <a:pt x="4180" y="1516"/>
                    </a:lnTo>
                    <a:lnTo>
                      <a:pt x="4174" y="1508"/>
                    </a:lnTo>
                    <a:lnTo>
                      <a:pt x="4166" y="1502"/>
                    </a:lnTo>
                    <a:lnTo>
                      <a:pt x="4166" y="1502"/>
                    </a:lnTo>
                    <a:lnTo>
                      <a:pt x="4160" y="1498"/>
                    </a:lnTo>
                    <a:lnTo>
                      <a:pt x="4150" y="1496"/>
                    </a:lnTo>
                    <a:lnTo>
                      <a:pt x="4140" y="1496"/>
                    </a:lnTo>
                    <a:lnTo>
                      <a:pt x="4130" y="1496"/>
                    </a:lnTo>
                    <a:lnTo>
                      <a:pt x="4102" y="1500"/>
                    </a:lnTo>
                    <a:lnTo>
                      <a:pt x="4074" y="1508"/>
                    </a:lnTo>
                    <a:lnTo>
                      <a:pt x="4044" y="1518"/>
                    </a:lnTo>
                    <a:lnTo>
                      <a:pt x="4018" y="1532"/>
                    </a:lnTo>
                    <a:lnTo>
                      <a:pt x="3996" y="1546"/>
                    </a:lnTo>
                    <a:lnTo>
                      <a:pt x="3988" y="1554"/>
                    </a:lnTo>
                    <a:lnTo>
                      <a:pt x="3982" y="1560"/>
                    </a:lnTo>
                    <a:lnTo>
                      <a:pt x="3982" y="1560"/>
                    </a:lnTo>
                    <a:lnTo>
                      <a:pt x="3964" y="1584"/>
                    </a:lnTo>
                    <a:lnTo>
                      <a:pt x="3948" y="1602"/>
                    </a:lnTo>
                    <a:lnTo>
                      <a:pt x="3934" y="1616"/>
                    </a:lnTo>
                    <a:lnTo>
                      <a:pt x="3922" y="1626"/>
                    </a:lnTo>
                    <a:lnTo>
                      <a:pt x="3914" y="1634"/>
                    </a:lnTo>
                    <a:lnTo>
                      <a:pt x="3908" y="1636"/>
                    </a:lnTo>
                    <a:lnTo>
                      <a:pt x="3908" y="1636"/>
                    </a:lnTo>
                    <a:lnTo>
                      <a:pt x="3908" y="1634"/>
                    </a:lnTo>
                    <a:lnTo>
                      <a:pt x="3914" y="1628"/>
                    </a:lnTo>
                    <a:lnTo>
                      <a:pt x="3914" y="1628"/>
                    </a:lnTo>
                    <a:lnTo>
                      <a:pt x="3924" y="1616"/>
                    </a:lnTo>
                    <a:lnTo>
                      <a:pt x="3936" y="1600"/>
                    </a:lnTo>
                    <a:lnTo>
                      <a:pt x="3964" y="1560"/>
                    </a:lnTo>
                    <a:lnTo>
                      <a:pt x="3978" y="1542"/>
                    </a:lnTo>
                    <a:lnTo>
                      <a:pt x="3994" y="1524"/>
                    </a:lnTo>
                    <a:lnTo>
                      <a:pt x="4010" y="1510"/>
                    </a:lnTo>
                    <a:lnTo>
                      <a:pt x="4020" y="1504"/>
                    </a:lnTo>
                    <a:lnTo>
                      <a:pt x="4030" y="1500"/>
                    </a:lnTo>
                    <a:lnTo>
                      <a:pt x="4030" y="1500"/>
                    </a:lnTo>
                    <a:lnTo>
                      <a:pt x="4040" y="1496"/>
                    </a:lnTo>
                    <a:lnTo>
                      <a:pt x="4050" y="1490"/>
                    </a:lnTo>
                    <a:lnTo>
                      <a:pt x="4056" y="1486"/>
                    </a:lnTo>
                    <a:lnTo>
                      <a:pt x="4060" y="1482"/>
                    </a:lnTo>
                    <a:lnTo>
                      <a:pt x="4066" y="1472"/>
                    </a:lnTo>
                    <a:lnTo>
                      <a:pt x="4068" y="1464"/>
                    </a:lnTo>
                    <a:lnTo>
                      <a:pt x="4072" y="1456"/>
                    </a:lnTo>
                    <a:lnTo>
                      <a:pt x="4076" y="1452"/>
                    </a:lnTo>
                    <a:lnTo>
                      <a:pt x="4082" y="1448"/>
                    </a:lnTo>
                    <a:lnTo>
                      <a:pt x="4090" y="1444"/>
                    </a:lnTo>
                    <a:lnTo>
                      <a:pt x="4102" y="1440"/>
                    </a:lnTo>
                    <a:lnTo>
                      <a:pt x="4136" y="1432"/>
                    </a:lnTo>
                    <a:lnTo>
                      <a:pt x="4136" y="1432"/>
                    </a:lnTo>
                    <a:lnTo>
                      <a:pt x="4160" y="1430"/>
                    </a:lnTo>
                    <a:lnTo>
                      <a:pt x="4182" y="1428"/>
                    </a:lnTo>
                    <a:lnTo>
                      <a:pt x="4202" y="1430"/>
                    </a:lnTo>
                    <a:lnTo>
                      <a:pt x="4220" y="1432"/>
                    </a:lnTo>
                    <a:lnTo>
                      <a:pt x="4252" y="1436"/>
                    </a:lnTo>
                    <a:lnTo>
                      <a:pt x="4278" y="1442"/>
                    </a:lnTo>
                    <a:lnTo>
                      <a:pt x="4304" y="1446"/>
                    </a:lnTo>
                    <a:lnTo>
                      <a:pt x="4316" y="1444"/>
                    </a:lnTo>
                    <a:lnTo>
                      <a:pt x="4330" y="1442"/>
                    </a:lnTo>
                    <a:lnTo>
                      <a:pt x="4342" y="1438"/>
                    </a:lnTo>
                    <a:lnTo>
                      <a:pt x="4356" y="1430"/>
                    </a:lnTo>
                    <a:lnTo>
                      <a:pt x="4370" y="1420"/>
                    </a:lnTo>
                    <a:lnTo>
                      <a:pt x="4386" y="1406"/>
                    </a:lnTo>
                    <a:lnTo>
                      <a:pt x="4386" y="1406"/>
                    </a:lnTo>
                    <a:lnTo>
                      <a:pt x="4414" y="1382"/>
                    </a:lnTo>
                    <a:lnTo>
                      <a:pt x="4434" y="1368"/>
                    </a:lnTo>
                    <a:lnTo>
                      <a:pt x="4448" y="1362"/>
                    </a:lnTo>
                    <a:lnTo>
                      <a:pt x="4458" y="1362"/>
                    </a:lnTo>
                    <a:lnTo>
                      <a:pt x="4470" y="1366"/>
                    </a:lnTo>
                    <a:lnTo>
                      <a:pt x="4474" y="1366"/>
                    </a:lnTo>
                    <a:lnTo>
                      <a:pt x="4482" y="1358"/>
                    </a:lnTo>
                    <a:lnTo>
                      <a:pt x="4482" y="1358"/>
                    </a:lnTo>
                    <a:lnTo>
                      <a:pt x="4492" y="1348"/>
                    </a:lnTo>
                    <a:lnTo>
                      <a:pt x="4502" y="1342"/>
                    </a:lnTo>
                    <a:lnTo>
                      <a:pt x="4518" y="1330"/>
                    </a:lnTo>
                    <a:lnTo>
                      <a:pt x="4524" y="1324"/>
                    </a:lnTo>
                    <a:lnTo>
                      <a:pt x="4526" y="1316"/>
                    </a:lnTo>
                    <a:lnTo>
                      <a:pt x="4526" y="1308"/>
                    </a:lnTo>
                    <a:lnTo>
                      <a:pt x="4522" y="1296"/>
                    </a:lnTo>
                    <a:lnTo>
                      <a:pt x="4522" y="1296"/>
                    </a:lnTo>
                    <a:lnTo>
                      <a:pt x="4518" y="1284"/>
                    </a:lnTo>
                    <a:lnTo>
                      <a:pt x="4518" y="1278"/>
                    </a:lnTo>
                    <a:lnTo>
                      <a:pt x="4518" y="1274"/>
                    </a:lnTo>
                    <a:lnTo>
                      <a:pt x="4522" y="1270"/>
                    </a:lnTo>
                    <a:lnTo>
                      <a:pt x="4524" y="1268"/>
                    </a:lnTo>
                    <a:lnTo>
                      <a:pt x="4526" y="1264"/>
                    </a:lnTo>
                    <a:lnTo>
                      <a:pt x="4524" y="1258"/>
                    </a:lnTo>
                    <a:lnTo>
                      <a:pt x="4522" y="1248"/>
                    </a:lnTo>
                    <a:lnTo>
                      <a:pt x="4522" y="1248"/>
                    </a:lnTo>
                    <a:lnTo>
                      <a:pt x="4516" y="1238"/>
                    </a:lnTo>
                    <a:lnTo>
                      <a:pt x="4510" y="1234"/>
                    </a:lnTo>
                    <a:lnTo>
                      <a:pt x="4502" y="1232"/>
                    </a:lnTo>
                    <a:lnTo>
                      <a:pt x="4496" y="1230"/>
                    </a:lnTo>
                    <a:lnTo>
                      <a:pt x="4488" y="1230"/>
                    </a:lnTo>
                    <a:lnTo>
                      <a:pt x="4480" y="1228"/>
                    </a:lnTo>
                    <a:lnTo>
                      <a:pt x="4472" y="1222"/>
                    </a:lnTo>
                    <a:lnTo>
                      <a:pt x="4464" y="1214"/>
                    </a:lnTo>
                    <a:lnTo>
                      <a:pt x="4464" y="1214"/>
                    </a:lnTo>
                    <a:lnTo>
                      <a:pt x="4454" y="1204"/>
                    </a:lnTo>
                    <a:lnTo>
                      <a:pt x="4446" y="1198"/>
                    </a:lnTo>
                    <a:lnTo>
                      <a:pt x="4436" y="1198"/>
                    </a:lnTo>
                    <a:lnTo>
                      <a:pt x="4428" y="1200"/>
                    </a:lnTo>
                    <a:lnTo>
                      <a:pt x="4416" y="1204"/>
                    </a:lnTo>
                    <a:lnTo>
                      <a:pt x="4406" y="1212"/>
                    </a:lnTo>
                    <a:lnTo>
                      <a:pt x="4376" y="1234"/>
                    </a:lnTo>
                    <a:lnTo>
                      <a:pt x="4376" y="1234"/>
                    </a:lnTo>
                    <a:lnTo>
                      <a:pt x="4362" y="1242"/>
                    </a:lnTo>
                    <a:lnTo>
                      <a:pt x="4352" y="1246"/>
                    </a:lnTo>
                    <a:lnTo>
                      <a:pt x="4344" y="1246"/>
                    </a:lnTo>
                    <a:lnTo>
                      <a:pt x="4342" y="1242"/>
                    </a:lnTo>
                    <a:lnTo>
                      <a:pt x="4342" y="1238"/>
                    </a:lnTo>
                    <a:lnTo>
                      <a:pt x="4346" y="1230"/>
                    </a:lnTo>
                    <a:lnTo>
                      <a:pt x="4354" y="1226"/>
                    </a:lnTo>
                    <a:lnTo>
                      <a:pt x="4364" y="1220"/>
                    </a:lnTo>
                    <a:lnTo>
                      <a:pt x="4364" y="1220"/>
                    </a:lnTo>
                    <a:lnTo>
                      <a:pt x="4376" y="1218"/>
                    </a:lnTo>
                    <a:lnTo>
                      <a:pt x="4386" y="1214"/>
                    </a:lnTo>
                    <a:lnTo>
                      <a:pt x="4400" y="1204"/>
                    </a:lnTo>
                    <a:lnTo>
                      <a:pt x="4414" y="1196"/>
                    </a:lnTo>
                    <a:lnTo>
                      <a:pt x="4424" y="1192"/>
                    </a:lnTo>
                    <a:lnTo>
                      <a:pt x="4438" y="1190"/>
                    </a:lnTo>
                    <a:lnTo>
                      <a:pt x="4438" y="1190"/>
                    </a:lnTo>
                    <a:lnTo>
                      <a:pt x="4450" y="1186"/>
                    </a:lnTo>
                    <a:lnTo>
                      <a:pt x="4456" y="1184"/>
                    </a:lnTo>
                    <a:lnTo>
                      <a:pt x="4458" y="1178"/>
                    </a:lnTo>
                    <a:lnTo>
                      <a:pt x="4456" y="1174"/>
                    </a:lnTo>
                    <a:lnTo>
                      <a:pt x="4450" y="1170"/>
                    </a:lnTo>
                    <a:lnTo>
                      <a:pt x="4442" y="1166"/>
                    </a:lnTo>
                    <a:lnTo>
                      <a:pt x="4432" y="1162"/>
                    </a:lnTo>
                    <a:lnTo>
                      <a:pt x="4418" y="1160"/>
                    </a:lnTo>
                    <a:lnTo>
                      <a:pt x="4418" y="1160"/>
                    </a:lnTo>
                    <a:lnTo>
                      <a:pt x="4406" y="1158"/>
                    </a:lnTo>
                    <a:lnTo>
                      <a:pt x="4400" y="1154"/>
                    </a:lnTo>
                    <a:lnTo>
                      <a:pt x="4396" y="1150"/>
                    </a:lnTo>
                    <a:lnTo>
                      <a:pt x="4394" y="1146"/>
                    </a:lnTo>
                    <a:lnTo>
                      <a:pt x="4392" y="1142"/>
                    </a:lnTo>
                    <a:lnTo>
                      <a:pt x="4388" y="1138"/>
                    </a:lnTo>
                    <a:lnTo>
                      <a:pt x="4378" y="1136"/>
                    </a:lnTo>
                    <a:lnTo>
                      <a:pt x="4364" y="1132"/>
                    </a:lnTo>
                    <a:lnTo>
                      <a:pt x="4364" y="1132"/>
                    </a:lnTo>
                    <a:lnTo>
                      <a:pt x="4350" y="1130"/>
                    </a:lnTo>
                    <a:lnTo>
                      <a:pt x="4342" y="1126"/>
                    </a:lnTo>
                    <a:lnTo>
                      <a:pt x="4340" y="1122"/>
                    </a:lnTo>
                    <a:lnTo>
                      <a:pt x="4338" y="1116"/>
                    </a:lnTo>
                    <a:lnTo>
                      <a:pt x="4340" y="1112"/>
                    </a:lnTo>
                    <a:lnTo>
                      <a:pt x="4338" y="1106"/>
                    </a:lnTo>
                    <a:lnTo>
                      <a:pt x="4334" y="1102"/>
                    </a:lnTo>
                    <a:lnTo>
                      <a:pt x="4324" y="1096"/>
                    </a:lnTo>
                    <a:lnTo>
                      <a:pt x="4324" y="1096"/>
                    </a:lnTo>
                    <a:lnTo>
                      <a:pt x="4314" y="1090"/>
                    </a:lnTo>
                    <a:lnTo>
                      <a:pt x="4304" y="1084"/>
                    </a:lnTo>
                    <a:lnTo>
                      <a:pt x="4296" y="1078"/>
                    </a:lnTo>
                    <a:lnTo>
                      <a:pt x="4290" y="1070"/>
                    </a:lnTo>
                    <a:lnTo>
                      <a:pt x="4286" y="1062"/>
                    </a:lnTo>
                    <a:lnTo>
                      <a:pt x="4286" y="1052"/>
                    </a:lnTo>
                    <a:lnTo>
                      <a:pt x="4288" y="1042"/>
                    </a:lnTo>
                    <a:lnTo>
                      <a:pt x="4294" y="1030"/>
                    </a:lnTo>
                    <a:lnTo>
                      <a:pt x="4294" y="1030"/>
                    </a:lnTo>
                    <a:lnTo>
                      <a:pt x="4298" y="1024"/>
                    </a:lnTo>
                    <a:lnTo>
                      <a:pt x="4298" y="1020"/>
                    </a:lnTo>
                    <a:lnTo>
                      <a:pt x="4298" y="1016"/>
                    </a:lnTo>
                    <a:lnTo>
                      <a:pt x="4296" y="1012"/>
                    </a:lnTo>
                    <a:lnTo>
                      <a:pt x="4290" y="1008"/>
                    </a:lnTo>
                    <a:lnTo>
                      <a:pt x="4282" y="1004"/>
                    </a:lnTo>
                    <a:lnTo>
                      <a:pt x="4274" y="1002"/>
                    </a:lnTo>
                    <a:lnTo>
                      <a:pt x="4268" y="998"/>
                    </a:lnTo>
                    <a:lnTo>
                      <a:pt x="4266" y="996"/>
                    </a:lnTo>
                    <a:lnTo>
                      <a:pt x="4266" y="994"/>
                    </a:lnTo>
                    <a:lnTo>
                      <a:pt x="4266" y="990"/>
                    </a:lnTo>
                    <a:lnTo>
                      <a:pt x="4270" y="986"/>
                    </a:lnTo>
                    <a:lnTo>
                      <a:pt x="4270" y="986"/>
                    </a:lnTo>
                    <a:lnTo>
                      <a:pt x="4274" y="978"/>
                    </a:lnTo>
                    <a:lnTo>
                      <a:pt x="4274" y="970"/>
                    </a:lnTo>
                    <a:lnTo>
                      <a:pt x="4270" y="966"/>
                    </a:lnTo>
                    <a:lnTo>
                      <a:pt x="4264" y="960"/>
                    </a:lnTo>
                    <a:lnTo>
                      <a:pt x="4258" y="954"/>
                    </a:lnTo>
                    <a:lnTo>
                      <a:pt x="4252" y="948"/>
                    </a:lnTo>
                    <a:lnTo>
                      <a:pt x="4246" y="940"/>
                    </a:lnTo>
                    <a:lnTo>
                      <a:pt x="4244" y="928"/>
                    </a:lnTo>
                    <a:lnTo>
                      <a:pt x="4244" y="928"/>
                    </a:lnTo>
                    <a:lnTo>
                      <a:pt x="4240" y="912"/>
                    </a:lnTo>
                    <a:lnTo>
                      <a:pt x="4238" y="908"/>
                    </a:lnTo>
                    <a:lnTo>
                      <a:pt x="4236" y="906"/>
                    </a:lnTo>
                    <a:lnTo>
                      <a:pt x="4230" y="902"/>
                    </a:lnTo>
                    <a:lnTo>
                      <a:pt x="4228" y="898"/>
                    </a:lnTo>
                    <a:lnTo>
                      <a:pt x="4226" y="890"/>
                    </a:lnTo>
                    <a:lnTo>
                      <a:pt x="4226" y="890"/>
                    </a:lnTo>
                    <a:lnTo>
                      <a:pt x="4222" y="882"/>
                    </a:lnTo>
                    <a:lnTo>
                      <a:pt x="4218" y="878"/>
                    </a:lnTo>
                    <a:lnTo>
                      <a:pt x="4210" y="872"/>
                    </a:lnTo>
                    <a:lnTo>
                      <a:pt x="4206" y="868"/>
                    </a:lnTo>
                    <a:lnTo>
                      <a:pt x="4200" y="862"/>
                    </a:lnTo>
                    <a:lnTo>
                      <a:pt x="4194" y="852"/>
                    </a:lnTo>
                    <a:lnTo>
                      <a:pt x="4186" y="838"/>
                    </a:lnTo>
                    <a:lnTo>
                      <a:pt x="4186" y="838"/>
                    </a:lnTo>
                    <a:lnTo>
                      <a:pt x="4180" y="824"/>
                    </a:lnTo>
                    <a:lnTo>
                      <a:pt x="4174" y="816"/>
                    </a:lnTo>
                    <a:lnTo>
                      <a:pt x="4168" y="812"/>
                    </a:lnTo>
                    <a:lnTo>
                      <a:pt x="4164" y="812"/>
                    </a:lnTo>
                    <a:lnTo>
                      <a:pt x="4158" y="814"/>
                    </a:lnTo>
                    <a:lnTo>
                      <a:pt x="4154" y="820"/>
                    </a:lnTo>
                    <a:lnTo>
                      <a:pt x="4140" y="836"/>
                    </a:lnTo>
                    <a:lnTo>
                      <a:pt x="4140" y="836"/>
                    </a:lnTo>
                    <a:lnTo>
                      <a:pt x="4132" y="848"/>
                    </a:lnTo>
                    <a:lnTo>
                      <a:pt x="4128" y="860"/>
                    </a:lnTo>
                    <a:lnTo>
                      <a:pt x="4124" y="884"/>
                    </a:lnTo>
                    <a:lnTo>
                      <a:pt x="4120" y="896"/>
                    </a:lnTo>
                    <a:lnTo>
                      <a:pt x="4116" y="904"/>
                    </a:lnTo>
                    <a:lnTo>
                      <a:pt x="4114" y="906"/>
                    </a:lnTo>
                    <a:lnTo>
                      <a:pt x="4110" y="908"/>
                    </a:lnTo>
                    <a:lnTo>
                      <a:pt x="4106" y="908"/>
                    </a:lnTo>
                    <a:lnTo>
                      <a:pt x="4100" y="906"/>
                    </a:lnTo>
                    <a:lnTo>
                      <a:pt x="4100" y="906"/>
                    </a:lnTo>
                    <a:lnTo>
                      <a:pt x="4090" y="904"/>
                    </a:lnTo>
                    <a:lnTo>
                      <a:pt x="4086" y="906"/>
                    </a:lnTo>
                    <a:lnTo>
                      <a:pt x="4084" y="908"/>
                    </a:lnTo>
                    <a:lnTo>
                      <a:pt x="4084" y="912"/>
                    </a:lnTo>
                    <a:lnTo>
                      <a:pt x="4082" y="916"/>
                    </a:lnTo>
                    <a:lnTo>
                      <a:pt x="4080" y="922"/>
                    </a:lnTo>
                    <a:lnTo>
                      <a:pt x="4074" y="928"/>
                    </a:lnTo>
                    <a:lnTo>
                      <a:pt x="4060" y="934"/>
                    </a:lnTo>
                    <a:lnTo>
                      <a:pt x="4060" y="934"/>
                    </a:lnTo>
                    <a:lnTo>
                      <a:pt x="4048" y="936"/>
                    </a:lnTo>
                    <a:lnTo>
                      <a:pt x="4038" y="934"/>
                    </a:lnTo>
                    <a:lnTo>
                      <a:pt x="4030" y="930"/>
                    </a:lnTo>
                    <a:lnTo>
                      <a:pt x="4024" y="922"/>
                    </a:lnTo>
                    <a:lnTo>
                      <a:pt x="4018" y="914"/>
                    </a:lnTo>
                    <a:lnTo>
                      <a:pt x="4010" y="908"/>
                    </a:lnTo>
                    <a:lnTo>
                      <a:pt x="4002" y="902"/>
                    </a:lnTo>
                    <a:lnTo>
                      <a:pt x="3988" y="900"/>
                    </a:lnTo>
                    <a:lnTo>
                      <a:pt x="3988" y="900"/>
                    </a:lnTo>
                    <a:lnTo>
                      <a:pt x="3976" y="900"/>
                    </a:lnTo>
                    <a:lnTo>
                      <a:pt x="3972" y="900"/>
                    </a:lnTo>
                    <a:lnTo>
                      <a:pt x="3970" y="896"/>
                    </a:lnTo>
                    <a:lnTo>
                      <a:pt x="3972" y="892"/>
                    </a:lnTo>
                    <a:lnTo>
                      <a:pt x="3974" y="888"/>
                    </a:lnTo>
                    <a:lnTo>
                      <a:pt x="3976" y="884"/>
                    </a:lnTo>
                    <a:lnTo>
                      <a:pt x="3974" y="880"/>
                    </a:lnTo>
                    <a:lnTo>
                      <a:pt x="3968" y="874"/>
                    </a:lnTo>
                    <a:lnTo>
                      <a:pt x="3968" y="874"/>
                    </a:lnTo>
                    <a:lnTo>
                      <a:pt x="3962" y="870"/>
                    </a:lnTo>
                    <a:lnTo>
                      <a:pt x="3960" y="866"/>
                    </a:lnTo>
                    <a:lnTo>
                      <a:pt x="3962" y="864"/>
                    </a:lnTo>
                    <a:lnTo>
                      <a:pt x="3964" y="860"/>
                    </a:lnTo>
                    <a:lnTo>
                      <a:pt x="3966" y="856"/>
                    </a:lnTo>
                    <a:lnTo>
                      <a:pt x="3968" y="850"/>
                    </a:lnTo>
                    <a:lnTo>
                      <a:pt x="3968" y="844"/>
                    </a:lnTo>
                    <a:lnTo>
                      <a:pt x="3964" y="836"/>
                    </a:lnTo>
                    <a:lnTo>
                      <a:pt x="3964" y="836"/>
                    </a:lnTo>
                    <a:lnTo>
                      <a:pt x="3960" y="824"/>
                    </a:lnTo>
                    <a:lnTo>
                      <a:pt x="3958" y="814"/>
                    </a:lnTo>
                    <a:lnTo>
                      <a:pt x="3962" y="802"/>
                    </a:lnTo>
                    <a:lnTo>
                      <a:pt x="3966" y="794"/>
                    </a:lnTo>
                    <a:lnTo>
                      <a:pt x="3974" y="776"/>
                    </a:lnTo>
                    <a:lnTo>
                      <a:pt x="3974" y="770"/>
                    </a:lnTo>
                    <a:lnTo>
                      <a:pt x="3972" y="764"/>
                    </a:lnTo>
                    <a:lnTo>
                      <a:pt x="3972" y="764"/>
                    </a:lnTo>
                    <a:lnTo>
                      <a:pt x="3968" y="758"/>
                    </a:lnTo>
                    <a:lnTo>
                      <a:pt x="3964" y="758"/>
                    </a:lnTo>
                    <a:lnTo>
                      <a:pt x="3960" y="760"/>
                    </a:lnTo>
                    <a:lnTo>
                      <a:pt x="3958" y="764"/>
                    </a:lnTo>
                    <a:lnTo>
                      <a:pt x="3954" y="770"/>
                    </a:lnTo>
                    <a:lnTo>
                      <a:pt x="3952" y="772"/>
                    </a:lnTo>
                    <a:lnTo>
                      <a:pt x="3950" y="770"/>
                    </a:lnTo>
                    <a:lnTo>
                      <a:pt x="3950" y="770"/>
                    </a:lnTo>
                    <a:lnTo>
                      <a:pt x="3944" y="766"/>
                    </a:lnTo>
                    <a:lnTo>
                      <a:pt x="3936" y="762"/>
                    </a:lnTo>
                    <a:lnTo>
                      <a:pt x="3914" y="756"/>
                    </a:lnTo>
                    <a:lnTo>
                      <a:pt x="3902" y="752"/>
                    </a:lnTo>
                    <a:lnTo>
                      <a:pt x="3894" y="748"/>
                    </a:lnTo>
                    <a:lnTo>
                      <a:pt x="3888" y="742"/>
                    </a:lnTo>
                    <a:lnTo>
                      <a:pt x="3886" y="740"/>
                    </a:lnTo>
                    <a:lnTo>
                      <a:pt x="3886" y="736"/>
                    </a:lnTo>
                    <a:lnTo>
                      <a:pt x="3886" y="736"/>
                    </a:lnTo>
                    <a:lnTo>
                      <a:pt x="3886" y="728"/>
                    </a:lnTo>
                    <a:lnTo>
                      <a:pt x="3882" y="722"/>
                    </a:lnTo>
                    <a:lnTo>
                      <a:pt x="3878" y="716"/>
                    </a:lnTo>
                    <a:lnTo>
                      <a:pt x="3870" y="710"/>
                    </a:lnTo>
                    <a:lnTo>
                      <a:pt x="3826" y="680"/>
                    </a:lnTo>
                    <a:lnTo>
                      <a:pt x="3826" y="680"/>
                    </a:lnTo>
                    <a:lnTo>
                      <a:pt x="3806" y="668"/>
                    </a:lnTo>
                    <a:lnTo>
                      <a:pt x="3800" y="668"/>
                    </a:lnTo>
                    <a:lnTo>
                      <a:pt x="3796" y="666"/>
                    </a:lnTo>
                    <a:lnTo>
                      <a:pt x="3790" y="668"/>
                    </a:lnTo>
                    <a:lnTo>
                      <a:pt x="3788" y="670"/>
                    </a:lnTo>
                    <a:lnTo>
                      <a:pt x="3780" y="678"/>
                    </a:lnTo>
                    <a:lnTo>
                      <a:pt x="3774" y="680"/>
                    </a:lnTo>
                    <a:lnTo>
                      <a:pt x="3768" y="684"/>
                    </a:lnTo>
                    <a:lnTo>
                      <a:pt x="3760" y="684"/>
                    </a:lnTo>
                    <a:lnTo>
                      <a:pt x="3750" y="686"/>
                    </a:lnTo>
                    <a:lnTo>
                      <a:pt x="3736" y="684"/>
                    </a:lnTo>
                    <a:lnTo>
                      <a:pt x="3720" y="680"/>
                    </a:lnTo>
                    <a:lnTo>
                      <a:pt x="3700" y="674"/>
                    </a:lnTo>
                    <a:lnTo>
                      <a:pt x="3676" y="664"/>
                    </a:lnTo>
                    <a:lnTo>
                      <a:pt x="3676" y="664"/>
                    </a:lnTo>
                    <a:lnTo>
                      <a:pt x="3666" y="662"/>
                    </a:lnTo>
                    <a:lnTo>
                      <a:pt x="3656" y="660"/>
                    </a:lnTo>
                    <a:lnTo>
                      <a:pt x="3648" y="660"/>
                    </a:lnTo>
                    <a:lnTo>
                      <a:pt x="3642" y="662"/>
                    </a:lnTo>
                    <a:lnTo>
                      <a:pt x="3636" y="664"/>
                    </a:lnTo>
                    <a:lnTo>
                      <a:pt x="3632" y="668"/>
                    </a:lnTo>
                    <a:lnTo>
                      <a:pt x="3626" y="678"/>
                    </a:lnTo>
                    <a:lnTo>
                      <a:pt x="3622" y="690"/>
                    </a:lnTo>
                    <a:lnTo>
                      <a:pt x="3622" y="702"/>
                    </a:lnTo>
                    <a:lnTo>
                      <a:pt x="3626" y="712"/>
                    </a:lnTo>
                    <a:lnTo>
                      <a:pt x="3630" y="720"/>
                    </a:lnTo>
                    <a:lnTo>
                      <a:pt x="3630" y="720"/>
                    </a:lnTo>
                    <a:lnTo>
                      <a:pt x="3634" y="726"/>
                    </a:lnTo>
                    <a:lnTo>
                      <a:pt x="3636" y="732"/>
                    </a:lnTo>
                    <a:lnTo>
                      <a:pt x="3638" y="738"/>
                    </a:lnTo>
                    <a:lnTo>
                      <a:pt x="3638" y="746"/>
                    </a:lnTo>
                    <a:lnTo>
                      <a:pt x="3634" y="760"/>
                    </a:lnTo>
                    <a:lnTo>
                      <a:pt x="3626" y="772"/>
                    </a:lnTo>
                    <a:lnTo>
                      <a:pt x="3626" y="772"/>
                    </a:lnTo>
                    <a:lnTo>
                      <a:pt x="3622" y="776"/>
                    </a:lnTo>
                    <a:lnTo>
                      <a:pt x="3622" y="780"/>
                    </a:lnTo>
                    <a:lnTo>
                      <a:pt x="3624" y="782"/>
                    </a:lnTo>
                    <a:lnTo>
                      <a:pt x="3626" y="786"/>
                    </a:lnTo>
                    <a:lnTo>
                      <a:pt x="3634" y="794"/>
                    </a:lnTo>
                    <a:lnTo>
                      <a:pt x="3640" y="802"/>
                    </a:lnTo>
                    <a:lnTo>
                      <a:pt x="3644" y="814"/>
                    </a:lnTo>
                    <a:lnTo>
                      <a:pt x="3644" y="814"/>
                    </a:lnTo>
                    <a:lnTo>
                      <a:pt x="3648" y="824"/>
                    </a:lnTo>
                    <a:lnTo>
                      <a:pt x="3650" y="832"/>
                    </a:lnTo>
                    <a:lnTo>
                      <a:pt x="3650" y="840"/>
                    </a:lnTo>
                    <a:lnTo>
                      <a:pt x="3648" y="844"/>
                    </a:lnTo>
                    <a:lnTo>
                      <a:pt x="3642" y="854"/>
                    </a:lnTo>
                    <a:lnTo>
                      <a:pt x="3636" y="870"/>
                    </a:lnTo>
                    <a:lnTo>
                      <a:pt x="3636" y="870"/>
                    </a:lnTo>
                    <a:lnTo>
                      <a:pt x="3634" y="878"/>
                    </a:lnTo>
                    <a:lnTo>
                      <a:pt x="3630" y="882"/>
                    </a:lnTo>
                    <a:lnTo>
                      <a:pt x="3620" y="888"/>
                    </a:lnTo>
                    <a:lnTo>
                      <a:pt x="3616" y="890"/>
                    </a:lnTo>
                    <a:lnTo>
                      <a:pt x="3612" y="894"/>
                    </a:lnTo>
                    <a:lnTo>
                      <a:pt x="3610" y="900"/>
                    </a:lnTo>
                    <a:lnTo>
                      <a:pt x="3606" y="910"/>
                    </a:lnTo>
                    <a:lnTo>
                      <a:pt x="3606" y="910"/>
                    </a:lnTo>
                    <a:lnTo>
                      <a:pt x="3606" y="916"/>
                    </a:lnTo>
                    <a:lnTo>
                      <a:pt x="3608" y="920"/>
                    </a:lnTo>
                    <a:lnTo>
                      <a:pt x="3614" y="926"/>
                    </a:lnTo>
                    <a:lnTo>
                      <a:pt x="3622" y="932"/>
                    </a:lnTo>
                    <a:lnTo>
                      <a:pt x="3634" y="940"/>
                    </a:lnTo>
                    <a:lnTo>
                      <a:pt x="3648" y="950"/>
                    </a:lnTo>
                    <a:lnTo>
                      <a:pt x="3660" y="964"/>
                    </a:lnTo>
                    <a:lnTo>
                      <a:pt x="3666" y="972"/>
                    </a:lnTo>
                    <a:lnTo>
                      <a:pt x="3672" y="984"/>
                    </a:lnTo>
                    <a:lnTo>
                      <a:pt x="3678" y="996"/>
                    </a:lnTo>
                    <a:lnTo>
                      <a:pt x="3684" y="1010"/>
                    </a:lnTo>
                    <a:lnTo>
                      <a:pt x="3684" y="1010"/>
                    </a:lnTo>
                    <a:lnTo>
                      <a:pt x="3686" y="1026"/>
                    </a:lnTo>
                    <a:lnTo>
                      <a:pt x="3688" y="1040"/>
                    </a:lnTo>
                    <a:lnTo>
                      <a:pt x="3688" y="1052"/>
                    </a:lnTo>
                    <a:lnTo>
                      <a:pt x="3684" y="1066"/>
                    </a:lnTo>
                    <a:lnTo>
                      <a:pt x="3680" y="1078"/>
                    </a:lnTo>
                    <a:lnTo>
                      <a:pt x="3674" y="1088"/>
                    </a:lnTo>
                    <a:lnTo>
                      <a:pt x="3668" y="1100"/>
                    </a:lnTo>
                    <a:lnTo>
                      <a:pt x="3660" y="1108"/>
                    </a:lnTo>
                    <a:lnTo>
                      <a:pt x="3642" y="1126"/>
                    </a:lnTo>
                    <a:lnTo>
                      <a:pt x="3624" y="1140"/>
                    </a:lnTo>
                    <a:lnTo>
                      <a:pt x="3604" y="1150"/>
                    </a:lnTo>
                    <a:lnTo>
                      <a:pt x="3584" y="1158"/>
                    </a:lnTo>
                    <a:lnTo>
                      <a:pt x="3584" y="1158"/>
                    </a:lnTo>
                    <a:lnTo>
                      <a:pt x="3570" y="1166"/>
                    </a:lnTo>
                    <a:lnTo>
                      <a:pt x="3562" y="1172"/>
                    </a:lnTo>
                    <a:lnTo>
                      <a:pt x="3562" y="1174"/>
                    </a:lnTo>
                    <a:lnTo>
                      <a:pt x="3562" y="1176"/>
                    </a:lnTo>
                    <a:lnTo>
                      <a:pt x="3566" y="1184"/>
                    </a:lnTo>
                    <a:lnTo>
                      <a:pt x="3572" y="1190"/>
                    </a:lnTo>
                    <a:lnTo>
                      <a:pt x="3578" y="1200"/>
                    </a:lnTo>
                    <a:lnTo>
                      <a:pt x="3582" y="1212"/>
                    </a:lnTo>
                    <a:lnTo>
                      <a:pt x="3584" y="1220"/>
                    </a:lnTo>
                    <a:lnTo>
                      <a:pt x="3584" y="1228"/>
                    </a:lnTo>
                    <a:lnTo>
                      <a:pt x="3584" y="1228"/>
                    </a:lnTo>
                    <a:lnTo>
                      <a:pt x="3586" y="1244"/>
                    </a:lnTo>
                    <a:lnTo>
                      <a:pt x="3588" y="1260"/>
                    </a:lnTo>
                    <a:lnTo>
                      <a:pt x="3598" y="1290"/>
                    </a:lnTo>
                    <a:lnTo>
                      <a:pt x="3602" y="1302"/>
                    </a:lnTo>
                    <a:lnTo>
                      <a:pt x="3604" y="1314"/>
                    </a:lnTo>
                    <a:lnTo>
                      <a:pt x="3604" y="1324"/>
                    </a:lnTo>
                    <a:lnTo>
                      <a:pt x="3600" y="1328"/>
                    </a:lnTo>
                    <a:lnTo>
                      <a:pt x="3598" y="1330"/>
                    </a:lnTo>
                    <a:lnTo>
                      <a:pt x="3598" y="1330"/>
                    </a:lnTo>
                    <a:lnTo>
                      <a:pt x="3594" y="1334"/>
                    </a:lnTo>
                    <a:lnTo>
                      <a:pt x="3592" y="1336"/>
                    </a:lnTo>
                    <a:lnTo>
                      <a:pt x="3590" y="1344"/>
                    </a:lnTo>
                    <a:lnTo>
                      <a:pt x="3592" y="1352"/>
                    </a:lnTo>
                    <a:lnTo>
                      <a:pt x="3594" y="1358"/>
                    </a:lnTo>
                    <a:lnTo>
                      <a:pt x="3596" y="1362"/>
                    </a:lnTo>
                    <a:lnTo>
                      <a:pt x="3594" y="1366"/>
                    </a:lnTo>
                    <a:lnTo>
                      <a:pt x="3590" y="1364"/>
                    </a:lnTo>
                    <a:lnTo>
                      <a:pt x="3580" y="1358"/>
                    </a:lnTo>
                    <a:lnTo>
                      <a:pt x="3580" y="1358"/>
                    </a:lnTo>
                    <a:lnTo>
                      <a:pt x="3570" y="1354"/>
                    </a:lnTo>
                    <a:lnTo>
                      <a:pt x="3568" y="1354"/>
                    </a:lnTo>
                    <a:lnTo>
                      <a:pt x="3566" y="1356"/>
                    </a:lnTo>
                    <a:lnTo>
                      <a:pt x="3562" y="1362"/>
                    </a:lnTo>
                    <a:lnTo>
                      <a:pt x="3562" y="1370"/>
                    </a:lnTo>
                    <a:lnTo>
                      <a:pt x="3562" y="1376"/>
                    </a:lnTo>
                    <a:lnTo>
                      <a:pt x="3560" y="1382"/>
                    </a:lnTo>
                    <a:lnTo>
                      <a:pt x="3558" y="1384"/>
                    </a:lnTo>
                    <a:lnTo>
                      <a:pt x="3554" y="1384"/>
                    </a:lnTo>
                    <a:lnTo>
                      <a:pt x="3546" y="1380"/>
                    </a:lnTo>
                    <a:lnTo>
                      <a:pt x="3546" y="1380"/>
                    </a:lnTo>
                    <a:lnTo>
                      <a:pt x="3536" y="1372"/>
                    </a:lnTo>
                    <a:lnTo>
                      <a:pt x="3530" y="1366"/>
                    </a:lnTo>
                    <a:lnTo>
                      <a:pt x="3522" y="1352"/>
                    </a:lnTo>
                    <a:lnTo>
                      <a:pt x="3516" y="1342"/>
                    </a:lnTo>
                    <a:lnTo>
                      <a:pt x="3508" y="1332"/>
                    </a:lnTo>
                    <a:lnTo>
                      <a:pt x="3494" y="1316"/>
                    </a:lnTo>
                    <a:lnTo>
                      <a:pt x="3474" y="1298"/>
                    </a:lnTo>
                    <a:lnTo>
                      <a:pt x="3474" y="1298"/>
                    </a:lnTo>
                    <a:lnTo>
                      <a:pt x="3464" y="1286"/>
                    </a:lnTo>
                    <a:lnTo>
                      <a:pt x="3458" y="1276"/>
                    </a:lnTo>
                    <a:lnTo>
                      <a:pt x="3456" y="1266"/>
                    </a:lnTo>
                    <a:lnTo>
                      <a:pt x="3456" y="1254"/>
                    </a:lnTo>
                    <a:lnTo>
                      <a:pt x="3456" y="1234"/>
                    </a:lnTo>
                    <a:lnTo>
                      <a:pt x="3456" y="1222"/>
                    </a:lnTo>
                    <a:lnTo>
                      <a:pt x="3454" y="1210"/>
                    </a:lnTo>
                    <a:lnTo>
                      <a:pt x="3454" y="1210"/>
                    </a:lnTo>
                    <a:lnTo>
                      <a:pt x="3450" y="1194"/>
                    </a:lnTo>
                    <a:lnTo>
                      <a:pt x="3450" y="1182"/>
                    </a:lnTo>
                    <a:lnTo>
                      <a:pt x="3454" y="1172"/>
                    </a:lnTo>
                    <a:lnTo>
                      <a:pt x="3456" y="1162"/>
                    </a:lnTo>
                    <a:lnTo>
                      <a:pt x="3458" y="1154"/>
                    </a:lnTo>
                    <a:lnTo>
                      <a:pt x="3456" y="1148"/>
                    </a:lnTo>
                    <a:lnTo>
                      <a:pt x="3452" y="1142"/>
                    </a:lnTo>
                    <a:lnTo>
                      <a:pt x="3440" y="1138"/>
                    </a:lnTo>
                    <a:lnTo>
                      <a:pt x="3440" y="1138"/>
                    </a:lnTo>
                    <a:lnTo>
                      <a:pt x="3414" y="1134"/>
                    </a:lnTo>
                    <a:lnTo>
                      <a:pt x="3394" y="1130"/>
                    </a:lnTo>
                    <a:lnTo>
                      <a:pt x="3378" y="1130"/>
                    </a:lnTo>
                    <a:lnTo>
                      <a:pt x="3368" y="1130"/>
                    </a:lnTo>
                    <a:lnTo>
                      <a:pt x="3354" y="1132"/>
                    </a:lnTo>
                    <a:lnTo>
                      <a:pt x="3346" y="1132"/>
                    </a:lnTo>
                    <a:lnTo>
                      <a:pt x="3340" y="1130"/>
                    </a:lnTo>
                    <a:lnTo>
                      <a:pt x="3340" y="1130"/>
                    </a:lnTo>
                    <a:lnTo>
                      <a:pt x="3334" y="1128"/>
                    </a:lnTo>
                    <a:lnTo>
                      <a:pt x="3330" y="1124"/>
                    </a:lnTo>
                    <a:lnTo>
                      <a:pt x="3322" y="1116"/>
                    </a:lnTo>
                    <a:lnTo>
                      <a:pt x="3316" y="1110"/>
                    </a:lnTo>
                    <a:lnTo>
                      <a:pt x="3306" y="1104"/>
                    </a:lnTo>
                    <a:lnTo>
                      <a:pt x="3290" y="1098"/>
                    </a:lnTo>
                    <a:lnTo>
                      <a:pt x="3268" y="1092"/>
                    </a:lnTo>
                    <a:lnTo>
                      <a:pt x="3268" y="1092"/>
                    </a:lnTo>
                    <a:lnTo>
                      <a:pt x="3246" y="1084"/>
                    </a:lnTo>
                    <a:lnTo>
                      <a:pt x="3236" y="1078"/>
                    </a:lnTo>
                    <a:lnTo>
                      <a:pt x="3232" y="1072"/>
                    </a:lnTo>
                    <a:lnTo>
                      <a:pt x="3230" y="1066"/>
                    </a:lnTo>
                    <a:lnTo>
                      <a:pt x="3226" y="1058"/>
                    </a:lnTo>
                    <a:lnTo>
                      <a:pt x="3216" y="1048"/>
                    </a:lnTo>
                    <a:lnTo>
                      <a:pt x="3198" y="1036"/>
                    </a:lnTo>
                    <a:lnTo>
                      <a:pt x="3166" y="1022"/>
                    </a:lnTo>
                    <a:lnTo>
                      <a:pt x="3166" y="1022"/>
                    </a:lnTo>
                    <a:lnTo>
                      <a:pt x="3146" y="1016"/>
                    </a:lnTo>
                    <a:lnTo>
                      <a:pt x="3130" y="1012"/>
                    </a:lnTo>
                    <a:lnTo>
                      <a:pt x="3114" y="1010"/>
                    </a:lnTo>
                    <a:lnTo>
                      <a:pt x="3102" y="1010"/>
                    </a:lnTo>
                    <a:lnTo>
                      <a:pt x="3090" y="1012"/>
                    </a:lnTo>
                    <a:lnTo>
                      <a:pt x="3080" y="1014"/>
                    </a:lnTo>
                    <a:lnTo>
                      <a:pt x="3064" y="1020"/>
                    </a:lnTo>
                    <a:lnTo>
                      <a:pt x="3052" y="1026"/>
                    </a:lnTo>
                    <a:lnTo>
                      <a:pt x="3046" y="1028"/>
                    </a:lnTo>
                    <a:lnTo>
                      <a:pt x="3044" y="1026"/>
                    </a:lnTo>
                    <a:lnTo>
                      <a:pt x="3042" y="1022"/>
                    </a:lnTo>
                    <a:lnTo>
                      <a:pt x="3040" y="1008"/>
                    </a:lnTo>
                    <a:lnTo>
                      <a:pt x="3040" y="1008"/>
                    </a:lnTo>
                    <a:lnTo>
                      <a:pt x="3040" y="992"/>
                    </a:lnTo>
                    <a:lnTo>
                      <a:pt x="3038" y="978"/>
                    </a:lnTo>
                    <a:lnTo>
                      <a:pt x="3032" y="962"/>
                    </a:lnTo>
                    <a:lnTo>
                      <a:pt x="3026" y="948"/>
                    </a:lnTo>
                    <a:lnTo>
                      <a:pt x="3024" y="938"/>
                    </a:lnTo>
                    <a:lnTo>
                      <a:pt x="3020" y="928"/>
                    </a:lnTo>
                    <a:lnTo>
                      <a:pt x="3020" y="928"/>
                    </a:lnTo>
                    <a:lnTo>
                      <a:pt x="3018" y="922"/>
                    </a:lnTo>
                    <a:lnTo>
                      <a:pt x="3016" y="918"/>
                    </a:lnTo>
                    <a:lnTo>
                      <a:pt x="3012" y="914"/>
                    </a:lnTo>
                    <a:lnTo>
                      <a:pt x="3008" y="914"/>
                    </a:lnTo>
                    <a:lnTo>
                      <a:pt x="2998" y="912"/>
                    </a:lnTo>
                    <a:lnTo>
                      <a:pt x="2986" y="912"/>
                    </a:lnTo>
                    <a:lnTo>
                      <a:pt x="2974" y="910"/>
                    </a:lnTo>
                    <a:lnTo>
                      <a:pt x="2968" y="908"/>
                    </a:lnTo>
                    <a:lnTo>
                      <a:pt x="2962" y="904"/>
                    </a:lnTo>
                    <a:lnTo>
                      <a:pt x="2958" y="898"/>
                    </a:lnTo>
                    <a:lnTo>
                      <a:pt x="2954" y="890"/>
                    </a:lnTo>
                    <a:lnTo>
                      <a:pt x="2950" y="882"/>
                    </a:lnTo>
                    <a:lnTo>
                      <a:pt x="2948" y="868"/>
                    </a:lnTo>
                    <a:lnTo>
                      <a:pt x="2948" y="868"/>
                    </a:lnTo>
                    <a:lnTo>
                      <a:pt x="2948" y="854"/>
                    </a:lnTo>
                    <a:lnTo>
                      <a:pt x="2948" y="840"/>
                    </a:lnTo>
                    <a:lnTo>
                      <a:pt x="2952" y="824"/>
                    </a:lnTo>
                    <a:lnTo>
                      <a:pt x="2956" y="808"/>
                    </a:lnTo>
                    <a:lnTo>
                      <a:pt x="2968" y="778"/>
                    </a:lnTo>
                    <a:lnTo>
                      <a:pt x="2982" y="750"/>
                    </a:lnTo>
                    <a:lnTo>
                      <a:pt x="2998" y="724"/>
                    </a:lnTo>
                    <a:lnTo>
                      <a:pt x="3014" y="706"/>
                    </a:lnTo>
                    <a:lnTo>
                      <a:pt x="3026" y="692"/>
                    </a:lnTo>
                    <a:lnTo>
                      <a:pt x="3030" y="690"/>
                    </a:lnTo>
                    <a:lnTo>
                      <a:pt x="3034" y="690"/>
                    </a:lnTo>
                    <a:lnTo>
                      <a:pt x="3034" y="690"/>
                    </a:lnTo>
                    <a:lnTo>
                      <a:pt x="3038" y="688"/>
                    </a:lnTo>
                    <a:lnTo>
                      <a:pt x="3042" y="684"/>
                    </a:lnTo>
                    <a:lnTo>
                      <a:pt x="3044" y="670"/>
                    </a:lnTo>
                    <a:lnTo>
                      <a:pt x="3048" y="662"/>
                    </a:lnTo>
                    <a:lnTo>
                      <a:pt x="3052" y="654"/>
                    </a:lnTo>
                    <a:lnTo>
                      <a:pt x="3060" y="648"/>
                    </a:lnTo>
                    <a:lnTo>
                      <a:pt x="3070" y="646"/>
                    </a:lnTo>
                    <a:lnTo>
                      <a:pt x="3070" y="646"/>
                    </a:lnTo>
                    <a:lnTo>
                      <a:pt x="3096" y="644"/>
                    </a:lnTo>
                    <a:lnTo>
                      <a:pt x="3106" y="640"/>
                    </a:lnTo>
                    <a:lnTo>
                      <a:pt x="3116" y="636"/>
                    </a:lnTo>
                    <a:lnTo>
                      <a:pt x="3120" y="630"/>
                    </a:lnTo>
                    <a:lnTo>
                      <a:pt x="3120" y="624"/>
                    </a:lnTo>
                    <a:lnTo>
                      <a:pt x="3116" y="614"/>
                    </a:lnTo>
                    <a:lnTo>
                      <a:pt x="3106" y="604"/>
                    </a:lnTo>
                    <a:lnTo>
                      <a:pt x="3106" y="604"/>
                    </a:lnTo>
                    <a:lnTo>
                      <a:pt x="3098" y="596"/>
                    </a:lnTo>
                    <a:lnTo>
                      <a:pt x="3098" y="594"/>
                    </a:lnTo>
                    <a:lnTo>
                      <a:pt x="3098" y="592"/>
                    </a:lnTo>
                    <a:lnTo>
                      <a:pt x="3104" y="590"/>
                    </a:lnTo>
                    <a:lnTo>
                      <a:pt x="3112" y="590"/>
                    </a:lnTo>
                    <a:lnTo>
                      <a:pt x="3124" y="590"/>
                    </a:lnTo>
                    <a:lnTo>
                      <a:pt x="3136" y="586"/>
                    </a:lnTo>
                    <a:lnTo>
                      <a:pt x="3140" y="584"/>
                    </a:lnTo>
                    <a:lnTo>
                      <a:pt x="3144" y="580"/>
                    </a:lnTo>
                    <a:lnTo>
                      <a:pt x="3148" y="576"/>
                    </a:lnTo>
                    <a:lnTo>
                      <a:pt x="3150" y="568"/>
                    </a:lnTo>
                    <a:lnTo>
                      <a:pt x="3150" y="568"/>
                    </a:lnTo>
                    <a:lnTo>
                      <a:pt x="3152" y="562"/>
                    </a:lnTo>
                    <a:lnTo>
                      <a:pt x="3154" y="558"/>
                    </a:lnTo>
                    <a:lnTo>
                      <a:pt x="3156" y="556"/>
                    </a:lnTo>
                    <a:lnTo>
                      <a:pt x="3158" y="556"/>
                    </a:lnTo>
                    <a:lnTo>
                      <a:pt x="3166" y="560"/>
                    </a:lnTo>
                    <a:lnTo>
                      <a:pt x="3176" y="566"/>
                    </a:lnTo>
                    <a:lnTo>
                      <a:pt x="3188" y="570"/>
                    </a:lnTo>
                    <a:lnTo>
                      <a:pt x="3194" y="572"/>
                    </a:lnTo>
                    <a:lnTo>
                      <a:pt x="3200" y="570"/>
                    </a:lnTo>
                    <a:lnTo>
                      <a:pt x="3206" y="568"/>
                    </a:lnTo>
                    <a:lnTo>
                      <a:pt x="3214" y="562"/>
                    </a:lnTo>
                    <a:lnTo>
                      <a:pt x="3220" y="554"/>
                    </a:lnTo>
                    <a:lnTo>
                      <a:pt x="3228" y="542"/>
                    </a:lnTo>
                    <a:lnTo>
                      <a:pt x="3228" y="542"/>
                    </a:lnTo>
                    <a:lnTo>
                      <a:pt x="3242" y="520"/>
                    </a:lnTo>
                    <a:lnTo>
                      <a:pt x="3252" y="506"/>
                    </a:lnTo>
                    <a:lnTo>
                      <a:pt x="3258" y="496"/>
                    </a:lnTo>
                    <a:lnTo>
                      <a:pt x="3260" y="492"/>
                    </a:lnTo>
                    <a:lnTo>
                      <a:pt x="3258" y="490"/>
                    </a:lnTo>
                    <a:lnTo>
                      <a:pt x="3256" y="488"/>
                    </a:lnTo>
                    <a:lnTo>
                      <a:pt x="3244" y="486"/>
                    </a:lnTo>
                    <a:lnTo>
                      <a:pt x="3228" y="484"/>
                    </a:lnTo>
                    <a:lnTo>
                      <a:pt x="3204" y="478"/>
                    </a:lnTo>
                    <a:lnTo>
                      <a:pt x="3204" y="478"/>
                    </a:lnTo>
                    <a:lnTo>
                      <a:pt x="3186" y="474"/>
                    </a:lnTo>
                    <a:lnTo>
                      <a:pt x="3176" y="470"/>
                    </a:lnTo>
                    <a:lnTo>
                      <a:pt x="3170" y="464"/>
                    </a:lnTo>
                    <a:lnTo>
                      <a:pt x="3164" y="460"/>
                    </a:lnTo>
                    <a:lnTo>
                      <a:pt x="3154" y="450"/>
                    </a:lnTo>
                    <a:lnTo>
                      <a:pt x="3144" y="444"/>
                    </a:lnTo>
                    <a:lnTo>
                      <a:pt x="3132" y="438"/>
                    </a:lnTo>
                    <a:lnTo>
                      <a:pt x="3132" y="438"/>
                    </a:lnTo>
                    <a:lnTo>
                      <a:pt x="3140" y="438"/>
                    </a:lnTo>
                    <a:lnTo>
                      <a:pt x="3148" y="438"/>
                    </a:lnTo>
                    <a:lnTo>
                      <a:pt x="3158" y="440"/>
                    </a:lnTo>
                    <a:lnTo>
                      <a:pt x="3166" y="442"/>
                    </a:lnTo>
                    <a:lnTo>
                      <a:pt x="3184" y="452"/>
                    </a:lnTo>
                    <a:lnTo>
                      <a:pt x="3202" y="462"/>
                    </a:lnTo>
                    <a:lnTo>
                      <a:pt x="3220" y="470"/>
                    </a:lnTo>
                    <a:lnTo>
                      <a:pt x="3230" y="472"/>
                    </a:lnTo>
                    <a:lnTo>
                      <a:pt x="3238" y="474"/>
                    </a:lnTo>
                    <a:lnTo>
                      <a:pt x="3246" y="474"/>
                    </a:lnTo>
                    <a:lnTo>
                      <a:pt x="3254" y="472"/>
                    </a:lnTo>
                    <a:lnTo>
                      <a:pt x="3262" y="466"/>
                    </a:lnTo>
                    <a:lnTo>
                      <a:pt x="3270" y="460"/>
                    </a:lnTo>
                    <a:lnTo>
                      <a:pt x="3270" y="460"/>
                    </a:lnTo>
                    <a:lnTo>
                      <a:pt x="3296" y="434"/>
                    </a:lnTo>
                    <a:lnTo>
                      <a:pt x="3302" y="426"/>
                    </a:lnTo>
                    <a:lnTo>
                      <a:pt x="3304" y="420"/>
                    </a:lnTo>
                    <a:lnTo>
                      <a:pt x="3304" y="416"/>
                    </a:lnTo>
                    <a:lnTo>
                      <a:pt x="3298" y="412"/>
                    </a:lnTo>
                    <a:lnTo>
                      <a:pt x="3278" y="402"/>
                    </a:lnTo>
                    <a:lnTo>
                      <a:pt x="3278" y="402"/>
                    </a:lnTo>
                    <a:lnTo>
                      <a:pt x="3270" y="394"/>
                    </a:lnTo>
                    <a:lnTo>
                      <a:pt x="3270" y="392"/>
                    </a:lnTo>
                    <a:lnTo>
                      <a:pt x="3270" y="390"/>
                    </a:lnTo>
                    <a:lnTo>
                      <a:pt x="3278" y="388"/>
                    </a:lnTo>
                    <a:lnTo>
                      <a:pt x="3288" y="388"/>
                    </a:lnTo>
                    <a:lnTo>
                      <a:pt x="3302" y="388"/>
                    </a:lnTo>
                    <a:lnTo>
                      <a:pt x="3316" y="390"/>
                    </a:lnTo>
                    <a:lnTo>
                      <a:pt x="3328" y="394"/>
                    </a:lnTo>
                    <a:lnTo>
                      <a:pt x="3336" y="400"/>
                    </a:lnTo>
                    <a:lnTo>
                      <a:pt x="3336" y="400"/>
                    </a:lnTo>
                    <a:lnTo>
                      <a:pt x="3346" y="410"/>
                    </a:lnTo>
                    <a:lnTo>
                      <a:pt x="3356" y="418"/>
                    </a:lnTo>
                    <a:lnTo>
                      <a:pt x="3366" y="426"/>
                    </a:lnTo>
                    <a:lnTo>
                      <a:pt x="3374" y="438"/>
                    </a:lnTo>
                    <a:lnTo>
                      <a:pt x="3374" y="438"/>
                    </a:lnTo>
                    <a:lnTo>
                      <a:pt x="3380" y="448"/>
                    </a:lnTo>
                    <a:lnTo>
                      <a:pt x="3388" y="452"/>
                    </a:lnTo>
                    <a:lnTo>
                      <a:pt x="3398" y="454"/>
                    </a:lnTo>
                    <a:lnTo>
                      <a:pt x="3410" y="452"/>
                    </a:lnTo>
                    <a:lnTo>
                      <a:pt x="3410" y="452"/>
                    </a:lnTo>
                    <a:lnTo>
                      <a:pt x="3412" y="450"/>
                    </a:lnTo>
                    <a:lnTo>
                      <a:pt x="3414" y="448"/>
                    </a:lnTo>
                    <a:lnTo>
                      <a:pt x="3412" y="444"/>
                    </a:lnTo>
                    <a:lnTo>
                      <a:pt x="3398" y="436"/>
                    </a:lnTo>
                    <a:lnTo>
                      <a:pt x="3392" y="432"/>
                    </a:lnTo>
                    <a:lnTo>
                      <a:pt x="3386" y="426"/>
                    </a:lnTo>
                    <a:lnTo>
                      <a:pt x="3384" y="424"/>
                    </a:lnTo>
                    <a:lnTo>
                      <a:pt x="3384" y="422"/>
                    </a:lnTo>
                    <a:lnTo>
                      <a:pt x="3386" y="418"/>
                    </a:lnTo>
                    <a:lnTo>
                      <a:pt x="3390" y="416"/>
                    </a:lnTo>
                    <a:lnTo>
                      <a:pt x="3390" y="416"/>
                    </a:lnTo>
                    <a:lnTo>
                      <a:pt x="3398" y="412"/>
                    </a:lnTo>
                    <a:lnTo>
                      <a:pt x="3404" y="406"/>
                    </a:lnTo>
                    <a:lnTo>
                      <a:pt x="3414" y="396"/>
                    </a:lnTo>
                    <a:lnTo>
                      <a:pt x="3426" y="388"/>
                    </a:lnTo>
                    <a:lnTo>
                      <a:pt x="3432" y="386"/>
                    </a:lnTo>
                    <a:lnTo>
                      <a:pt x="3438" y="386"/>
                    </a:lnTo>
                    <a:lnTo>
                      <a:pt x="3438" y="386"/>
                    </a:lnTo>
                    <a:lnTo>
                      <a:pt x="3444" y="386"/>
                    </a:lnTo>
                    <a:lnTo>
                      <a:pt x="3450" y="384"/>
                    </a:lnTo>
                    <a:lnTo>
                      <a:pt x="3456" y="380"/>
                    </a:lnTo>
                    <a:lnTo>
                      <a:pt x="3460" y="374"/>
                    </a:lnTo>
                    <a:lnTo>
                      <a:pt x="3468" y="364"/>
                    </a:lnTo>
                    <a:lnTo>
                      <a:pt x="3474" y="360"/>
                    </a:lnTo>
                    <a:lnTo>
                      <a:pt x="3478" y="360"/>
                    </a:lnTo>
                    <a:lnTo>
                      <a:pt x="3478" y="360"/>
                    </a:lnTo>
                    <a:lnTo>
                      <a:pt x="3484" y="358"/>
                    </a:lnTo>
                    <a:lnTo>
                      <a:pt x="3490" y="354"/>
                    </a:lnTo>
                    <a:lnTo>
                      <a:pt x="3492" y="348"/>
                    </a:lnTo>
                    <a:lnTo>
                      <a:pt x="3494" y="342"/>
                    </a:lnTo>
                    <a:lnTo>
                      <a:pt x="3492" y="334"/>
                    </a:lnTo>
                    <a:lnTo>
                      <a:pt x="3488" y="324"/>
                    </a:lnTo>
                    <a:lnTo>
                      <a:pt x="3482" y="316"/>
                    </a:lnTo>
                    <a:lnTo>
                      <a:pt x="3472" y="306"/>
                    </a:lnTo>
                    <a:lnTo>
                      <a:pt x="3472" y="306"/>
                    </a:lnTo>
                    <a:lnTo>
                      <a:pt x="3464" y="298"/>
                    </a:lnTo>
                    <a:lnTo>
                      <a:pt x="3460" y="292"/>
                    </a:lnTo>
                    <a:lnTo>
                      <a:pt x="3460" y="288"/>
                    </a:lnTo>
                    <a:lnTo>
                      <a:pt x="3462" y="284"/>
                    </a:lnTo>
                    <a:lnTo>
                      <a:pt x="3464" y="282"/>
                    </a:lnTo>
                    <a:lnTo>
                      <a:pt x="3466" y="278"/>
                    </a:lnTo>
                    <a:lnTo>
                      <a:pt x="3464" y="272"/>
                    </a:lnTo>
                    <a:lnTo>
                      <a:pt x="3458" y="266"/>
                    </a:lnTo>
                    <a:lnTo>
                      <a:pt x="3458" y="266"/>
                    </a:lnTo>
                    <a:lnTo>
                      <a:pt x="3452" y="260"/>
                    </a:lnTo>
                    <a:lnTo>
                      <a:pt x="3452" y="258"/>
                    </a:lnTo>
                    <a:lnTo>
                      <a:pt x="3452" y="258"/>
                    </a:lnTo>
                    <a:lnTo>
                      <a:pt x="3458" y="256"/>
                    </a:lnTo>
                    <a:lnTo>
                      <a:pt x="3466" y="256"/>
                    </a:lnTo>
                    <a:lnTo>
                      <a:pt x="3476" y="256"/>
                    </a:lnTo>
                    <a:lnTo>
                      <a:pt x="3484" y="254"/>
                    </a:lnTo>
                    <a:lnTo>
                      <a:pt x="3492" y="250"/>
                    </a:lnTo>
                    <a:lnTo>
                      <a:pt x="3494" y="248"/>
                    </a:lnTo>
                    <a:lnTo>
                      <a:pt x="3496" y="242"/>
                    </a:lnTo>
                    <a:lnTo>
                      <a:pt x="3496" y="242"/>
                    </a:lnTo>
                    <a:lnTo>
                      <a:pt x="3498" y="234"/>
                    </a:lnTo>
                    <a:lnTo>
                      <a:pt x="3496" y="230"/>
                    </a:lnTo>
                    <a:lnTo>
                      <a:pt x="3492" y="228"/>
                    </a:lnTo>
                    <a:lnTo>
                      <a:pt x="3488" y="226"/>
                    </a:lnTo>
                    <a:lnTo>
                      <a:pt x="3486" y="224"/>
                    </a:lnTo>
                    <a:lnTo>
                      <a:pt x="3484" y="222"/>
                    </a:lnTo>
                    <a:lnTo>
                      <a:pt x="3484" y="220"/>
                    </a:lnTo>
                    <a:lnTo>
                      <a:pt x="3490" y="214"/>
                    </a:lnTo>
                    <a:lnTo>
                      <a:pt x="3490" y="214"/>
                    </a:lnTo>
                    <a:lnTo>
                      <a:pt x="3492" y="206"/>
                    </a:lnTo>
                    <a:lnTo>
                      <a:pt x="3492" y="204"/>
                    </a:lnTo>
                    <a:lnTo>
                      <a:pt x="3486" y="202"/>
                    </a:lnTo>
                    <a:lnTo>
                      <a:pt x="3480" y="200"/>
                    </a:lnTo>
                    <a:lnTo>
                      <a:pt x="3472" y="198"/>
                    </a:lnTo>
                    <a:lnTo>
                      <a:pt x="3464" y="196"/>
                    </a:lnTo>
                    <a:lnTo>
                      <a:pt x="3458" y="192"/>
                    </a:lnTo>
                    <a:lnTo>
                      <a:pt x="3454" y="182"/>
                    </a:lnTo>
                    <a:lnTo>
                      <a:pt x="3454" y="182"/>
                    </a:lnTo>
                    <a:lnTo>
                      <a:pt x="3452" y="174"/>
                    </a:lnTo>
                    <a:lnTo>
                      <a:pt x="3446" y="170"/>
                    </a:lnTo>
                    <a:lnTo>
                      <a:pt x="3438" y="168"/>
                    </a:lnTo>
                    <a:lnTo>
                      <a:pt x="3428" y="168"/>
                    </a:lnTo>
                    <a:lnTo>
                      <a:pt x="3404" y="166"/>
                    </a:lnTo>
                    <a:lnTo>
                      <a:pt x="3392" y="164"/>
                    </a:lnTo>
                    <a:lnTo>
                      <a:pt x="3378" y="160"/>
                    </a:lnTo>
                    <a:lnTo>
                      <a:pt x="3378" y="160"/>
                    </a:lnTo>
                    <a:lnTo>
                      <a:pt x="3360" y="152"/>
                    </a:lnTo>
                    <a:lnTo>
                      <a:pt x="3356" y="152"/>
                    </a:lnTo>
                    <a:lnTo>
                      <a:pt x="3354" y="152"/>
                    </a:lnTo>
                    <a:lnTo>
                      <a:pt x="3348" y="156"/>
                    </a:lnTo>
                    <a:lnTo>
                      <a:pt x="3344" y="158"/>
                    </a:lnTo>
                    <a:lnTo>
                      <a:pt x="3334" y="158"/>
                    </a:lnTo>
                    <a:lnTo>
                      <a:pt x="3334" y="158"/>
                    </a:lnTo>
                    <a:lnTo>
                      <a:pt x="3326" y="160"/>
                    </a:lnTo>
                    <a:lnTo>
                      <a:pt x="3320" y="164"/>
                    </a:lnTo>
                    <a:lnTo>
                      <a:pt x="3318" y="172"/>
                    </a:lnTo>
                    <a:lnTo>
                      <a:pt x="3318" y="180"/>
                    </a:lnTo>
                    <a:lnTo>
                      <a:pt x="3322" y="190"/>
                    </a:lnTo>
                    <a:lnTo>
                      <a:pt x="3326" y="198"/>
                    </a:lnTo>
                    <a:lnTo>
                      <a:pt x="3330" y="206"/>
                    </a:lnTo>
                    <a:lnTo>
                      <a:pt x="3338" y="210"/>
                    </a:lnTo>
                    <a:lnTo>
                      <a:pt x="3338" y="210"/>
                    </a:lnTo>
                    <a:lnTo>
                      <a:pt x="3342" y="212"/>
                    </a:lnTo>
                    <a:lnTo>
                      <a:pt x="3346" y="216"/>
                    </a:lnTo>
                    <a:lnTo>
                      <a:pt x="3346" y="222"/>
                    </a:lnTo>
                    <a:lnTo>
                      <a:pt x="3344" y="226"/>
                    </a:lnTo>
                    <a:lnTo>
                      <a:pt x="3342" y="230"/>
                    </a:lnTo>
                    <a:lnTo>
                      <a:pt x="3338" y="232"/>
                    </a:lnTo>
                    <a:lnTo>
                      <a:pt x="3332" y="234"/>
                    </a:lnTo>
                    <a:lnTo>
                      <a:pt x="3326" y="234"/>
                    </a:lnTo>
                    <a:lnTo>
                      <a:pt x="3326" y="234"/>
                    </a:lnTo>
                    <a:lnTo>
                      <a:pt x="3322" y="236"/>
                    </a:lnTo>
                    <a:lnTo>
                      <a:pt x="3320" y="240"/>
                    </a:lnTo>
                    <a:lnTo>
                      <a:pt x="3318" y="256"/>
                    </a:lnTo>
                    <a:lnTo>
                      <a:pt x="3318" y="266"/>
                    </a:lnTo>
                    <a:lnTo>
                      <a:pt x="3316" y="278"/>
                    </a:lnTo>
                    <a:lnTo>
                      <a:pt x="3310" y="288"/>
                    </a:lnTo>
                    <a:lnTo>
                      <a:pt x="3300" y="296"/>
                    </a:lnTo>
                    <a:lnTo>
                      <a:pt x="3300" y="296"/>
                    </a:lnTo>
                    <a:lnTo>
                      <a:pt x="3292" y="302"/>
                    </a:lnTo>
                    <a:lnTo>
                      <a:pt x="3286" y="310"/>
                    </a:lnTo>
                    <a:lnTo>
                      <a:pt x="3284" y="316"/>
                    </a:lnTo>
                    <a:lnTo>
                      <a:pt x="3282" y="322"/>
                    </a:lnTo>
                    <a:lnTo>
                      <a:pt x="3280" y="328"/>
                    </a:lnTo>
                    <a:lnTo>
                      <a:pt x="3278" y="332"/>
                    </a:lnTo>
                    <a:lnTo>
                      <a:pt x="3274" y="338"/>
                    </a:lnTo>
                    <a:lnTo>
                      <a:pt x="3264" y="342"/>
                    </a:lnTo>
                    <a:lnTo>
                      <a:pt x="3264" y="342"/>
                    </a:lnTo>
                    <a:lnTo>
                      <a:pt x="3250" y="344"/>
                    </a:lnTo>
                    <a:lnTo>
                      <a:pt x="3246" y="344"/>
                    </a:lnTo>
                    <a:lnTo>
                      <a:pt x="3244" y="340"/>
                    </a:lnTo>
                    <a:lnTo>
                      <a:pt x="3238" y="330"/>
                    </a:lnTo>
                    <a:lnTo>
                      <a:pt x="3232" y="322"/>
                    </a:lnTo>
                    <a:lnTo>
                      <a:pt x="3222" y="312"/>
                    </a:lnTo>
                    <a:lnTo>
                      <a:pt x="3222" y="312"/>
                    </a:lnTo>
                    <a:lnTo>
                      <a:pt x="3214" y="304"/>
                    </a:lnTo>
                    <a:lnTo>
                      <a:pt x="3210" y="298"/>
                    </a:lnTo>
                    <a:lnTo>
                      <a:pt x="3212" y="292"/>
                    </a:lnTo>
                    <a:lnTo>
                      <a:pt x="3216" y="288"/>
                    </a:lnTo>
                    <a:lnTo>
                      <a:pt x="3226" y="280"/>
                    </a:lnTo>
                    <a:lnTo>
                      <a:pt x="3232" y="276"/>
                    </a:lnTo>
                    <a:lnTo>
                      <a:pt x="3234" y="270"/>
                    </a:lnTo>
                    <a:lnTo>
                      <a:pt x="3234" y="270"/>
                    </a:lnTo>
                    <a:lnTo>
                      <a:pt x="3232" y="260"/>
                    </a:lnTo>
                    <a:lnTo>
                      <a:pt x="3228" y="248"/>
                    </a:lnTo>
                    <a:lnTo>
                      <a:pt x="3220" y="234"/>
                    </a:lnTo>
                    <a:lnTo>
                      <a:pt x="3212" y="220"/>
                    </a:lnTo>
                    <a:lnTo>
                      <a:pt x="3200" y="210"/>
                    </a:lnTo>
                    <a:lnTo>
                      <a:pt x="3190" y="202"/>
                    </a:lnTo>
                    <a:lnTo>
                      <a:pt x="3184" y="200"/>
                    </a:lnTo>
                    <a:lnTo>
                      <a:pt x="3178" y="200"/>
                    </a:lnTo>
                    <a:lnTo>
                      <a:pt x="3172" y="202"/>
                    </a:lnTo>
                    <a:lnTo>
                      <a:pt x="3168" y="206"/>
                    </a:lnTo>
                    <a:lnTo>
                      <a:pt x="3168" y="206"/>
                    </a:lnTo>
                    <a:lnTo>
                      <a:pt x="3158" y="216"/>
                    </a:lnTo>
                    <a:lnTo>
                      <a:pt x="3154" y="230"/>
                    </a:lnTo>
                    <a:lnTo>
                      <a:pt x="3148" y="254"/>
                    </a:lnTo>
                    <a:lnTo>
                      <a:pt x="3146" y="262"/>
                    </a:lnTo>
                    <a:lnTo>
                      <a:pt x="3142" y="268"/>
                    </a:lnTo>
                    <a:lnTo>
                      <a:pt x="3140" y="268"/>
                    </a:lnTo>
                    <a:lnTo>
                      <a:pt x="3138" y="268"/>
                    </a:lnTo>
                    <a:lnTo>
                      <a:pt x="3130" y="260"/>
                    </a:lnTo>
                    <a:lnTo>
                      <a:pt x="3130" y="260"/>
                    </a:lnTo>
                    <a:lnTo>
                      <a:pt x="3124" y="252"/>
                    </a:lnTo>
                    <a:lnTo>
                      <a:pt x="3122" y="246"/>
                    </a:lnTo>
                    <a:lnTo>
                      <a:pt x="3122" y="242"/>
                    </a:lnTo>
                    <a:lnTo>
                      <a:pt x="3124" y="238"/>
                    </a:lnTo>
                    <a:lnTo>
                      <a:pt x="3126" y="236"/>
                    </a:lnTo>
                    <a:lnTo>
                      <a:pt x="3128" y="232"/>
                    </a:lnTo>
                    <a:lnTo>
                      <a:pt x="3124" y="226"/>
                    </a:lnTo>
                    <a:lnTo>
                      <a:pt x="3118" y="216"/>
                    </a:lnTo>
                    <a:lnTo>
                      <a:pt x="3118" y="216"/>
                    </a:lnTo>
                    <a:lnTo>
                      <a:pt x="3112" y="208"/>
                    </a:lnTo>
                    <a:lnTo>
                      <a:pt x="3110" y="204"/>
                    </a:lnTo>
                    <a:lnTo>
                      <a:pt x="3110" y="202"/>
                    </a:lnTo>
                    <a:lnTo>
                      <a:pt x="3114" y="198"/>
                    </a:lnTo>
                    <a:lnTo>
                      <a:pt x="3120" y="194"/>
                    </a:lnTo>
                    <a:lnTo>
                      <a:pt x="3126" y="192"/>
                    </a:lnTo>
                    <a:lnTo>
                      <a:pt x="3128" y="190"/>
                    </a:lnTo>
                    <a:lnTo>
                      <a:pt x="3126" y="186"/>
                    </a:lnTo>
                    <a:lnTo>
                      <a:pt x="3116" y="180"/>
                    </a:lnTo>
                    <a:lnTo>
                      <a:pt x="3116" y="180"/>
                    </a:lnTo>
                    <a:lnTo>
                      <a:pt x="3104" y="174"/>
                    </a:lnTo>
                    <a:lnTo>
                      <a:pt x="3094" y="172"/>
                    </a:lnTo>
                    <a:lnTo>
                      <a:pt x="3088" y="172"/>
                    </a:lnTo>
                    <a:lnTo>
                      <a:pt x="3082" y="174"/>
                    </a:lnTo>
                    <a:lnTo>
                      <a:pt x="3076" y="176"/>
                    </a:lnTo>
                    <a:lnTo>
                      <a:pt x="3070" y="178"/>
                    </a:lnTo>
                    <a:lnTo>
                      <a:pt x="3064" y="176"/>
                    </a:lnTo>
                    <a:lnTo>
                      <a:pt x="3054" y="172"/>
                    </a:lnTo>
                    <a:lnTo>
                      <a:pt x="3054" y="172"/>
                    </a:lnTo>
                    <a:lnTo>
                      <a:pt x="3050" y="170"/>
                    </a:lnTo>
                    <a:lnTo>
                      <a:pt x="3048" y="168"/>
                    </a:lnTo>
                    <a:lnTo>
                      <a:pt x="3048" y="164"/>
                    </a:lnTo>
                    <a:lnTo>
                      <a:pt x="3048" y="162"/>
                    </a:lnTo>
                    <a:lnTo>
                      <a:pt x="3054" y="154"/>
                    </a:lnTo>
                    <a:lnTo>
                      <a:pt x="3062" y="148"/>
                    </a:lnTo>
                    <a:lnTo>
                      <a:pt x="3076" y="134"/>
                    </a:lnTo>
                    <a:lnTo>
                      <a:pt x="3080" y="130"/>
                    </a:lnTo>
                    <a:lnTo>
                      <a:pt x="3080" y="126"/>
                    </a:lnTo>
                    <a:lnTo>
                      <a:pt x="3078" y="124"/>
                    </a:lnTo>
                    <a:lnTo>
                      <a:pt x="3078" y="124"/>
                    </a:lnTo>
                    <a:lnTo>
                      <a:pt x="3064" y="114"/>
                    </a:lnTo>
                    <a:lnTo>
                      <a:pt x="3046" y="102"/>
                    </a:lnTo>
                    <a:lnTo>
                      <a:pt x="3038" y="94"/>
                    </a:lnTo>
                    <a:lnTo>
                      <a:pt x="3032" y="86"/>
                    </a:lnTo>
                    <a:lnTo>
                      <a:pt x="3028" y="78"/>
                    </a:lnTo>
                    <a:lnTo>
                      <a:pt x="3026" y="66"/>
                    </a:lnTo>
                    <a:lnTo>
                      <a:pt x="3026" y="66"/>
                    </a:lnTo>
                    <a:lnTo>
                      <a:pt x="3026" y="62"/>
                    </a:lnTo>
                    <a:lnTo>
                      <a:pt x="3026" y="56"/>
                    </a:lnTo>
                    <a:lnTo>
                      <a:pt x="3020" y="44"/>
                    </a:lnTo>
                    <a:lnTo>
                      <a:pt x="3010" y="34"/>
                    </a:lnTo>
                    <a:lnTo>
                      <a:pt x="2998" y="24"/>
                    </a:lnTo>
                    <a:lnTo>
                      <a:pt x="2986" y="14"/>
                    </a:lnTo>
                    <a:lnTo>
                      <a:pt x="2972" y="8"/>
                    </a:lnTo>
                    <a:lnTo>
                      <a:pt x="2960" y="2"/>
                    </a:lnTo>
                    <a:lnTo>
                      <a:pt x="2948" y="0"/>
                    </a:lnTo>
                    <a:lnTo>
                      <a:pt x="2948" y="0"/>
                    </a:lnTo>
                    <a:lnTo>
                      <a:pt x="2940" y="0"/>
                    </a:lnTo>
                    <a:lnTo>
                      <a:pt x="2936" y="2"/>
                    </a:lnTo>
                    <a:lnTo>
                      <a:pt x="2934" y="4"/>
                    </a:lnTo>
                    <a:lnTo>
                      <a:pt x="2932" y="8"/>
                    </a:lnTo>
                    <a:lnTo>
                      <a:pt x="2932" y="12"/>
                    </a:lnTo>
                    <a:lnTo>
                      <a:pt x="2928" y="16"/>
                    </a:lnTo>
                    <a:lnTo>
                      <a:pt x="2924" y="20"/>
                    </a:lnTo>
                    <a:lnTo>
                      <a:pt x="2916" y="22"/>
                    </a:lnTo>
                    <a:lnTo>
                      <a:pt x="2916" y="22"/>
                    </a:lnTo>
                    <a:lnTo>
                      <a:pt x="2908" y="26"/>
                    </a:lnTo>
                    <a:lnTo>
                      <a:pt x="2904" y="28"/>
                    </a:lnTo>
                    <a:lnTo>
                      <a:pt x="2902" y="30"/>
                    </a:lnTo>
                    <a:lnTo>
                      <a:pt x="2902" y="34"/>
                    </a:lnTo>
                    <a:lnTo>
                      <a:pt x="2902" y="38"/>
                    </a:lnTo>
                    <a:lnTo>
                      <a:pt x="2900" y="42"/>
                    </a:lnTo>
                    <a:lnTo>
                      <a:pt x="2894" y="46"/>
                    </a:lnTo>
                    <a:lnTo>
                      <a:pt x="2886" y="50"/>
                    </a:lnTo>
                    <a:lnTo>
                      <a:pt x="2886" y="50"/>
                    </a:lnTo>
                    <a:lnTo>
                      <a:pt x="2878" y="56"/>
                    </a:lnTo>
                    <a:lnTo>
                      <a:pt x="2876" y="62"/>
                    </a:lnTo>
                    <a:lnTo>
                      <a:pt x="2876" y="70"/>
                    </a:lnTo>
                    <a:lnTo>
                      <a:pt x="2878" y="80"/>
                    </a:lnTo>
                    <a:lnTo>
                      <a:pt x="2886" y="98"/>
                    </a:lnTo>
                    <a:lnTo>
                      <a:pt x="2888" y="106"/>
                    </a:lnTo>
                    <a:lnTo>
                      <a:pt x="2886" y="114"/>
                    </a:lnTo>
                    <a:lnTo>
                      <a:pt x="2886" y="114"/>
                    </a:lnTo>
                    <a:lnTo>
                      <a:pt x="2884" y="128"/>
                    </a:lnTo>
                    <a:lnTo>
                      <a:pt x="2884" y="136"/>
                    </a:lnTo>
                    <a:lnTo>
                      <a:pt x="2886" y="142"/>
                    </a:lnTo>
                    <a:lnTo>
                      <a:pt x="2890" y="150"/>
                    </a:lnTo>
                    <a:lnTo>
                      <a:pt x="2898" y="156"/>
                    </a:lnTo>
                    <a:lnTo>
                      <a:pt x="2910" y="162"/>
                    </a:lnTo>
                    <a:lnTo>
                      <a:pt x="2924" y="168"/>
                    </a:lnTo>
                    <a:lnTo>
                      <a:pt x="2924" y="168"/>
                    </a:lnTo>
                    <a:lnTo>
                      <a:pt x="2940" y="172"/>
                    </a:lnTo>
                    <a:lnTo>
                      <a:pt x="2954" y="180"/>
                    </a:lnTo>
                    <a:lnTo>
                      <a:pt x="2964" y="186"/>
                    </a:lnTo>
                    <a:lnTo>
                      <a:pt x="2970" y="194"/>
                    </a:lnTo>
                    <a:lnTo>
                      <a:pt x="2974" y="202"/>
                    </a:lnTo>
                    <a:lnTo>
                      <a:pt x="2974" y="208"/>
                    </a:lnTo>
                    <a:lnTo>
                      <a:pt x="2972" y="214"/>
                    </a:lnTo>
                    <a:lnTo>
                      <a:pt x="2966" y="218"/>
                    </a:lnTo>
                    <a:lnTo>
                      <a:pt x="2966" y="218"/>
                    </a:lnTo>
                    <a:lnTo>
                      <a:pt x="2958" y="222"/>
                    </a:lnTo>
                    <a:lnTo>
                      <a:pt x="2954" y="226"/>
                    </a:lnTo>
                    <a:lnTo>
                      <a:pt x="2954" y="232"/>
                    </a:lnTo>
                    <a:lnTo>
                      <a:pt x="2956" y="234"/>
                    </a:lnTo>
                    <a:lnTo>
                      <a:pt x="2960" y="238"/>
                    </a:lnTo>
                    <a:lnTo>
                      <a:pt x="2966" y="238"/>
                    </a:lnTo>
                    <a:lnTo>
                      <a:pt x="2972" y="236"/>
                    </a:lnTo>
                    <a:lnTo>
                      <a:pt x="2980" y="234"/>
                    </a:lnTo>
                    <a:lnTo>
                      <a:pt x="2980" y="234"/>
                    </a:lnTo>
                    <a:lnTo>
                      <a:pt x="2986" y="230"/>
                    </a:lnTo>
                    <a:lnTo>
                      <a:pt x="2992" y="230"/>
                    </a:lnTo>
                    <a:lnTo>
                      <a:pt x="2996" y="232"/>
                    </a:lnTo>
                    <a:lnTo>
                      <a:pt x="2996" y="238"/>
                    </a:lnTo>
                    <a:lnTo>
                      <a:pt x="2994" y="246"/>
                    </a:lnTo>
                    <a:lnTo>
                      <a:pt x="2988" y="254"/>
                    </a:lnTo>
                    <a:lnTo>
                      <a:pt x="2980" y="262"/>
                    </a:lnTo>
                    <a:lnTo>
                      <a:pt x="2968" y="272"/>
                    </a:lnTo>
                    <a:lnTo>
                      <a:pt x="2968" y="272"/>
                    </a:lnTo>
                    <a:lnTo>
                      <a:pt x="2956" y="280"/>
                    </a:lnTo>
                    <a:lnTo>
                      <a:pt x="2946" y="282"/>
                    </a:lnTo>
                    <a:lnTo>
                      <a:pt x="2940" y="284"/>
                    </a:lnTo>
                    <a:lnTo>
                      <a:pt x="2934" y="282"/>
                    </a:lnTo>
                    <a:lnTo>
                      <a:pt x="2930" y="280"/>
                    </a:lnTo>
                    <a:lnTo>
                      <a:pt x="2928" y="282"/>
                    </a:lnTo>
                    <a:lnTo>
                      <a:pt x="2926" y="284"/>
                    </a:lnTo>
                    <a:lnTo>
                      <a:pt x="2922" y="290"/>
                    </a:lnTo>
                    <a:lnTo>
                      <a:pt x="2922" y="290"/>
                    </a:lnTo>
                    <a:lnTo>
                      <a:pt x="2920" y="300"/>
                    </a:lnTo>
                    <a:lnTo>
                      <a:pt x="2924" y="312"/>
                    </a:lnTo>
                    <a:lnTo>
                      <a:pt x="2930" y="334"/>
                    </a:lnTo>
                    <a:lnTo>
                      <a:pt x="2934" y="342"/>
                    </a:lnTo>
                    <a:lnTo>
                      <a:pt x="2934" y="348"/>
                    </a:lnTo>
                    <a:lnTo>
                      <a:pt x="2934" y="350"/>
                    </a:lnTo>
                    <a:lnTo>
                      <a:pt x="2930" y="348"/>
                    </a:lnTo>
                    <a:lnTo>
                      <a:pt x="2922" y="344"/>
                    </a:lnTo>
                    <a:lnTo>
                      <a:pt x="2922" y="344"/>
                    </a:lnTo>
                    <a:lnTo>
                      <a:pt x="2902" y="330"/>
                    </a:lnTo>
                    <a:lnTo>
                      <a:pt x="2896" y="326"/>
                    </a:lnTo>
                    <a:lnTo>
                      <a:pt x="2892" y="320"/>
                    </a:lnTo>
                    <a:lnTo>
                      <a:pt x="2892" y="316"/>
                    </a:lnTo>
                    <a:lnTo>
                      <a:pt x="2892" y="312"/>
                    </a:lnTo>
                    <a:lnTo>
                      <a:pt x="2896" y="298"/>
                    </a:lnTo>
                    <a:lnTo>
                      <a:pt x="2896" y="298"/>
                    </a:lnTo>
                    <a:lnTo>
                      <a:pt x="2900" y="286"/>
                    </a:lnTo>
                    <a:lnTo>
                      <a:pt x="2902" y="280"/>
                    </a:lnTo>
                    <a:lnTo>
                      <a:pt x="2900" y="276"/>
                    </a:lnTo>
                    <a:lnTo>
                      <a:pt x="2898" y="272"/>
                    </a:lnTo>
                    <a:lnTo>
                      <a:pt x="2892" y="270"/>
                    </a:lnTo>
                    <a:lnTo>
                      <a:pt x="2886" y="270"/>
                    </a:lnTo>
                    <a:lnTo>
                      <a:pt x="2876" y="270"/>
                    </a:lnTo>
                    <a:lnTo>
                      <a:pt x="2876" y="270"/>
                    </a:lnTo>
                    <a:lnTo>
                      <a:pt x="2866" y="270"/>
                    </a:lnTo>
                    <a:lnTo>
                      <a:pt x="2858" y="268"/>
                    </a:lnTo>
                    <a:lnTo>
                      <a:pt x="2844" y="260"/>
                    </a:lnTo>
                    <a:lnTo>
                      <a:pt x="2838" y="256"/>
                    </a:lnTo>
                    <a:lnTo>
                      <a:pt x="2830" y="254"/>
                    </a:lnTo>
                    <a:lnTo>
                      <a:pt x="2820" y="254"/>
                    </a:lnTo>
                    <a:lnTo>
                      <a:pt x="2810" y="258"/>
                    </a:lnTo>
                    <a:lnTo>
                      <a:pt x="2810" y="258"/>
                    </a:lnTo>
                    <a:lnTo>
                      <a:pt x="2800" y="264"/>
                    </a:lnTo>
                    <a:lnTo>
                      <a:pt x="2796" y="272"/>
                    </a:lnTo>
                    <a:lnTo>
                      <a:pt x="2796" y="278"/>
                    </a:lnTo>
                    <a:lnTo>
                      <a:pt x="2796" y="286"/>
                    </a:lnTo>
                    <a:lnTo>
                      <a:pt x="2798" y="292"/>
                    </a:lnTo>
                    <a:lnTo>
                      <a:pt x="2798" y="298"/>
                    </a:lnTo>
                    <a:lnTo>
                      <a:pt x="2794" y="304"/>
                    </a:lnTo>
                    <a:lnTo>
                      <a:pt x="2786" y="308"/>
                    </a:lnTo>
                    <a:lnTo>
                      <a:pt x="2786" y="308"/>
                    </a:lnTo>
                    <a:lnTo>
                      <a:pt x="2778" y="310"/>
                    </a:lnTo>
                    <a:lnTo>
                      <a:pt x="2772" y="308"/>
                    </a:lnTo>
                    <a:lnTo>
                      <a:pt x="2760" y="302"/>
                    </a:lnTo>
                    <a:lnTo>
                      <a:pt x="2752" y="300"/>
                    </a:lnTo>
                    <a:lnTo>
                      <a:pt x="2742" y="298"/>
                    </a:lnTo>
                    <a:lnTo>
                      <a:pt x="2726" y="298"/>
                    </a:lnTo>
                    <a:lnTo>
                      <a:pt x="2708" y="302"/>
                    </a:lnTo>
                    <a:lnTo>
                      <a:pt x="2708" y="302"/>
                    </a:lnTo>
                    <a:lnTo>
                      <a:pt x="2680" y="306"/>
                    </a:lnTo>
                    <a:lnTo>
                      <a:pt x="2658" y="306"/>
                    </a:lnTo>
                    <a:lnTo>
                      <a:pt x="2640" y="302"/>
                    </a:lnTo>
                    <a:lnTo>
                      <a:pt x="2626" y="298"/>
                    </a:lnTo>
                    <a:lnTo>
                      <a:pt x="2606" y="286"/>
                    </a:lnTo>
                    <a:lnTo>
                      <a:pt x="2598" y="284"/>
                    </a:lnTo>
                    <a:lnTo>
                      <a:pt x="2590" y="286"/>
                    </a:lnTo>
                    <a:lnTo>
                      <a:pt x="2590" y="286"/>
                    </a:lnTo>
                    <a:lnTo>
                      <a:pt x="2580" y="288"/>
                    </a:lnTo>
                    <a:lnTo>
                      <a:pt x="2572" y="288"/>
                    </a:lnTo>
                    <a:lnTo>
                      <a:pt x="2564" y="286"/>
                    </a:lnTo>
                    <a:lnTo>
                      <a:pt x="2556" y="282"/>
                    </a:lnTo>
                    <a:lnTo>
                      <a:pt x="2544" y="272"/>
                    </a:lnTo>
                    <a:lnTo>
                      <a:pt x="2532" y="260"/>
                    </a:lnTo>
                    <a:lnTo>
                      <a:pt x="2520" y="246"/>
                    </a:lnTo>
                    <a:lnTo>
                      <a:pt x="2510" y="234"/>
                    </a:lnTo>
                    <a:lnTo>
                      <a:pt x="2504" y="230"/>
                    </a:lnTo>
                    <a:lnTo>
                      <a:pt x="2498" y="226"/>
                    </a:lnTo>
                    <a:lnTo>
                      <a:pt x="2492" y="224"/>
                    </a:lnTo>
                    <a:lnTo>
                      <a:pt x="2486" y="224"/>
                    </a:lnTo>
                    <a:lnTo>
                      <a:pt x="2486" y="224"/>
                    </a:lnTo>
                    <a:lnTo>
                      <a:pt x="2456" y="230"/>
                    </a:lnTo>
                    <a:lnTo>
                      <a:pt x="2438" y="234"/>
                    </a:lnTo>
                    <a:lnTo>
                      <a:pt x="2422" y="240"/>
                    </a:lnTo>
                    <a:lnTo>
                      <a:pt x="2408" y="246"/>
                    </a:lnTo>
                    <a:lnTo>
                      <a:pt x="2398" y="252"/>
                    </a:lnTo>
                    <a:lnTo>
                      <a:pt x="2394" y="256"/>
                    </a:lnTo>
                    <a:lnTo>
                      <a:pt x="2392" y="262"/>
                    </a:lnTo>
                    <a:lnTo>
                      <a:pt x="2392" y="266"/>
                    </a:lnTo>
                    <a:lnTo>
                      <a:pt x="2394" y="270"/>
                    </a:lnTo>
                    <a:lnTo>
                      <a:pt x="2394" y="270"/>
                    </a:lnTo>
                    <a:lnTo>
                      <a:pt x="2398" y="274"/>
                    </a:lnTo>
                    <a:lnTo>
                      <a:pt x="2400" y="278"/>
                    </a:lnTo>
                    <a:lnTo>
                      <a:pt x="2406" y="280"/>
                    </a:lnTo>
                    <a:lnTo>
                      <a:pt x="2410" y="280"/>
                    </a:lnTo>
                    <a:lnTo>
                      <a:pt x="2420" y="278"/>
                    </a:lnTo>
                    <a:lnTo>
                      <a:pt x="2432" y="274"/>
                    </a:lnTo>
                    <a:lnTo>
                      <a:pt x="2456" y="264"/>
                    </a:lnTo>
                    <a:lnTo>
                      <a:pt x="2464" y="262"/>
                    </a:lnTo>
                    <a:lnTo>
                      <a:pt x="2468" y="262"/>
                    </a:lnTo>
                    <a:lnTo>
                      <a:pt x="2472" y="264"/>
                    </a:lnTo>
                    <a:lnTo>
                      <a:pt x="2472" y="264"/>
                    </a:lnTo>
                    <a:lnTo>
                      <a:pt x="2474" y="266"/>
                    </a:lnTo>
                    <a:lnTo>
                      <a:pt x="2476" y="268"/>
                    </a:lnTo>
                    <a:lnTo>
                      <a:pt x="2472" y="272"/>
                    </a:lnTo>
                    <a:lnTo>
                      <a:pt x="2456" y="278"/>
                    </a:lnTo>
                    <a:lnTo>
                      <a:pt x="2436" y="286"/>
                    </a:lnTo>
                    <a:lnTo>
                      <a:pt x="2428" y="292"/>
                    </a:lnTo>
                    <a:lnTo>
                      <a:pt x="2422" y="298"/>
                    </a:lnTo>
                    <a:lnTo>
                      <a:pt x="2422" y="298"/>
                    </a:lnTo>
                    <a:lnTo>
                      <a:pt x="2422" y="304"/>
                    </a:lnTo>
                    <a:lnTo>
                      <a:pt x="2424" y="308"/>
                    </a:lnTo>
                    <a:lnTo>
                      <a:pt x="2428" y="320"/>
                    </a:lnTo>
                    <a:lnTo>
                      <a:pt x="2440" y="342"/>
                    </a:lnTo>
                    <a:lnTo>
                      <a:pt x="2444" y="350"/>
                    </a:lnTo>
                    <a:lnTo>
                      <a:pt x="2444" y="352"/>
                    </a:lnTo>
                    <a:lnTo>
                      <a:pt x="2444" y="354"/>
                    </a:lnTo>
                    <a:lnTo>
                      <a:pt x="2436" y="350"/>
                    </a:lnTo>
                    <a:lnTo>
                      <a:pt x="2418" y="340"/>
                    </a:lnTo>
                    <a:lnTo>
                      <a:pt x="2418" y="340"/>
                    </a:lnTo>
                    <a:lnTo>
                      <a:pt x="2398" y="326"/>
                    </a:lnTo>
                    <a:lnTo>
                      <a:pt x="2382" y="318"/>
                    </a:lnTo>
                    <a:lnTo>
                      <a:pt x="2364" y="310"/>
                    </a:lnTo>
                    <a:lnTo>
                      <a:pt x="2354" y="306"/>
                    </a:lnTo>
                    <a:lnTo>
                      <a:pt x="2348" y="302"/>
                    </a:lnTo>
                    <a:lnTo>
                      <a:pt x="2340" y="294"/>
                    </a:lnTo>
                    <a:lnTo>
                      <a:pt x="2340" y="294"/>
                    </a:lnTo>
                    <a:lnTo>
                      <a:pt x="2334" y="288"/>
                    </a:lnTo>
                    <a:lnTo>
                      <a:pt x="2330" y="286"/>
                    </a:lnTo>
                    <a:lnTo>
                      <a:pt x="2326" y="288"/>
                    </a:lnTo>
                    <a:lnTo>
                      <a:pt x="2320" y="290"/>
                    </a:lnTo>
                    <a:lnTo>
                      <a:pt x="2314" y="296"/>
                    </a:lnTo>
                    <a:lnTo>
                      <a:pt x="2304" y="300"/>
                    </a:lnTo>
                    <a:lnTo>
                      <a:pt x="2286" y="304"/>
                    </a:lnTo>
                    <a:lnTo>
                      <a:pt x="2262" y="308"/>
                    </a:lnTo>
                    <a:lnTo>
                      <a:pt x="2262" y="308"/>
                    </a:lnTo>
                    <a:lnTo>
                      <a:pt x="2206" y="308"/>
                    </a:lnTo>
                    <a:lnTo>
                      <a:pt x="2180" y="308"/>
                    </a:lnTo>
                    <a:lnTo>
                      <a:pt x="2156" y="306"/>
                    </a:lnTo>
                    <a:lnTo>
                      <a:pt x="2140" y="302"/>
                    </a:lnTo>
                    <a:lnTo>
                      <a:pt x="2128" y="298"/>
                    </a:lnTo>
                    <a:lnTo>
                      <a:pt x="2124" y="296"/>
                    </a:lnTo>
                    <a:lnTo>
                      <a:pt x="2124" y="292"/>
                    </a:lnTo>
                    <a:lnTo>
                      <a:pt x="2126" y="288"/>
                    </a:lnTo>
                    <a:lnTo>
                      <a:pt x="2130" y="284"/>
                    </a:lnTo>
                    <a:lnTo>
                      <a:pt x="2130" y="284"/>
                    </a:lnTo>
                    <a:lnTo>
                      <a:pt x="2142" y="278"/>
                    </a:lnTo>
                    <a:lnTo>
                      <a:pt x="2154" y="274"/>
                    </a:lnTo>
                    <a:lnTo>
                      <a:pt x="2172" y="272"/>
                    </a:lnTo>
                    <a:lnTo>
                      <a:pt x="2178" y="270"/>
                    </a:lnTo>
                    <a:lnTo>
                      <a:pt x="2180" y="268"/>
                    </a:lnTo>
                    <a:lnTo>
                      <a:pt x="2178" y="264"/>
                    </a:lnTo>
                    <a:lnTo>
                      <a:pt x="2170" y="256"/>
                    </a:lnTo>
                    <a:lnTo>
                      <a:pt x="2170" y="256"/>
                    </a:lnTo>
                    <a:lnTo>
                      <a:pt x="2154" y="240"/>
                    </a:lnTo>
                    <a:lnTo>
                      <a:pt x="2144" y="232"/>
                    </a:lnTo>
                    <a:lnTo>
                      <a:pt x="2134" y="228"/>
                    </a:lnTo>
                    <a:lnTo>
                      <a:pt x="2124" y="222"/>
                    </a:lnTo>
                    <a:lnTo>
                      <a:pt x="2110" y="220"/>
                    </a:lnTo>
                    <a:lnTo>
                      <a:pt x="2096" y="220"/>
                    </a:lnTo>
                    <a:lnTo>
                      <a:pt x="2080" y="220"/>
                    </a:lnTo>
                    <a:lnTo>
                      <a:pt x="2080" y="220"/>
                    </a:lnTo>
                    <a:lnTo>
                      <a:pt x="2064" y="222"/>
                    </a:lnTo>
                    <a:lnTo>
                      <a:pt x="2046" y="220"/>
                    </a:lnTo>
                    <a:lnTo>
                      <a:pt x="2030" y="218"/>
                    </a:lnTo>
                    <a:lnTo>
                      <a:pt x="2014" y="212"/>
                    </a:lnTo>
                    <a:lnTo>
                      <a:pt x="1982" y="202"/>
                    </a:lnTo>
                    <a:lnTo>
                      <a:pt x="1948" y="194"/>
                    </a:lnTo>
                    <a:lnTo>
                      <a:pt x="1948" y="194"/>
                    </a:lnTo>
                    <a:lnTo>
                      <a:pt x="1932" y="190"/>
                    </a:lnTo>
                    <a:lnTo>
                      <a:pt x="1918" y="184"/>
                    </a:lnTo>
                    <a:lnTo>
                      <a:pt x="1890" y="172"/>
                    </a:lnTo>
                    <a:lnTo>
                      <a:pt x="1876" y="166"/>
                    </a:lnTo>
                    <a:lnTo>
                      <a:pt x="1862" y="160"/>
                    </a:lnTo>
                    <a:lnTo>
                      <a:pt x="1848" y="158"/>
                    </a:lnTo>
                    <a:lnTo>
                      <a:pt x="1832" y="158"/>
                    </a:lnTo>
                    <a:lnTo>
                      <a:pt x="1832" y="158"/>
                    </a:lnTo>
                    <a:lnTo>
                      <a:pt x="1820" y="160"/>
                    </a:lnTo>
                    <a:lnTo>
                      <a:pt x="1812" y="164"/>
                    </a:lnTo>
                    <a:lnTo>
                      <a:pt x="1808" y="170"/>
                    </a:lnTo>
                    <a:lnTo>
                      <a:pt x="1806" y="176"/>
                    </a:lnTo>
                    <a:lnTo>
                      <a:pt x="1804" y="182"/>
                    </a:lnTo>
                    <a:lnTo>
                      <a:pt x="1800" y="186"/>
                    </a:lnTo>
                    <a:lnTo>
                      <a:pt x="1792" y="188"/>
                    </a:lnTo>
                    <a:lnTo>
                      <a:pt x="1780" y="188"/>
                    </a:lnTo>
                    <a:lnTo>
                      <a:pt x="1780" y="188"/>
                    </a:lnTo>
                    <a:lnTo>
                      <a:pt x="1774" y="186"/>
                    </a:lnTo>
                    <a:lnTo>
                      <a:pt x="1768" y="184"/>
                    </a:lnTo>
                    <a:lnTo>
                      <a:pt x="1764" y="180"/>
                    </a:lnTo>
                    <a:lnTo>
                      <a:pt x="1762" y="176"/>
                    </a:lnTo>
                    <a:lnTo>
                      <a:pt x="1760" y="166"/>
                    </a:lnTo>
                    <a:lnTo>
                      <a:pt x="1760" y="156"/>
                    </a:lnTo>
                    <a:lnTo>
                      <a:pt x="1760" y="146"/>
                    </a:lnTo>
                    <a:lnTo>
                      <a:pt x="1758" y="138"/>
                    </a:lnTo>
                    <a:lnTo>
                      <a:pt x="1756" y="136"/>
                    </a:lnTo>
                    <a:lnTo>
                      <a:pt x="1750" y="134"/>
                    </a:lnTo>
                    <a:lnTo>
                      <a:pt x="1744" y="134"/>
                    </a:lnTo>
                    <a:lnTo>
                      <a:pt x="1736" y="134"/>
                    </a:lnTo>
                    <a:lnTo>
                      <a:pt x="1736" y="134"/>
                    </a:lnTo>
                    <a:lnTo>
                      <a:pt x="1732" y="136"/>
                    </a:lnTo>
                    <a:lnTo>
                      <a:pt x="1730" y="140"/>
                    </a:lnTo>
                    <a:lnTo>
                      <a:pt x="1726" y="148"/>
                    </a:lnTo>
                    <a:lnTo>
                      <a:pt x="1724" y="172"/>
                    </a:lnTo>
                    <a:lnTo>
                      <a:pt x="1720" y="182"/>
                    </a:lnTo>
                    <a:lnTo>
                      <a:pt x="1718" y="186"/>
                    </a:lnTo>
                    <a:lnTo>
                      <a:pt x="1716" y="190"/>
                    </a:lnTo>
                    <a:lnTo>
                      <a:pt x="1712" y="190"/>
                    </a:lnTo>
                    <a:lnTo>
                      <a:pt x="1706" y="190"/>
                    </a:lnTo>
                    <a:lnTo>
                      <a:pt x="1698" y="188"/>
                    </a:lnTo>
                    <a:lnTo>
                      <a:pt x="1688" y="184"/>
                    </a:lnTo>
                    <a:lnTo>
                      <a:pt x="1688" y="184"/>
                    </a:lnTo>
                    <a:lnTo>
                      <a:pt x="1684" y="182"/>
                    </a:lnTo>
                    <a:lnTo>
                      <a:pt x="1678" y="176"/>
                    </a:lnTo>
                    <a:lnTo>
                      <a:pt x="1668" y="162"/>
                    </a:lnTo>
                    <a:lnTo>
                      <a:pt x="1650" y="132"/>
                    </a:lnTo>
                    <a:lnTo>
                      <a:pt x="1640" y="116"/>
                    </a:lnTo>
                    <a:lnTo>
                      <a:pt x="1630" y="106"/>
                    </a:lnTo>
                    <a:lnTo>
                      <a:pt x="1624" y="104"/>
                    </a:lnTo>
                    <a:lnTo>
                      <a:pt x="1620" y="102"/>
                    </a:lnTo>
                    <a:lnTo>
                      <a:pt x="1614" y="102"/>
                    </a:lnTo>
                    <a:lnTo>
                      <a:pt x="1608" y="106"/>
                    </a:lnTo>
                    <a:lnTo>
                      <a:pt x="1608" y="106"/>
                    </a:lnTo>
                    <a:lnTo>
                      <a:pt x="1600" y="114"/>
                    </a:lnTo>
                    <a:lnTo>
                      <a:pt x="1598" y="116"/>
                    </a:lnTo>
                    <a:lnTo>
                      <a:pt x="1600" y="118"/>
                    </a:lnTo>
                    <a:lnTo>
                      <a:pt x="1604" y="120"/>
                    </a:lnTo>
                    <a:lnTo>
                      <a:pt x="1610" y="122"/>
                    </a:lnTo>
                    <a:lnTo>
                      <a:pt x="1616" y="124"/>
                    </a:lnTo>
                    <a:lnTo>
                      <a:pt x="1616" y="126"/>
                    </a:lnTo>
                    <a:lnTo>
                      <a:pt x="1616" y="130"/>
                    </a:lnTo>
                    <a:lnTo>
                      <a:pt x="1610" y="138"/>
                    </a:lnTo>
                    <a:lnTo>
                      <a:pt x="1592" y="150"/>
                    </a:lnTo>
                    <a:lnTo>
                      <a:pt x="1592" y="150"/>
                    </a:lnTo>
                    <a:lnTo>
                      <a:pt x="1574" y="160"/>
                    </a:lnTo>
                    <a:lnTo>
                      <a:pt x="1572" y="160"/>
                    </a:lnTo>
                    <a:lnTo>
                      <a:pt x="1570" y="158"/>
                    </a:lnTo>
                    <a:lnTo>
                      <a:pt x="1568" y="156"/>
                    </a:lnTo>
                    <a:lnTo>
                      <a:pt x="1560" y="156"/>
                    </a:lnTo>
                    <a:lnTo>
                      <a:pt x="1546" y="160"/>
                    </a:lnTo>
                    <a:lnTo>
                      <a:pt x="1522" y="168"/>
                    </a:lnTo>
                    <a:lnTo>
                      <a:pt x="1522" y="168"/>
                    </a:lnTo>
                    <a:lnTo>
                      <a:pt x="1482" y="180"/>
                    </a:lnTo>
                    <a:lnTo>
                      <a:pt x="1476" y="182"/>
                    </a:lnTo>
                    <a:lnTo>
                      <a:pt x="1476" y="180"/>
                    </a:lnTo>
                    <a:lnTo>
                      <a:pt x="1476" y="180"/>
                    </a:lnTo>
                    <a:lnTo>
                      <a:pt x="1494" y="168"/>
                    </a:lnTo>
                    <a:lnTo>
                      <a:pt x="1526" y="152"/>
                    </a:lnTo>
                    <a:lnTo>
                      <a:pt x="1526" y="152"/>
                    </a:lnTo>
                    <a:lnTo>
                      <a:pt x="1552" y="140"/>
                    </a:lnTo>
                    <a:lnTo>
                      <a:pt x="1558" y="136"/>
                    </a:lnTo>
                    <a:lnTo>
                      <a:pt x="1560" y="132"/>
                    </a:lnTo>
                    <a:lnTo>
                      <a:pt x="1560" y="132"/>
                    </a:lnTo>
                    <a:lnTo>
                      <a:pt x="1556" y="132"/>
                    </a:lnTo>
                    <a:lnTo>
                      <a:pt x="1538" y="134"/>
                    </a:lnTo>
                    <a:lnTo>
                      <a:pt x="1538" y="134"/>
                    </a:lnTo>
                    <a:lnTo>
                      <a:pt x="1530" y="136"/>
                    </a:lnTo>
                    <a:lnTo>
                      <a:pt x="1522" y="134"/>
                    </a:lnTo>
                    <a:lnTo>
                      <a:pt x="1510" y="134"/>
                    </a:lnTo>
                    <a:lnTo>
                      <a:pt x="1506" y="134"/>
                    </a:lnTo>
                    <a:lnTo>
                      <a:pt x="1498" y="136"/>
                    </a:lnTo>
                    <a:lnTo>
                      <a:pt x="1488" y="140"/>
                    </a:lnTo>
                    <a:lnTo>
                      <a:pt x="1474" y="148"/>
                    </a:lnTo>
                    <a:lnTo>
                      <a:pt x="1474" y="148"/>
                    </a:lnTo>
                    <a:lnTo>
                      <a:pt x="1462" y="156"/>
                    </a:lnTo>
                    <a:lnTo>
                      <a:pt x="1454" y="160"/>
                    </a:lnTo>
                    <a:lnTo>
                      <a:pt x="1448" y="160"/>
                    </a:lnTo>
                    <a:lnTo>
                      <a:pt x="1442" y="162"/>
                    </a:lnTo>
                    <a:lnTo>
                      <a:pt x="1438" y="162"/>
                    </a:lnTo>
                    <a:lnTo>
                      <a:pt x="1432" y="164"/>
                    </a:lnTo>
                    <a:lnTo>
                      <a:pt x="1422" y="168"/>
                    </a:lnTo>
                    <a:lnTo>
                      <a:pt x="1406" y="178"/>
                    </a:lnTo>
                    <a:lnTo>
                      <a:pt x="1406" y="178"/>
                    </a:lnTo>
                    <a:lnTo>
                      <a:pt x="1378" y="198"/>
                    </a:lnTo>
                    <a:lnTo>
                      <a:pt x="1358" y="210"/>
                    </a:lnTo>
                    <a:lnTo>
                      <a:pt x="1352" y="214"/>
                    </a:lnTo>
                    <a:lnTo>
                      <a:pt x="1350" y="218"/>
                    </a:lnTo>
                    <a:lnTo>
                      <a:pt x="1350" y="224"/>
                    </a:lnTo>
                    <a:lnTo>
                      <a:pt x="1352" y="230"/>
                    </a:lnTo>
                    <a:lnTo>
                      <a:pt x="1352" y="230"/>
                    </a:lnTo>
                    <a:lnTo>
                      <a:pt x="1352" y="234"/>
                    </a:lnTo>
                    <a:lnTo>
                      <a:pt x="1352" y="236"/>
                    </a:lnTo>
                    <a:lnTo>
                      <a:pt x="1340" y="232"/>
                    </a:lnTo>
                    <a:lnTo>
                      <a:pt x="1332" y="230"/>
                    </a:lnTo>
                    <a:lnTo>
                      <a:pt x="1324" y="228"/>
                    </a:lnTo>
                    <a:lnTo>
                      <a:pt x="1316" y="230"/>
                    </a:lnTo>
                    <a:lnTo>
                      <a:pt x="1308" y="232"/>
                    </a:lnTo>
                    <a:lnTo>
                      <a:pt x="1308" y="232"/>
                    </a:lnTo>
                    <a:lnTo>
                      <a:pt x="1300" y="236"/>
                    </a:lnTo>
                    <a:lnTo>
                      <a:pt x="1296" y="236"/>
                    </a:lnTo>
                    <a:lnTo>
                      <a:pt x="1294" y="236"/>
                    </a:lnTo>
                    <a:lnTo>
                      <a:pt x="1290" y="232"/>
                    </a:lnTo>
                    <a:lnTo>
                      <a:pt x="1286" y="228"/>
                    </a:lnTo>
                    <a:lnTo>
                      <a:pt x="1280" y="226"/>
                    </a:lnTo>
                    <a:lnTo>
                      <a:pt x="1270" y="224"/>
                    </a:lnTo>
                    <a:lnTo>
                      <a:pt x="1258" y="222"/>
                    </a:lnTo>
                    <a:lnTo>
                      <a:pt x="1258" y="222"/>
                    </a:lnTo>
                    <a:lnTo>
                      <a:pt x="1236" y="220"/>
                    </a:lnTo>
                    <a:lnTo>
                      <a:pt x="1216" y="214"/>
                    </a:lnTo>
                    <a:lnTo>
                      <a:pt x="1198" y="206"/>
                    </a:lnTo>
                    <a:lnTo>
                      <a:pt x="1178" y="196"/>
                    </a:lnTo>
                    <a:lnTo>
                      <a:pt x="1160" y="186"/>
                    </a:lnTo>
                    <a:lnTo>
                      <a:pt x="1138" y="178"/>
                    </a:lnTo>
                    <a:lnTo>
                      <a:pt x="1114" y="172"/>
                    </a:lnTo>
                    <a:lnTo>
                      <a:pt x="1102" y="172"/>
                    </a:lnTo>
                    <a:lnTo>
                      <a:pt x="1088" y="172"/>
                    </a:lnTo>
                    <a:lnTo>
                      <a:pt x="1088" y="172"/>
                    </a:lnTo>
                    <a:lnTo>
                      <a:pt x="1074" y="170"/>
                    </a:lnTo>
                    <a:lnTo>
                      <a:pt x="1062" y="168"/>
                    </a:lnTo>
                    <a:lnTo>
                      <a:pt x="1052" y="162"/>
                    </a:lnTo>
                    <a:lnTo>
                      <a:pt x="1044" y="158"/>
                    </a:lnTo>
                    <a:lnTo>
                      <a:pt x="1036" y="152"/>
                    </a:lnTo>
                    <a:lnTo>
                      <a:pt x="1026" y="146"/>
                    </a:lnTo>
                    <a:lnTo>
                      <a:pt x="1014" y="142"/>
                    </a:lnTo>
                    <a:lnTo>
                      <a:pt x="998" y="140"/>
                    </a:lnTo>
                    <a:lnTo>
                      <a:pt x="998" y="140"/>
                    </a:lnTo>
                    <a:lnTo>
                      <a:pt x="982" y="138"/>
                    </a:lnTo>
                    <a:lnTo>
                      <a:pt x="970" y="140"/>
                    </a:lnTo>
                    <a:lnTo>
                      <a:pt x="950" y="144"/>
                    </a:lnTo>
                    <a:lnTo>
                      <a:pt x="940" y="146"/>
                    </a:lnTo>
                    <a:lnTo>
                      <a:pt x="932" y="146"/>
                    </a:lnTo>
                    <a:lnTo>
                      <a:pt x="922" y="146"/>
                    </a:lnTo>
                    <a:lnTo>
                      <a:pt x="912" y="142"/>
                    </a:lnTo>
                    <a:lnTo>
                      <a:pt x="912" y="142"/>
                    </a:lnTo>
                    <a:lnTo>
                      <a:pt x="898" y="138"/>
                    </a:lnTo>
                    <a:lnTo>
                      <a:pt x="884" y="134"/>
                    </a:lnTo>
                    <a:lnTo>
                      <a:pt x="852" y="132"/>
                    </a:lnTo>
                    <a:lnTo>
                      <a:pt x="816" y="128"/>
                    </a:lnTo>
                    <a:lnTo>
                      <a:pt x="798" y="122"/>
                    </a:lnTo>
                    <a:lnTo>
                      <a:pt x="778" y="116"/>
                    </a:lnTo>
                    <a:lnTo>
                      <a:pt x="778" y="116"/>
                    </a:lnTo>
                    <a:lnTo>
                      <a:pt x="758" y="110"/>
                    </a:lnTo>
                    <a:lnTo>
                      <a:pt x="744" y="108"/>
                    </a:lnTo>
                    <a:lnTo>
                      <a:pt x="732" y="108"/>
                    </a:lnTo>
                    <a:lnTo>
                      <a:pt x="722" y="110"/>
                    </a:lnTo>
                    <a:lnTo>
                      <a:pt x="710" y="114"/>
                    </a:lnTo>
                    <a:lnTo>
                      <a:pt x="698" y="116"/>
                    </a:lnTo>
                    <a:lnTo>
                      <a:pt x="682" y="114"/>
                    </a:lnTo>
                    <a:lnTo>
                      <a:pt x="664" y="110"/>
                    </a:lnTo>
                    <a:lnTo>
                      <a:pt x="664" y="110"/>
                    </a:lnTo>
                    <a:lnTo>
                      <a:pt x="648" y="104"/>
                    </a:lnTo>
                    <a:lnTo>
                      <a:pt x="640" y="98"/>
                    </a:lnTo>
                    <a:lnTo>
                      <a:pt x="636" y="94"/>
                    </a:lnTo>
                    <a:lnTo>
                      <a:pt x="636" y="90"/>
                    </a:lnTo>
                    <a:lnTo>
                      <a:pt x="634" y="86"/>
                    </a:lnTo>
                    <a:lnTo>
                      <a:pt x="630" y="82"/>
                    </a:lnTo>
                    <a:lnTo>
                      <a:pt x="622" y="82"/>
                    </a:lnTo>
                    <a:lnTo>
                      <a:pt x="604" y="80"/>
                    </a:lnTo>
                    <a:lnTo>
                      <a:pt x="604" y="80"/>
                    </a:lnTo>
                    <a:lnTo>
                      <a:pt x="572" y="82"/>
                    </a:lnTo>
                    <a:lnTo>
                      <a:pt x="556" y="82"/>
                    </a:lnTo>
                    <a:lnTo>
                      <a:pt x="552" y="82"/>
                    </a:lnTo>
                    <a:lnTo>
                      <a:pt x="548" y="80"/>
                    </a:lnTo>
                    <a:lnTo>
                      <a:pt x="540" y="72"/>
                    </a:lnTo>
                    <a:lnTo>
                      <a:pt x="540" y="72"/>
                    </a:lnTo>
                    <a:lnTo>
                      <a:pt x="534" y="66"/>
                    </a:lnTo>
                    <a:lnTo>
                      <a:pt x="528" y="66"/>
                    </a:lnTo>
                    <a:lnTo>
                      <a:pt x="524" y="66"/>
                    </a:lnTo>
                    <a:lnTo>
                      <a:pt x="518" y="68"/>
                    </a:lnTo>
                    <a:lnTo>
                      <a:pt x="510" y="70"/>
                    </a:lnTo>
                    <a:lnTo>
                      <a:pt x="506" y="70"/>
                    </a:lnTo>
                    <a:lnTo>
                      <a:pt x="500" y="66"/>
                    </a:lnTo>
                    <a:lnTo>
                      <a:pt x="500" y="66"/>
                    </a:lnTo>
                    <a:lnTo>
                      <a:pt x="488" y="56"/>
                    </a:lnTo>
                    <a:lnTo>
                      <a:pt x="482" y="52"/>
                    </a:lnTo>
                    <a:lnTo>
                      <a:pt x="474" y="50"/>
                    </a:lnTo>
                    <a:lnTo>
                      <a:pt x="466" y="50"/>
                    </a:lnTo>
                    <a:lnTo>
                      <a:pt x="456" y="52"/>
                    </a:lnTo>
                    <a:lnTo>
                      <a:pt x="444" y="58"/>
                    </a:lnTo>
                    <a:lnTo>
                      <a:pt x="432" y="68"/>
                    </a:lnTo>
                    <a:lnTo>
                      <a:pt x="432" y="68"/>
                    </a:lnTo>
                    <a:lnTo>
                      <a:pt x="418" y="78"/>
                    </a:lnTo>
                    <a:lnTo>
                      <a:pt x="404" y="82"/>
                    </a:lnTo>
                    <a:lnTo>
                      <a:pt x="392" y="84"/>
                    </a:lnTo>
                    <a:lnTo>
                      <a:pt x="378" y="84"/>
                    </a:lnTo>
                    <a:lnTo>
                      <a:pt x="364" y="84"/>
                    </a:lnTo>
                    <a:lnTo>
                      <a:pt x="348" y="86"/>
                    </a:lnTo>
                    <a:lnTo>
                      <a:pt x="330" y="94"/>
                    </a:lnTo>
                    <a:lnTo>
                      <a:pt x="310" y="106"/>
                    </a:lnTo>
                    <a:lnTo>
                      <a:pt x="310" y="106"/>
                    </a:lnTo>
                    <a:lnTo>
                      <a:pt x="300" y="114"/>
                    </a:lnTo>
                    <a:lnTo>
                      <a:pt x="290" y="120"/>
                    </a:lnTo>
                    <a:lnTo>
                      <a:pt x="282" y="122"/>
                    </a:lnTo>
                    <a:lnTo>
                      <a:pt x="274" y="124"/>
                    </a:lnTo>
                    <a:lnTo>
                      <a:pt x="260" y="126"/>
                    </a:lnTo>
                    <a:lnTo>
                      <a:pt x="250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0" y="126"/>
                    </a:lnTo>
                    <a:lnTo>
                      <a:pt x="226" y="130"/>
                    </a:lnTo>
                    <a:lnTo>
                      <a:pt x="222" y="134"/>
                    </a:lnTo>
                    <a:lnTo>
                      <a:pt x="212" y="152"/>
                    </a:lnTo>
                    <a:lnTo>
                      <a:pt x="212" y="152"/>
                    </a:lnTo>
                    <a:lnTo>
                      <a:pt x="202" y="172"/>
                    </a:lnTo>
                    <a:lnTo>
                      <a:pt x="192" y="188"/>
                    </a:lnTo>
                    <a:lnTo>
                      <a:pt x="182" y="202"/>
                    </a:lnTo>
                    <a:lnTo>
                      <a:pt x="172" y="212"/>
                    </a:lnTo>
                    <a:lnTo>
                      <a:pt x="158" y="220"/>
                    </a:lnTo>
                    <a:lnTo>
                      <a:pt x="142" y="224"/>
                    </a:lnTo>
                    <a:lnTo>
                      <a:pt x="122" y="228"/>
                    </a:lnTo>
                    <a:lnTo>
                      <a:pt x="96" y="228"/>
                    </a:lnTo>
                    <a:lnTo>
                      <a:pt x="96" y="228"/>
                    </a:lnTo>
                    <a:lnTo>
                      <a:pt x="84" y="230"/>
                    </a:lnTo>
                    <a:lnTo>
                      <a:pt x="78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4" y="244"/>
                    </a:lnTo>
                    <a:lnTo>
                      <a:pt x="72" y="250"/>
                    </a:lnTo>
                    <a:lnTo>
                      <a:pt x="66" y="254"/>
                    </a:lnTo>
                    <a:lnTo>
                      <a:pt x="58" y="258"/>
                    </a:lnTo>
                    <a:lnTo>
                      <a:pt x="58" y="258"/>
                    </a:lnTo>
                    <a:lnTo>
                      <a:pt x="54" y="260"/>
                    </a:lnTo>
                    <a:lnTo>
                      <a:pt x="52" y="262"/>
                    </a:lnTo>
                    <a:lnTo>
                      <a:pt x="54" y="266"/>
                    </a:lnTo>
                    <a:lnTo>
                      <a:pt x="58" y="268"/>
                    </a:lnTo>
                    <a:lnTo>
                      <a:pt x="72" y="274"/>
                    </a:lnTo>
                    <a:lnTo>
                      <a:pt x="92" y="282"/>
                    </a:lnTo>
                    <a:lnTo>
                      <a:pt x="114" y="292"/>
                    </a:lnTo>
                    <a:lnTo>
                      <a:pt x="136" y="304"/>
                    </a:lnTo>
                    <a:lnTo>
                      <a:pt x="156" y="318"/>
                    </a:lnTo>
                    <a:lnTo>
                      <a:pt x="162" y="326"/>
                    </a:lnTo>
                    <a:lnTo>
                      <a:pt x="168" y="334"/>
                    </a:lnTo>
                    <a:lnTo>
                      <a:pt x="168" y="334"/>
                    </a:lnTo>
                    <a:lnTo>
                      <a:pt x="172" y="342"/>
                    </a:lnTo>
                    <a:lnTo>
                      <a:pt x="176" y="346"/>
                    </a:lnTo>
                    <a:lnTo>
                      <a:pt x="186" y="354"/>
                    </a:lnTo>
                    <a:lnTo>
                      <a:pt x="196" y="356"/>
                    </a:lnTo>
                    <a:lnTo>
                      <a:pt x="206" y="356"/>
                    </a:lnTo>
                    <a:lnTo>
                      <a:pt x="212" y="356"/>
                    </a:lnTo>
                    <a:lnTo>
                      <a:pt x="218" y="356"/>
                    </a:lnTo>
                    <a:lnTo>
                      <a:pt x="220" y="356"/>
                    </a:lnTo>
                    <a:lnTo>
                      <a:pt x="222" y="358"/>
                    </a:lnTo>
                    <a:lnTo>
                      <a:pt x="220" y="364"/>
                    </a:lnTo>
                    <a:lnTo>
                      <a:pt x="220" y="364"/>
                    </a:lnTo>
                    <a:lnTo>
                      <a:pt x="220" y="372"/>
                    </a:lnTo>
                    <a:lnTo>
                      <a:pt x="220" y="376"/>
                    </a:lnTo>
                    <a:lnTo>
                      <a:pt x="224" y="378"/>
                    </a:lnTo>
                    <a:lnTo>
                      <a:pt x="228" y="380"/>
                    </a:lnTo>
                    <a:lnTo>
                      <a:pt x="232" y="380"/>
                    </a:lnTo>
                    <a:lnTo>
                      <a:pt x="236" y="382"/>
                    </a:lnTo>
                    <a:lnTo>
                      <a:pt x="240" y="386"/>
                    </a:lnTo>
                    <a:lnTo>
                      <a:pt x="242" y="392"/>
                    </a:lnTo>
                    <a:lnTo>
                      <a:pt x="242" y="392"/>
                    </a:lnTo>
                    <a:lnTo>
                      <a:pt x="244" y="400"/>
                    </a:lnTo>
                    <a:lnTo>
                      <a:pt x="248" y="402"/>
                    </a:lnTo>
                    <a:lnTo>
                      <a:pt x="254" y="404"/>
                    </a:lnTo>
                    <a:lnTo>
                      <a:pt x="260" y="402"/>
                    </a:lnTo>
                    <a:lnTo>
                      <a:pt x="266" y="402"/>
                    </a:lnTo>
                    <a:lnTo>
                      <a:pt x="270" y="402"/>
                    </a:lnTo>
                    <a:lnTo>
                      <a:pt x="274" y="404"/>
                    </a:lnTo>
                    <a:lnTo>
                      <a:pt x="276" y="410"/>
                    </a:lnTo>
                    <a:lnTo>
                      <a:pt x="276" y="410"/>
                    </a:lnTo>
                    <a:lnTo>
                      <a:pt x="274" y="418"/>
                    </a:lnTo>
                    <a:lnTo>
                      <a:pt x="272" y="418"/>
                    </a:lnTo>
                    <a:lnTo>
                      <a:pt x="270" y="418"/>
                    </a:lnTo>
                    <a:lnTo>
                      <a:pt x="266" y="416"/>
                    </a:lnTo>
                    <a:lnTo>
                      <a:pt x="262" y="416"/>
                    </a:lnTo>
                    <a:lnTo>
                      <a:pt x="258" y="418"/>
                    </a:lnTo>
                    <a:lnTo>
                      <a:pt x="252" y="424"/>
                    </a:lnTo>
                    <a:lnTo>
                      <a:pt x="252" y="424"/>
                    </a:lnTo>
                    <a:lnTo>
                      <a:pt x="250" y="426"/>
                    </a:lnTo>
                    <a:lnTo>
                      <a:pt x="248" y="426"/>
                    </a:lnTo>
                    <a:lnTo>
                      <a:pt x="240" y="422"/>
                    </a:lnTo>
                    <a:lnTo>
                      <a:pt x="234" y="420"/>
                    </a:lnTo>
                    <a:lnTo>
                      <a:pt x="224" y="420"/>
                    </a:lnTo>
                    <a:lnTo>
                      <a:pt x="212" y="420"/>
                    </a:lnTo>
                    <a:lnTo>
                      <a:pt x="194" y="422"/>
                    </a:lnTo>
                    <a:lnTo>
                      <a:pt x="194" y="422"/>
                    </a:lnTo>
                    <a:lnTo>
                      <a:pt x="186" y="422"/>
                    </a:lnTo>
                    <a:lnTo>
                      <a:pt x="180" y="420"/>
                    </a:lnTo>
                    <a:lnTo>
                      <a:pt x="176" y="418"/>
                    </a:lnTo>
                    <a:lnTo>
                      <a:pt x="174" y="416"/>
                    </a:lnTo>
                    <a:lnTo>
                      <a:pt x="174" y="408"/>
                    </a:lnTo>
                    <a:lnTo>
                      <a:pt x="176" y="398"/>
                    </a:lnTo>
                    <a:lnTo>
                      <a:pt x="176" y="390"/>
                    </a:lnTo>
                    <a:lnTo>
                      <a:pt x="174" y="388"/>
                    </a:lnTo>
                    <a:lnTo>
                      <a:pt x="172" y="384"/>
                    </a:lnTo>
                    <a:lnTo>
                      <a:pt x="168" y="384"/>
                    </a:lnTo>
                    <a:lnTo>
                      <a:pt x="162" y="384"/>
                    </a:lnTo>
                    <a:lnTo>
                      <a:pt x="140" y="388"/>
                    </a:lnTo>
                    <a:lnTo>
                      <a:pt x="140" y="388"/>
                    </a:lnTo>
                    <a:lnTo>
                      <a:pt x="116" y="396"/>
                    </a:lnTo>
                    <a:lnTo>
                      <a:pt x="92" y="406"/>
                    </a:lnTo>
                    <a:lnTo>
                      <a:pt x="56" y="424"/>
                    </a:lnTo>
                    <a:lnTo>
                      <a:pt x="28" y="440"/>
                    </a:lnTo>
                    <a:lnTo>
                      <a:pt x="18" y="444"/>
                    </a:lnTo>
                    <a:lnTo>
                      <a:pt x="10" y="446"/>
                    </a:lnTo>
                    <a:lnTo>
                      <a:pt x="10" y="446"/>
                    </a:lnTo>
                    <a:lnTo>
                      <a:pt x="4" y="448"/>
                    </a:lnTo>
                    <a:lnTo>
                      <a:pt x="0" y="452"/>
                    </a:lnTo>
                    <a:lnTo>
                      <a:pt x="0" y="456"/>
                    </a:lnTo>
                    <a:lnTo>
                      <a:pt x="2" y="460"/>
                    </a:lnTo>
                    <a:lnTo>
                      <a:pt x="8" y="466"/>
                    </a:lnTo>
                    <a:lnTo>
                      <a:pt x="16" y="470"/>
                    </a:lnTo>
                    <a:lnTo>
                      <a:pt x="28" y="472"/>
                    </a:lnTo>
                    <a:lnTo>
                      <a:pt x="42" y="474"/>
                    </a:lnTo>
                    <a:lnTo>
                      <a:pt x="42" y="474"/>
                    </a:lnTo>
                    <a:lnTo>
                      <a:pt x="54" y="474"/>
                    </a:lnTo>
                    <a:lnTo>
                      <a:pt x="60" y="478"/>
                    </a:lnTo>
                    <a:lnTo>
                      <a:pt x="58" y="480"/>
                    </a:lnTo>
                    <a:lnTo>
                      <a:pt x="56" y="484"/>
                    </a:lnTo>
                    <a:lnTo>
                      <a:pt x="52" y="488"/>
                    </a:lnTo>
                    <a:lnTo>
                      <a:pt x="50" y="492"/>
                    </a:lnTo>
                    <a:lnTo>
                      <a:pt x="50" y="498"/>
                    </a:lnTo>
                    <a:lnTo>
                      <a:pt x="56" y="502"/>
                    </a:lnTo>
                    <a:lnTo>
                      <a:pt x="56" y="502"/>
                    </a:lnTo>
                    <a:lnTo>
                      <a:pt x="64" y="506"/>
                    </a:lnTo>
                    <a:lnTo>
                      <a:pt x="66" y="512"/>
                    </a:lnTo>
                    <a:lnTo>
                      <a:pt x="68" y="520"/>
                    </a:lnTo>
                    <a:lnTo>
                      <a:pt x="70" y="524"/>
                    </a:lnTo>
                    <a:lnTo>
                      <a:pt x="74" y="528"/>
                    </a:lnTo>
                    <a:lnTo>
                      <a:pt x="82" y="532"/>
                    </a:lnTo>
                    <a:lnTo>
                      <a:pt x="94" y="534"/>
                    </a:lnTo>
                    <a:lnTo>
                      <a:pt x="94" y="534"/>
                    </a:lnTo>
                    <a:lnTo>
                      <a:pt x="110" y="534"/>
                    </a:lnTo>
                    <a:lnTo>
                      <a:pt x="122" y="534"/>
                    </a:lnTo>
                    <a:lnTo>
                      <a:pt x="144" y="528"/>
                    </a:lnTo>
                    <a:lnTo>
                      <a:pt x="154" y="526"/>
                    </a:lnTo>
                    <a:lnTo>
                      <a:pt x="166" y="526"/>
                    </a:lnTo>
                    <a:lnTo>
                      <a:pt x="176" y="528"/>
                    </a:lnTo>
                    <a:lnTo>
                      <a:pt x="190" y="534"/>
                    </a:lnTo>
                    <a:lnTo>
                      <a:pt x="190" y="534"/>
                    </a:lnTo>
                    <a:lnTo>
                      <a:pt x="198" y="536"/>
                    </a:lnTo>
                    <a:lnTo>
                      <a:pt x="204" y="538"/>
                    </a:lnTo>
                    <a:lnTo>
                      <a:pt x="210" y="538"/>
                    </a:lnTo>
                    <a:lnTo>
                      <a:pt x="218" y="536"/>
                    </a:lnTo>
                    <a:lnTo>
                      <a:pt x="230" y="530"/>
                    </a:lnTo>
                    <a:lnTo>
                      <a:pt x="242" y="522"/>
                    </a:lnTo>
                    <a:lnTo>
                      <a:pt x="254" y="512"/>
                    </a:lnTo>
                    <a:lnTo>
                      <a:pt x="266" y="506"/>
                    </a:lnTo>
                    <a:lnTo>
                      <a:pt x="270" y="506"/>
                    </a:lnTo>
                    <a:lnTo>
                      <a:pt x="276" y="506"/>
                    </a:lnTo>
                    <a:lnTo>
                      <a:pt x="280" y="508"/>
                    </a:lnTo>
                    <a:lnTo>
                      <a:pt x="286" y="510"/>
                    </a:lnTo>
                    <a:lnTo>
                      <a:pt x="286" y="510"/>
                    </a:lnTo>
                    <a:lnTo>
                      <a:pt x="290" y="516"/>
                    </a:lnTo>
                    <a:lnTo>
                      <a:pt x="290" y="518"/>
                    </a:lnTo>
                    <a:lnTo>
                      <a:pt x="290" y="522"/>
                    </a:lnTo>
                    <a:lnTo>
                      <a:pt x="288" y="524"/>
                    </a:lnTo>
                    <a:lnTo>
                      <a:pt x="282" y="526"/>
                    </a:lnTo>
                    <a:lnTo>
                      <a:pt x="272" y="528"/>
                    </a:lnTo>
                    <a:lnTo>
                      <a:pt x="264" y="530"/>
                    </a:lnTo>
                    <a:lnTo>
                      <a:pt x="260" y="534"/>
                    </a:lnTo>
                    <a:lnTo>
                      <a:pt x="260" y="536"/>
                    </a:lnTo>
                    <a:lnTo>
                      <a:pt x="262" y="538"/>
                    </a:lnTo>
                    <a:lnTo>
                      <a:pt x="274" y="544"/>
                    </a:lnTo>
                    <a:lnTo>
                      <a:pt x="274" y="544"/>
                    </a:lnTo>
                    <a:lnTo>
                      <a:pt x="280" y="550"/>
                    </a:lnTo>
                    <a:lnTo>
                      <a:pt x="286" y="554"/>
                    </a:lnTo>
                    <a:lnTo>
                      <a:pt x="290" y="558"/>
                    </a:lnTo>
                    <a:lnTo>
                      <a:pt x="292" y="564"/>
                    </a:lnTo>
                    <a:lnTo>
                      <a:pt x="292" y="570"/>
                    </a:lnTo>
                    <a:lnTo>
                      <a:pt x="292" y="574"/>
                    </a:lnTo>
                    <a:lnTo>
                      <a:pt x="288" y="584"/>
                    </a:lnTo>
                    <a:lnTo>
                      <a:pt x="280" y="592"/>
                    </a:lnTo>
                    <a:lnTo>
                      <a:pt x="270" y="598"/>
                    </a:lnTo>
                    <a:lnTo>
                      <a:pt x="258" y="600"/>
                    </a:lnTo>
                    <a:lnTo>
                      <a:pt x="244" y="598"/>
                    </a:lnTo>
                    <a:lnTo>
                      <a:pt x="244" y="598"/>
                    </a:lnTo>
                    <a:lnTo>
                      <a:pt x="240" y="598"/>
                    </a:lnTo>
                    <a:lnTo>
                      <a:pt x="234" y="598"/>
                    </a:lnTo>
                    <a:lnTo>
                      <a:pt x="226" y="602"/>
                    </a:lnTo>
                    <a:lnTo>
                      <a:pt x="220" y="610"/>
                    </a:lnTo>
                    <a:lnTo>
                      <a:pt x="214" y="618"/>
                    </a:lnTo>
                    <a:lnTo>
                      <a:pt x="210" y="624"/>
                    </a:lnTo>
                    <a:lnTo>
                      <a:pt x="202" y="630"/>
                    </a:lnTo>
                    <a:lnTo>
                      <a:pt x="198" y="630"/>
                    </a:lnTo>
                    <a:lnTo>
                      <a:pt x="192" y="630"/>
                    </a:lnTo>
                    <a:lnTo>
                      <a:pt x="186" y="628"/>
                    </a:lnTo>
                    <a:lnTo>
                      <a:pt x="180" y="624"/>
                    </a:lnTo>
                    <a:lnTo>
                      <a:pt x="180" y="624"/>
                    </a:lnTo>
                    <a:lnTo>
                      <a:pt x="172" y="620"/>
                    </a:lnTo>
                    <a:lnTo>
                      <a:pt x="166" y="618"/>
                    </a:lnTo>
                    <a:lnTo>
                      <a:pt x="160" y="618"/>
                    </a:lnTo>
                    <a:lnTo>
                      <a:pt x="154" y="620"/>
                    </a:lnTo>
                    <a:lnTo>
                      <a:pt x="144" y="626"/>
                    </a:lnTo>
                    <a:lnTo>
                      <a:pt x="136" y="636"/>
                    </a:lnTo>
                    <a:lnTo>
                      <a:pt x="124" y="658"/>
                    </a:lnTo>
                    <a:lnTo>
                      <a:pt x="118" y="666"/>
                    </a:lnTo>
                    <a:lnTo>
                      <a:pt x="112" y="672"/>
                    </a:lnTo>
                    <a:lnTo>
                      <a:pt x="112" y="672"/>
                    </a:lnTo>
                    <a:lnTo>
                      <a:pt x="106" y="674"/>
                    </a:lnTo>
                    <a:lnTo>
                      <a:pt x="102" y="678"/>
                    </a:lnTo>
                    <a:lnTo>
                      <a:pt x="96" y="690"/>
                    </a:lnTo>
                    <a:lnTo>
                      <a:pt x="92" y="702"/>
                    </a:lnTo>
                    <a:lnTo>
                      <a:pt x="88" y="708"/>
                    </a:lnTo>
                    <a:lnTo>
                      <a:pt x="82" y="712"/>
                    </a:lnTo>
                    <a:lnTo>
                      <a:pt x="82" y="712"/>
                    </a:lnTo>
                    <a:lnTo>
                      <a:pt x="76" y="716"/>
                    </a:lnTo>
                    <a:lnTo>
                      <a:pt x="74" y="720"/>
                    </a:lnTo>
                    <a:lnTo>
                      <a:pt x="74" y="726"/>
                    </a:lnTo>
                    <a:lnTo>
                      <a:pt x="76" y="730"/>
                    </a:lnTo>
                    <a:lnTo>
                      <a:pt x="88" y="740"/>
                    </a:lnTo>
                    <a:lnTo>
                      <a:pt x="108" y="756"/>
                    </a:lnTo>
                    <a:lnTo>
                      <a:pt x="108" y="756"/>
                    </a:lnTo>
                    <a:lnTo>
                      <a:pt x="116" y="764"/>
                    </a:lnTo>
                    <a:lnTo>
                      <a:pt x="118" y="772"/>
                    </a:lnTo>
                    <a:lnTo>
                      <a:pt x="118" y="778"/>
                    </a:lnTo>
                    <a:lnTo>
                      <a:pt x="116" y="784"/>
                    </a:lnTo>
                    <a:lnTo>
                      <a:pt x="114" y="790"/>
                    </a:lnTo>
                    <a:lnTo>
                      <a:pt x="112" y="794"/>
                    </a:lnTo>
                    <a:lnTo>
                      <a:pt x="112" y="800"/>
                    </a:lnTo>
                    <a:lnTo>
                      <a:pt x="116" y="804"/>
                    </a:lnTo>
                    <a:lnTo>
                      <a:pt x="116" y="804"/>
                    </a:lnTo>
                    <a:lnTo>
                      <a:pt x="132" y="818"/>
                    </a:lnTo>
                    <a:lnTo>
                      <a:pt x="148" y="834"/>
                    </a:lnTo>
                    <a:lnTo>
                      <a:pt x="158" y="840"/>
                    </a:lnTo>
                    <a:lnTo>
                      <a:pt x="168" y="844"/>
                    </a:lnTo>
                    <a:lnTo>
                      <a:pt x="180" y="844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208" y="836"/>
                    </a:lnTo>
                    <a:lnTo>
                      <a:pt x="218" y="834"/>
                    </a:lnTo>
                    <a:lnTo>
                      <a:pt x="228" y="836"/>
                    </a:lnTo>
                    <a:lnTo>
                      <a:pt x="234" y="838"/>
                    </a:lnTo>
                    <a:lnTo>
                      <a:pt x="240" y="842"/>
                    </a:lnTo>
                    <a:lnTo>
                      <a:pt x="242" y="848"/>
                    </a:lnTo>
                    <a:lnTo>
                      <a:pt x="242" y="858"/>
                    </a:lnTo>
                    <a:lnTo>
                      <a:pt x="238" y="868"/>
                    </a:lnTo>
                    <a:lnTo>
                      <a:pt x="238" y="868"/>
                    </a:lnTo>
                    <a:lnTo>
                      <a:pt x="236" y="878"/>
                    </a:lnTo>
                    <a:lnTo>
                      <a:pt x="236" y="884"/>
                    </a:lnTo>
                    <a:lnTo>
                      <a:pt x="238" y="888"/>
                    </a:lnTo>
                    <a:lnTo>
                      <a:pt x="242" y="890"/>
                    </a:lnTo>
                    <a:lnTo>
                      <a:pt x="244" y="892"/>
                    </a:lnTo>
                    <a:lnTo>
                      <a:pt x="246" y="896"/>
                    </a:lnTo>
                    <a:lnTo>
                      <a:pt x="246" y="900"/>
                    </a:lnTo>
                    <a:lnTo>
                      <a:pt x="244" y="908"/>
                    </a:lnTo>
                    <a:lnTo>
                      <a:pt x="244" y="908"/>
                    </a:lnTo>
                    <a:lnTo>
                      <a:pt x="242" y="918"/>
                    </a:lnTo>
                    <a:lnTo>
                      <a:pt x="244" y="922"/>
                    </a:lnTo>
                    <a:lnTo>
                      <a:pt x="248" y="924"/>
                    </a:lnTo>
                    <a:lnTo>
                      <a:pt x="254" y="924"/>
                    </a:lnTo>
                    <a:lnTo>
                      <a:pt x="262" y="920"/>
                    </a:lnTo>
                    <a:lnTo>
                      <a:pt x="270" y="916"/>
                    </a:lnTo>
                    <a:lnTo>
                      <a:pt x="284" y="904"/>
                    </a:lnTo>
                    <a:lnTo>
                      <a:pt x="284" y="904"/>
                    </a:lnTo>
                    <a:lnTo>
                      <a:pt x="292" y="900"/>
                    </a:lnTo>
                    <a:lnTo>
                      <a:pt x="300" y="898"/>
                    </a:lnTo>
                    <a:lnTo>
                      <a:pt x="308" y="898"/>
                    </a:lnTo>
                    <a:lnTo>
                      <a:pt x="316" y="902"/>
                    </a:lnTo>
                    <a:lnTo>
                      <a:pt x="326" y="906"/>
                    </a:lnTo>
                    <a:lnTo>
                      <a:pt x="336" y="912"/>
                    </a:lnTo>
                    <a:lnTo>
                      <a:pt x="352" y="926"/>
                    </a:lnTo>
                    <a:lnTo>
                      <a:pt x="352" y="926"/>
                    </a:lnTo>
                    <a:lnTo>
                      <a:pt x="358" y="930"/>
                    </a:lnTo>
                    <a:lnTo>
                      <a:pt x="362" y="932"/>
                    </a:lnTo>
                    <a:lnTo>
                      <a:pt x="366" y="930"/>
                    </a:lnTo>
                    <a:lnTo>
                      <a:pt x="370" y="926"/>
                    </a:lnTo>
                    <a:lnTo>
                      <a:pt x="376" y="918"/>
                    </a:lnTo>
                    <a:lnTo>
                      <a:pt x="380" y="916"/>
                    </a:lnTo>
                    <a:lnTo>
                      <a:pt x="386" y="918"/>
                    </a:lnTo>
                    <a:lnTo>
                      <a:pt x="386" y="918"/>
                    </a:lnTo>
                    <a:lnTo>
                      <a:pt x="392" y="920"/>
                    </a:lnTo>
                    <a:lnTo>
                      <a:pt x="402" y="918"/>
                    </a:lnTo>
                    <a:lnTo>
                      <a:pt x="420" y="912"/>
                    </a:lnTo>
                    <a:lnTo>
                      <a:pt x="432" y="908"/>
                    </a:lnTo>
                    <a:lnTo>
                      <a:pt x="432" y="908"/>
                    </a:lnTo>
                    <a:lnTo>
                      <a:pt x="432" y="910"/>
                    </a:lnTo>
                    <a:lnTo>
                      <a:pt x="430" y="916"/>
                    </a:lnTo>
                    <a:lnTo>
                      <a:pt x="430" y="916"/>
                    </a:lnTo>
                    <a:lnTo>
                      <a:pt x="418" y="932"/>
                    </a:lnTo>
                    <a:lnTo>
                      <a:pt x="412" y="946"/>
                    </a:lnTo>
                    <a:lnTo>
                      <a:pt x="410" y="962"/>
                    </a:lnTo>
                    <a:lnTo>
                      <a:pt x="410" y="978"/>
                    </a:lnTo>
                    <a:lnTo>
                      <a:pt x="410" y="978"/>
                    </a:lnTo>
                    <a:lnTo>
                      <a:pt x="408" y="986"/>
                    </a:lnTo>
                    <a:lnTo>
                      <a:pt x="406" y="990"/>
                    </a:lnTo>
                    <a:lnTo>
                      <a:pt x="402" y="992"/>
                    </a:lnTo>
                    <a:lnTo>
                      <a:pt x="396" y="994"/>
                    </a:lnTo>
                    <a:lnTo>
                      <a:pt x="392" y="998"/>
                    </a:lnTo>
                    <a:lnTo>
                      <a:pt x="386" y="1000"/>
                    </a:lnTo>
                    <a:lnTo>
                      <a:pt x="380" y="1008"/>
                    </a:lnTo>
                    <a:lnTo>
                      <a:pt x="374" y="1018"/>
                    </a:lnTo>
                    <a:lnTo>
                      <a:pt x="374" y="1018"/>
                    </a:lnTo>
                    <a:lnTo>
                      <a:pt x="368" y="1028"/>
                    </a:lnTo>
                    <a:lnTo>
                      <a:pt x="360" y="1036"/>
                    </a:lnTo>
                    <a:lnTo>
                      <a:pt x="352" y="1040"/>
                    </a:lnTo>
                    <a:lnTo>
                      <a:pt x="342" y="1044"/>
                    </a:lnTo>
                    <a:lnTo>
                      <a:pt x="332" y="1048"/>
                    </a:lnTo>
                    <a:lnTo>
                      <a:pt x="324" y="1054"/>
                    </a:lnTo>
                    <a:lnTo>
                      <a:pt x="314" y="1060"/>
                    </a:lnTo>
                    <a:lnTo>
                      <a:pt x="306" y="1072"/>
                    </a:lnTo>
                    <a:lnTo>
                      <a:pt x="306" y="1072"/>
                    </a:lnTo>
                    <a:lnTo>
                      <a:pt x="300" y="1082"/>
                    </a:lnTo>
                    <a:lnTo>
                      <a:pt x="296" y="1088"/>
                    </a:lnTo>
                    <a:lnTo>
                      <a:pt x="292" y="1090"/>
                    </a:lnTo>
                    <a:lnTo>
                      <a:pt x="288" y="1088"/>
                    </a:lnTo>
                    <a:lnTo>
                      <a:pt x="276" y="1086"/>
                    </a:lnTo>
                    <a:lnTo>
                      <a:pt x="268" y="1088"/>
                    </a:lnTo>
                    <a:lnTo>
                      <a:pt x="254" y="1090"/>
                    </a:lnTo>
                    <a:lnTo>
                      <a:pt x="254" y="1090"/>
                    </a:lnTo>
                    <a:lnTo>
                      <a:pt x="244" y="1096"/>
                    </a:lnTo>
                    <a:lnTo>
                      <a:pt x="236" y="1100"/>
                    </a:lnTo>
                    <a:lnTo>
                      <a:pt x="232" y="1104"/>
                    </a:lnTo>
                    <a:lnTo>
                      <a:pt x="228" y="1110"/>
                    </a:lnTo>
                    <a:lnTo>
                      <a:pt x="222" y="1118"/>
                    </a:lnTo>
                    <a:lnTo>
                      <a:pt x="218" y="1124"/>
                    </a:lnTo>
                    <a:lnTo>
                      <a:pt x="210" y="1128"/>
                    </a:lnTo>
                    <a:lnTo>
                      <a:pt x="210" y="1128"/>
                    </a:lnTo>
                    <a:lnTo>
                      <a:pt x="200" y="1132"/>
                    </a:lnTo>
                    <a:lnTo>
                      <a:pt x="194" y="1138"/>
                    </a:lnTo>
                    <a:lnTo>
                      <a:pt x="188" y="1144"/>
                    </a:lnTo>
                    <a:lnTo>
                      <a:pt x="186" y="1148"/>
                    </a:lnTo>
                    <a:lnTo>
                      <a:pt x="188" y="1152"/>
                    </a:lnTo>
                    <a:lnTo>
                      <a:pt x="192" y="1154"/>
                    </a:lnTo>
                    <a:lnTo>
                      <a:pt x="200" y="1154"/>
                    </a:lnTo>
                    <a:lnTo>
                      <a:pt x="212" y="1150"/>
                    </a:lnTo>
                    <a:lnTo>
                      <a:pt x="212" y="1150"/>
                    </a:lnTo>
                    <a:lnTo>
                      <a:pt x="224" y="1144"/>
                    </a:lnTo>
                    <a:lnTo>
                      <a:pt x="234" y="1138"/>
                    </a:lnTo>
                    <a:lnTo>
                      <a:pt x="248" y="1124"/>
                    </a:lnTo>
                    <a:lnTo>
                      <a:pt x="256" y="1116"/>
                    </a:lnTo>
                    <a:lnTo>
                      <a:pt x="258" y="1116"/>
                    </a:lnTo>
                    <a:lnTo>
                      <a:pt x="262" y="1120"/>
                    </a:lnTo>
                    <a:lnTo>
                      <a:pt x="262" y="1120"/>
                    </a:lnTo>
                    <a:lnTo>
                      <a:pt x="266" y="1124"/>
                    </a:lnTo>
                    <a:lnTo>
                      <a:pt x="270" y="1124"/>
                    </a:lnTo>
                    <a:lnTo>
                      <a:pt x="278" y="1122"/>
                    </a:lnTo>
                    <a:lnTo>
                      <a:pt x="282" y="1120"/>
                    </a:lnTo>
                    <a:lnTo>
                      <a:pt x="284" y="1120"/>
                    </a:lnTo>
                    <a:lnTo>
                      <a:pt x="288" y="1124"/>
                    </a:lnTo>
                    <a:lnTo>
                      <a:pt x="290" y="1128"/>
                    </a:lnTo>
                    <a:lnTo>
                      <a:pt x="290" y="1128"/>
                    </a:lnTo>
                    <a:lnTo>
                      <a:pt x="292" y="1136"/>
                    </a:lnTo>
                    <a:lnTo>
                      <a:pt x="296" y="1138"/>
                    </a:lnTo>
                    <a:lnTo>
                      <a:pt x="298" y="1140"/>
                    </a:lnTo>
                    <a:lnTo>
                      <a:pt x="302" y="1138"/>
                    </a:lnTo>
                    <a:lnTo>
                      <a:pt x="306" y="1136"/>
                    </a:lnTo>
                    <a:lnTo>
                      <a:pt x="308" y="1130"/>
                    </a:lnTo>
                    <a:lnTo>
                      <a:pt x="308" y="1126"/>
                    </a:lnTo>
                    <a:lnTo>
                      <a:pt x="306" y="1120"/>
                    </a:lnTo>
                    <a:lnTo>
                      <a:pt x="306" y="1120"/>
                    </a:lnTo>
                    <a:lnTo>
                      <a:pt x="306" y="1114"/>
                    </a:lnTo>
                    <a:lnTo>
                      <a:pt x="308" y="1110"/>
                    </a:lnTo>
                    <a:lnTo>
                      <a:pt x="312" y="1106"/>
                    </a:lnTo>
                    <a:lnTo>
                      <a:pt x="316" y="1102"/>
                    </a:lnTo>
                    <a:lnTo>
                      <a:pt x="322" y="1100"/>
                    </a:lnTo>
                    <a:lnTo>
                      <a:pt x="328" y="1100"/>
                    </a:lnTo>
                    <a:lnTo>
                      <a:pt x="332" y="1102"/>
                    </a:lnTo>
                    <a:lnTo>
                      <a:pt x="334" y="1108"/>
                    </a:lnTo>
                    <a:lnTo>
                      <a:pt x="334" y="1108"/>
                    </a:lnTo>
                    <a:lnTo>
                      <a:pt x="334" y="1110"/>
                    </a:lnTo>
                    <a:lnTo>
                      <a:pt x="336" y="1110"/>
                    </a:lnTo>
                    <a:lnTo>
                      <a:pt x="340" y="1110"/>
                    </a:lnTo>
                    <a:lnTo>
                      <a:pt x="354" y="1100"/>
                    </a:lnTo>
                    <a:lnTo>
                      <a:pt x="372" y="1088"/>
                    </a:lnTo>
                    <a:lnTo>
                      <a:pt x="380" y="1084"/>
                    </a:lnTo>
                    <a:lnTo>
                      <a:pt x="388" y="1082"/>
                    </a:lnTo>
                    <a:lnTo>
                      <a:pt x="388" y="1082"/>
                    </a:lnTo>
                    <a:lnTo>
                      <a:pt x="394" y="1082"/>
                    </a:lnTo>
                    <a:lnTo>
                      <a:pt x="396" y="1080"/>
                    </a:lnTo>
                    <a:lnTo>
                      <a:pt x="394" y="1074"/>
                    </a:lnTo>
                    <a:lnTo>
                      <a:pt x="394" y="1068"/>
                    </a:lnTo>
                    <a:lnTo>
                      <a:pt x="398" y="1062"/>
                    </a:lnTo>
                    <a:lnTo>
                      <a:pt x="408" y="1052"/>
                    </a:lnTo>
                    <a:lnTo>
                      <a:pt x="424" y="1042"/>
                    </a:lnTo>
                    <a:lnTo>
                      <a:pt x="424" y="1042"/>
                    </a:lnTo>
                    <a:lnTo>
                      <a:pt x="440" y="1032"/>
                    </a:lnTo>
                    <a:lnTo>
                      <a:pt x="452" y="1024"/>
                    </a:lnTo>
                    <a:lnTo>
                      <a:pt x="462" y="1016"/>
                    </a:lnTo>
                    <a:lnTo>
                      <a:pt x="468" y="1010"/>
                    </a:lnTo>
                    <a:lnTo>
                      <a:pt x="478" y="998"/>
                    </a:lnTo>
                    <a:lnTo>
                      <a:pt x="484" y="994"/>
                    </a:lnTo>
                    <a:lnTo>
                      <a:pt x="492" y="988"/>
                    </a:lnTo>
                    <a:lnTo>
                      <a:pt x="492" y="988"/>
                    </a:lnTo>
                    <a:lnTo>
                      <a:pt x="516" y="976"/>
                    </a:lnTo>
                    <a:lnTo>
                      <a:pt x="538" y="964"/>
                    </a:lnTo>
                    <a:lnTo>
                      <a:pt x="548" y="956"/>
                    </a:lnTo>
                    <a:lnTo>
                      <a:pt x="556" y="950"/>
                    </a:lnTo>
                    <a:lnTo>
                      <a:pt x="562" y="942"/>
                    </a:lnTo>
                    <a:lnTo>
                      <a:pt x="566" y="934"/>
                    </a:lnTo>
                    <a:lnTo>
                      <a:pt x="566" y="934"/>
                    </a:lnTo>
                    <a:lnTo>
                      <a:pt x="568" y="928"/>
                    </a:lnTo>
                    <a:lnTo>
                      <a:pt x="572" y="922"/>
                    </a:lnTo>
                    <a:lnTo>
                      <a:pt x="580" y="916"/>
                    </a:lnTo>
                    <a:lnTo>
                      <a:pt x="588" y="912"/>
                    </a:lnTo>
                    <a:lnTo>
                      <a:pt x="592" y="906"/>
                    </a:lnTo>
                    <a:lnTo>
                      <a:pt x="592" y="900"/>
                    </a:lnTo>
                    <a:lnTo>
                      <a:pt x="592" y="900"/>
                    </a:lnTo>
                    <a:lnTo>
                      <a:pt x="592" y="898"/>
                    </a:lnTo>
                    <a:lnTo>
                      <a:pt x="590" y="896"/>
                    </a:lnTo>
                    <a:lnTo>
                      <a:pt x="582" y="892"/>
                    </a:lnTo>
                    <a:lnTo>
                      <a:pt x="564" y="892"/>
                    </a:lnTo>
                    <a:lnTo>
                      <a:pt x="556" y="890"/>
                    </a:lnTo>
                    <a:lnTo>
                      <a:pt x="554" y="890"/>
                    </a:lnTo>
                    <a:lnTo>
                      <a:pt x="554" y="888"/>
                    </a:lnTo>
                    <a:lnTo>
                      <a:pt x="554" y="886"/>
                    </a:lnTo>
                    <a:lnTo>
                      <a:pt x="556" y="882"/>
                    </a:lnTo>
                    <a:lnTo>
                      <a:pt x="570" y="870"/>
                    </a:lnTo>
                    <a:lnTo>
                      <a:pt x="570" y="870"/>
                    </a:lnTo>
                    <a:lnTo>
                      <a:pt x="598" y="846"/>
                    </a:lnTo>
                    <a:lnTo>
                      <a:pt x="616" y="828"/>
                    </a:lnTo>
                    <a:lnTo>
                      <a:pt x="630" y="810"/>
                    </a:lnTo>
                    <a:lnTo>
                      <a:pt x="644" y="786"/>
                    </a:lnTo>
                    <a:lnTo>
                      <a:pt x="644" y="786"/>
                    </a:lnTo>
                    <a:lnTo>
                      <a:pt x="654" y="774"/>
                    </a:lnTo>
                    <a:lnTo>
                      <a:pt x="666" y="764"/>
                    </a:lnTo>
                    <a:lnTo>
                      <a:pt x="680" y="756"/>
                    </a:lnTo>
                    <a:lnTo>
                      <a:pt x="694" y="750"/>
                    </a:lnTo>
                    <a:lnTo>
                      <a:pt x="710" y="750"/>
                    </a:lnTo>
                    <a:lnTo>
                      <a:pt x="726" y="752"/>
                    </a:lnTo>
                    <a:lnTo>
                      <a:pt x="742" y="758"/>
                    </a:lnTo>
                    <a:lnTo>
                      <a:pt x="750" y="764"/>
                    </a:lnTo>
                    <a:lnTo>
                      <a:pt x="758" y="770"/>
                    </a:lnTo>
                    <a:lnTo>
                      <a:pt x="758" y="770"/>
                    </a:lnTo>
                    <a:lnTo>
                      <a:pt x="768" y="782"/>
                    </a:lnTo>
                    <a:lnTo>
                      <a:pt x="770" y="784"/>
                    </a:lnTo>
                    <a:lnTo>
                      <a:pt x="770" y="784"/>
                    </a:lnTo>
                    <a:lnTo>
                      <a:pt x="752" y="776"/>
                    </a:lnTo>
                    <a:lnTo>
                      <a:pt x="738" y="768"/>
                    </a:lnTo>
                    <a:lnTo>
                      <a:pt x="720" y="764"/>
                    </a:lnTo>
                    <a:lnTo>
                      <a:pt x="712" y="762"/>
                    </a:lnTo>
                    <a:lnTo>
                      <a:pt x="704" y="762"/>
                    </a:lnTo>
                    <a:lnTo>
                      <a:pt x="696" y="764"/>
                    </a:lnTo>
                    <a:lnTo>
                      <a:pt x="690" y="768"/>
                    </a:lnTo>
                    <a:lnTo>
                      <a:pt x="690" y="768"/>
                    </a:lnTo>
                    <a:lnTo>
                      <a:pt x="680" y="776"/>
                    </a:lnTo>
                    <a:lnTo>
                      <a:pt x="674" y="784"/>
                    </a:lnTo>
                    <a:lnTo>
                      <a:pt x="672" y="790"/>
                    </a:lnTo>
                    <a:lnTo>
                      <a:pt x="672" y="796"/>
                    </a:lnTo>
                    <a:lnTo>
                      <a:pt x="672" y="802"/>
                    </a:lnTo>
                    <a:lnTo>
                      <a:pt x="670" y="810"/>
                    </a:lnTo>
                    <a:lnTo>
                      <a:pt x="666" y="818"/>
                    </a:lnTo>
                    <a:lnTo>
                      <a:pt x="658" y="828"/>
                    </a:lnTo>
                    <a:lnTo>
                      <a:pt x="658" y="828"/>
                    </a:lnTo>
                    <a:lnTo>
                      <a:pt x="652" y="836"/>
                    </a:lnTo>
                    <a:lnTo>
                      <a:pt x="650" y="844"/>
                    </a:lnTo>
                    <a:lnTo>
                      <a:pt x="652" y="848"/>
                    </a:lnTo>
                    <a:lnTo>
                      <a:pt x="656" y="852"/>
                    </a:lnTo>
                    <a:lnTo>
                      <a:pt x="660" y="856"/>
                    </a:lnTo>
                    <a:lnTo>
                      <a:pt x="662" y="858"/>
                    </a:lnTo>
                    <a:lnTo>
                      <a:pt x="662" y="862"/>
                    </a:lnTo>
                    <a:lnTo>
                      <a:pt x="656" y="866"/>
                    </a:lnTo>
                    <a:lnTo>
                      <a:pt x="656" y="866"/>
                    </a:lnTo>
                    <a:lnTo>
                      <a:pt x="646" y="874"/>
                    </a:lnTo>
                    <a:lnTo>
                      <a:pt x="644" y="876"/>
                    </a:lnTo>
                    <a:lnTo>
                      <a:pt x="644" y="878"/>
                    </a:lnTo>
                    <a:lnTo>
                      <a:pt x="646" y="880"/>
                    </a:lnTo>
                    <a:lnTo>
                      <a:pt x="648" y="882"/>
                    </a:lnTo>
                    <a:lnTo>
                      <a:pt x="658" y="884"/>
                    </a:lnTo>
                    <a:lnTo>
                      <a:pt x="670" y="884"/>
                    </a:lnTo>
                    <a:lnTo>
                      <a:pt x="684" y="882"/>
                    </a:lnTo>
                    <a:lnTo>
                      <a:pt x="698" y="876"/>
                    </a:lnTo>
                    <a:lnTo>
                      <a:pt x="712" y="866"/>
                    </a:lnTo>
                    <a:lnTo>
                      <a:pt x="712" y="866"/>
                    </a:lnTo>
                    <a:lnTo>
                      <a:pt x="732" y="850"/>
                    </a:lnTo>
                    <a:lnTo>
                      <a:pt x="748" y="840"/>
                    </a:lnTo>
                    <a:lnTo>
                      <a:pt x="762" y="834"/>
                    </a:lnTo>
                    <a:lnTo>
                      <a:pt x="778" y="834"/>
                    </a:lnTo>
                    <a:lnTo>
                      <a:pt x="778" y="834"/>
                    </a:lnTo>
                    <a:lnTo>
                      <a:pt x="786" y="832"/>
                    </a:lnTo>
                    <a:lnTo>
                      <a:pt x="790" y="830"/>
                    </a:lnTo>
                    <a:lnTo>
                      <a:pt x="790" y="828"/>
                    </a:lnTo>
                    <a:lnTo>
                      <a:pt x="790" y="824"/>
                    </a:lnTo>
                    <a:lnTo>
                      <a:pt x="790" y="820"/>
                    </a:lnTo>
                    <a:lnTo>
                      <a:pt x="790" y="818"/>
                    </a:lnTo>
                    <a:lnTo>
                      <a:pt x="794" y="814"/>
                    </a:lnTo>
                    <a:lnTo>
                      <a:pt x="800" y="810"/>
                    </a:lnTo>
                    <a:lnTo>
                      <a:pt x="800" y="810"/>
                    </a:lnTo>
                    <a:lnTo>
                      <a:pt x="804" y="806"/>
                    </a:lnTo>
                    <a:lnTo>
                      <a:pt x="806" y="802"/>
                    </a:lnTo>
                    <a:lnTo>
                      <a:pt x="804" y="796"/>
                    </a:lnTo>
                    <a:lnTo>
                      <a:pt x="802" y="790"/>
                    </a:lnTo>
                    <a:lnTo>
                      <a:pt x="800" y="784"/>
                    </a:lnTo>
                    <a:lnTo>
                      <a:pt x="800" y="780"/>
                    </a:lnTo>
                    <a:lnTo>
                      <a:pt x="804" y="776"/>
                    </a:lnTo>
                    <a:lnTo>
                      <a:pt x="812" y="774"/>
                    </a:lnTo>
                    <a:lnTo>
                      <a:pt x="812" y="774"/>
                    </a:lnTo>
                    <a:lnTo>
                      <a:pt x="824" y="772"/>
                    </a:lnTo>
                    <a:lnTo>
                      <a:pt x="834" y="770"/>
                    </a:lnTo>
                    <a:lnTo>
                      <a:pt x="850" y="764"/>
                    </a:lnTo>
                    <a:lnTo>
                      <a:pt x="856" y="764"/>
                    </a:lnTo>
                    <a:lnTo>
                      <a:pt x="860" y="764"/>
                    </a:lnTo>
                    <a:lnTo>
                      <a:pt x="862" y="768"/>
                    </a:lnTo>
                    <a:lnTo>
                      <a:pt x="862" y="774"/>
                    </a:lnTo>
                    <a:lnTo>
                      <a:pt x="862" y="774"/>
                    </a:lnTo>
                    <a:lnTo>
                      <a:pt x="862" y="780"/>
                    </a:lnTo>
                    <a:lnTo>
                      <a:pt x="866" y="784"/>
                    </a:lnTo>
                    <a:lnTo>
                      <a:pt x="870" y="788"/>
                    </a:lnTo>
                    <a:lnTo>
                      <a:pt x="874" y="790"/>
                    </a:lnTo>
                    <a:lnTo>
                      <a:pt x="888" y="794"/>
                    </a:lnTo>
                    <a:lnTo>
                      <a:pt x="896" y="798"/>
                    </a:lnTo>
                    <a:lnTo>
                      <a:pt x="906" y="802"/>
                    </a:lnTo>
                    <a:lnTo>
                      <a:pt x="906" y="802"/>
                    </a:lnTo>
                    <a:lnTo>
                      <a:pt x="912" y="806"/>
                    </a:lnTo>
                    <a:lnTo>
                      <a:pt x="918" y="806"/>
                    </a:lnTo>
                    <a:lnTo>
                      <a:pt x="922" y="804"/>
                    </a:lnTo>
                    <a:lnTo>
                      <a:pt x="924" y="802"/>
                    </a:lnTo>
                    <a:lnTo>
                      <a:pt x="926" y="800"/>
                    </a:lnTo>
                    <a:lnTo>
                      <a:pt x="930" y="800"/>
                    </a:lnTo>
                    <a:lnTo>
                      <a:pt x="934" y="804"/>
                    </a:lnTo>
                    <a:lnTo>
                      <a:pt x="940" y="810"/>
                    </a:lnTo>
                    <a:lnTo>
                      <a:pt x="940" y="810"/>
                    </a:lnTo>
                    <a:lnTo>
                      <a:pt x="948" y="820"/>
                    </a:lnTo>
                    <a:lnTo>
                      <a:pt x="958" y="824"/>
                    </a:lnTo>
                    <a:lnTo>
                      <a:pt x="968" y="828"/>
                    </a:lnTo>
                    <a:lnTo>
                      <a:pt x="978" y="828"/>
                    </a:lnTo>
                    <a:lnTo>
                      <a:pt x="1002" y="826"/>
                    </a:lnTo>
                    <a:lnTo>
                      <a:pt x="1024" y="824"/>
                    </a:lnTo>
                    <a:lnTo>
                      <a:pt x="1024" y="824"/>
                    </a:lnTo>
                    <a:lnTo>
                      <a:pt x="1036" y="826"/>
                    </a:lnTo>
                    <a:lnTo>
                      <a:pt x="1050" y="830"/>
                    </a:lnTo>
                    <a:lnTo>
                      <a:pt x="1076" y="842"/>
                    </a:lnTo>
                    <a:lnTo>
                      <a:pt x="1090" y="846"/>
                    </a:lnTo>
                    <a:lnTo>
                      <a:pt x="1104" y="850"/>
                    </a:lnTo>
                    <a:lnTo>
                      <a:pt x="1116" y="850"/>
                    </a:lnTo>
                    <a:lnTo>
                      <a:pt x="1122" y="848"/>
                    </a:lnTo>
                    <a:lnTo>
                      <a:pt x="1126" y="846"/>
                    </a:lnTo>
                    <a:lnTo>
                      <a:pt x="1126" y="846"/>
                    </a:lnTo>
                    <a:lnTo>
                      <a:pt x="1136" y="842"/>
                    </a:lnTo>
                    <a:lnTo>
                      <a:pt x="1142" y="840"/>
                    </a:lnTo>
                    <a:lnTo>
                      <a:pt x="1146" y="840"/>
                    </a:lnTo>
                    <a:lnTo>
                      <a:pt x="1150" y="842"/>
                    </a:lnTo>
                    <a:lnTo>
                      <a:pt x="1150" y="846"/>
                    </a:lnTo>
                    <a:lnTo>
                      <a:pt x="1150" y="850"/>
                    </a:lnTo>
                    <a:lnTo>
                      <a:pt x="1146" y="854"/>
                    </a:lnTo>
                    <a:lnTo>
                      <a:pt x="1142" y="858"/>
                    </a:lnTo>
                    <a:lnTo>
                      <a:pt x="1142" y="858"/>
                    </a:lnTo>
                    <a:lnTo>
                      <a:pt x="1138" y="860"/>
                    </a:lnTo>
                    <a:lnTo>
                      <a:pt x="1140" y="864"/>
                    </a:lnTo>
                    <a:lnTo>
                      <a:pt x="1146" y="868"/>
                    </a:lnTo>
                    <a:lnTo>
                      <a:pt x="1154" y="874"/>
                    </a:lnTo>
                    <a:lnTo>
                      <a:pt x="1174" y="882"/>
                    </a:lnTo>
                    <a:lnTo>
                      <a:pt x="1192" y="892"/>
                    </a:lnTo>
                    <a:lnTo>
                      <a:pt x="1192" y="892"/>
                    </a:lnTo>
                    <a:lnTo>
                      <a:pt x="1206" y="900"/>
                    </a:lnTo>
                    <a:lnTo>
                      <a:pt x="1216" y="912"/>
                    </a:lnTo>
                    <a:lnTo>
                      <a:pt x="1228" y="924"/>
                    </a:lnTo>
                    <a:lnTo>
                      <a:pt x="1244" y="934"/>
                    </a:lnTo>
                    <a:lnTo>
                      <a:pt x="1244" y="934"/>
                    </a:lnTo>
                    <a:lnTo>
                      <a:pt x="1254" y="938"/>
                    </a:lnTo>
                    <a:lnTo>
                      <a:pt x="1264" y="940"/>
                    </a:lnTo>
                    <a:lnTo>
                      <a:pt x="1272" y="940"/>
                    </a:lnTo>
                    <a:lnTo>
                      <a:pt x="1278" y="940"/>
                    </a:lnTo>
                    <a:lnTo>
                      <a:pt x="1282" y="938"/>
                    </a:lnTo>
                    <a:lnTo>
                      <a:pt x="1284" y="934"/>
                    </a:lnTo>
                    <a:lnTo>
                      <a:pt x="1284" y="930"/>
                    </a:lnTo>
                    <a:lnTo>
                      <a:pt x="1280" y="924"/>
                    </a:lnTo>
                    <a:lnTo>
                      <a:pt x="1280" y="924"/>
                    </a:lnTo>
                    <a:lnTo>
                      <a:pt x="1272" y="912"/>
                    </a:lnTo>
                    <a:lnTo>
                      <a:pt x="1268" y="904"/>
                    </a:lnTo>
                    <a:lnTo>
                      <a:pt x="1268" y="902"/>
                    </a:lnTo>
                    <a:lnTo>
                      <a:pt x="1270" y="902"/>
                    </a:lnTo>
                    <a:lnTo>
                      <a:pt x="1282" y="912"/>
                    </a:lnTo>
                    <a:lnTo>
                      <a:pt x="1282" y="912"/>
                    </a:lnTo>
                    <a:lnTo>
                      <a:pt x="1298" y="928"/>
                    </a:lnTo>
                    <a:lnTo>
                      <a:pt x="1314" y="938"/>
                    </a:lnTo>
                    <a:lnTo>
                      <a:pt x="1320" y="940"/>
                    </a:lnTo>
                    <a:lnTo>
                      <a:pt x="1324" y="940"/>
                    </a:lnTo>
                    <a:lnTo>
                      <a:pt x="1326" y="938"/>
                    </a:lnTo>
                    <a:lnTo>
                      <a:pt x="1326" y="930"/>
                    </a:lnTo>
                    <a:lnTo>
                      <a:pt x="1326" y="930"/>
                    </a:lnTo>
                    <a:lnTo>
                      <a:pt x="1322" y="916"/>
                    </a:lnTo>
                    <a:lnTo>
                      <a:pt x="1322" y="908"/>
                    </a:lnTo>
                    <a:lnTo>
                      <a:pt x="1322" y="906"/>
                    </a:lnTo>
                    <a:lnTo>
                      <a:pt x="1324" y="908"/>
                    </a:lnTo>
                    <a:lnTo>
                      <a:pt x="1332" y="922"/>
                    </a:lnTo>
                    <a:lnTo>
                      <a:pt x="1332" y="922"/>
                    </a:lnTo>
                    <a:lnTo>
                      <a:pt x="1338" y="930"/>
                    </a:lnTo>
                    <a:lnTo>
                      <a:pt x="1344" y="934"/>
                    </a:lnTo>
                    <a:lnTo>
                      <a:pt x="1348" y="936"/>
                    </a:lnTo>
                    <a:lnTo>
                      <a:pt x="1354" y="938"/>
                    </a:lnTo>
                    <a:lnTo>
                      <a:pt x="1358" y="938"/>
                    </a:lnTo>
                    <a:lnTo>
                      <a:pt x="1362" y="940"/>
                    </a:lnTo>
                    <a:lnTo>
                      <a:pt x="1368" y="942"/>
                    </a:lnTo>
                    <a:lnTo>
                      <a:pt x="1372" y="950"/>
                    </a:lnTo>
                    <a:lnTo>
                      <a:pt x="1372" y="950"/>
                    </a:lnTo>
                    <a:lnTo>
                      <a:pt x="1378" y="966"/>
                    </a:lnTo>
                    <a:lnTo>
                      <a:pt x="1382" y="976"/>
                    </a:lnTo>
                    <a:lnTo>
                      <a:pt x="1384" y="982"/>
                    </a:lnTo>
                    <a:lnTo>
                      <a:pt x="1390" y="988"/>
                    </a:lnTo>
                    <a:lnTo>
                      <a:pt x="1390" y="988"/>
                    </a:lnTo>
                    <a:lnTo>
                      <a:pt x="1394" y="992"/>
                    </a:lnTo>
                    <a:lnTo>
                      <a:pt x="1394" y="996"/>
                    </a:lnTo>
                    <a:lnTo>
                      <a:pt x="1390" y="1002"/>
                    </a:lnTo>
                    <a:lnTo>
                      <a:pt x="1388" y="1006"/>
                    </a:lnTo>
                    <a:lnTo>
                      <a:pt x="1388" y="1008"/>
                    </a:lnTo>
                    <a:lnTo>
                      <a:pt x="1392" y="1012"/>
                    </a:lnTo>
                    <a:lnTo>
                      <a:pt x="1398" y="1014"/>
                    </a:lnTo>
                    <a:lnTo>
                      <a:pt x="1398" y="1014"/>
                    </a:lnTo>
                    <a:lnTo>
                      <a:pt x="1412" y="1020"/>
                    </a:lnTo>
                    <a:lnTo>
                      <a:pt x="1414" y="1024"/>
                    </a:lnTo>
                    <a:lnTo>
                      <a:pt x="1416" y="1026"/>
                    </a:lnTo>
                    <a:lnTo>
                      <a:pt x="1422" y="1036"/>
                    </a:lnTo>
                    <a:lnTo>
                      <a:pt x="1426" y="1042"/>
                    </a:lnTo>
                    <a:lnTo>
                      <a:pt x="1434" y="1052"/>
                    </a:lnTo>
                    <a:lnTo>
                      <a:pt x="1434" y="1052"/>
                    </a:lnTo>
                    <a:lnTo>
                      <a:pt x="1452" y="1064"/>
                    </a:lnTo>
                    <a:lnTo>
                      <a:pt x="1464" y="1070"/>
                    </a:lnTo>
                    <a:lnTo>
                      <a:pt x="1466" y="1074"/>
                    </a:lnTo>
                    <a:lnTo>
                      <a:pt x="1460" y="1076"/>
                    </a:lnTo>
                    <a:lnTo>
                      <a:pt x="1460" y="1076"/>
                    </a:lnTo>
                    <a:lnTo>
                      <a:pt x="1452" y="1080"/>
                    </a:lnTo>
                    <a:lnTo>
                      <a:pt x="1450" y="1086"/>
                    </a:lnTo>
                    <a:lnTo>
                      <a:pt x="1448" y="1092"/>
                    </a:lnTo>
                    <a:lnTo>
                      <a:pt x="1442" y="1100"/>
                    </a:lnTo>
                    <a:lnTo>
                      <a:pt x="1442" y="1100"/>
                    </a:lnTo>
                    <a:lnTo>
                      <a:pt x="1440" y="1104"/>
                    </a:lnTo>
                    <a:lnTo>
                      <a:pt x="1440" y="1108"/>
                    </a:lnTo>
                    <a:lnTo>
                      <a:pt x="1440" y="1112"/>
                    </a:lnTo>
                    <a:lnTo>
                      <a:pt x="1442" y="1114"/>
                    </a:lnTo>
                    <a:lnTo>
                      <a:pt x="1446" y="1116"/>
                    </a:lnTo>
                    <a:lnTo>
                      <a:pt x="1450" y="1114"/>
                    </a:lnTo>
                    <a:lnTo>
                      <a:pt x="1452" y="1112"/>
                    </a:lnTo>
                    <a:lnTo>
                      <a:pt x="1456" y="1106"/>
                    </a:lnTo>
                    <a:lnTo>
                      <a:pt x="1456" y="1106"/>
                    </a:lnTo>
                    <a:lnTo>
                      <a:pt x="1462" y="1092"/>
                    </a:lnTo>
                    <a:lnTo>
                      <a:pt x="1466" y="1088"/>
                    </a:lnTo>
                    <a:lnTo>
                      <a:pt x="1470" y="1084"/>
                    </a:lnTo>
                    <a:lnTo>
                      <a:pt x="1474" y="1082"/>
                    </a:lnTo>
                    <a:lnTo>
                      <a:pt x="1478" y="1084"/>
                    </a:lnTo>
                    <a:lnTo>
                      <a:pt x="1484" y="1088"/>
                    </a:lnTo>
                    <a:lnTo>
                      <a:pt x="1488" y="1094"/>
                    </a:lnTo>
                    <a:lnTo>
                      <a:pt x="1488" y="1094"/>
                    </a:lnTo>
                    <a:lnTo>
                      <a:pt x="1492" y="1104"/>
                    </a:lnTo>
                    <a:lnTo>
                      <a:pt x="1494" y="1112"/>
                    </a:lnTo>
                    <a:lnTo>
                      <a:pt x="1494" y="1118"/>
                    </a:lnTo>
                    <a:lnTo>
                      <a:pt x="1492" y="1124"/>
                    </a:lnTo>
                    <a:lnTo>
                      <a:pt x="1488" y="1134"/>
                    </a:lnTo>
                    <a:lnTo>
                      <a:pt x="1488" y="1138"/>
                    </a:lnTo>
                    <a:lnTo>
                      <a:pt x="1488" y="1144"/>
                    </a:lnTo>
                    <a:lnTo>
                      <a:pt x="1488" y="1144"/>
                    </a:lnTo>
                    <a:lnTo>
                      <a:pt x="1492" y="1152"/>
                    </a:lnTo>
                    <a:lnTo>
                      <a:pt x="1494" y="1160"/>
                    </a:lnTo>
                    <a:lnTo>
                      <a:pt x="1496" y="1164"/>
                    </a:lnTo>
                    <a:lnTo>
                      <a:pt x="1498" y="1164"/>
                    </a:lnTo>
                    <a:lnTo>
                      <a:pt x="1502" y="1162"/>
                    </a:lnTo>
                    <a:lnTo>
                      <a:pt x="1508" y="1158"/>
                    </a:lnTo>
                    <a:lnTo>
                      <a:pt x="1508" y="1158"/>
                    </a:lnTo>
                    <a:lnTo>
                      <a:pt x="1516" y="1150"/>
                    </a:lnTo>
                    <a:lnTo>
                      <a:pt x="1524" y="1142"/>
                    </a:lnTo>
                    <a:lnTo>
                      <a:pt x="1526" y="1138"/>
                    </a:lnTo>
                    <a:lnTo>
                      <a:pt x="1526" y="1132"/>
                    </a:lnTo>
                    <a:lnTo>
                      <a:pt x="1524" y="1118"/>
                    </a:lnTo>
                    <a:lnTo>
                      <a:pt x="1524" y="1118"/>
                    </a:lnTo>
                    <a:lnTo>
                      <a:pt x="1522" y="1106"/>
                    </a:lnTo>
                    <a:lnTo>
                      <a:pt x="1524" y="1098"/>
                    </a:lnTo>
                    <a:lnTo>
                      <a:pt x="1528" y="1094"/>
                    </a:lnTo>
                    <a:lnTo>
                      <a:pt x="1530" y="1090"/>
                    </a:lnTo>
                    <a:lnTo>
                      <a:pt x="1530" y="1090"/>
                    </a:lnTo>
                    <a:lnTo>
                      <a:pt x="1528" y="1098"/>
                    </a:lnTo>
                    <a:lnTo>
                      <a:pt x="1530" y="1106"/>
                    </a:lnTo>
                    <a:lnTo>
                      <a:pt x="1532" y="1118"/>
                    </a:lnTo>
                    <a:lnTo>
                      <a:pt x="1534" y="1130"/>
                    </a:lnTo>
                    <a:lnTo>
                      <a:pt x="1532" y="1136"/>
                    </a:lnTo>
                    <a:lnTo>
                      <a:pt x="1530" y="1140"/>
                    </a:lnTo>
                    <a:lnTo>
                      <a:pt x="1530" y="1140"/>
                    </a:lnTo>
                    <a:lnTo>
                      <a:pt x="1526" y="1142"/>
                    </a:lnTo>
                    <a:lnTo>
                      <a:pt x="1526" y="1146"/>
                    </a:lnTo>
                    <a:lnTo>
                      <a:pt x="1526" y="1152"/>
                    </a:lnTo>
                    <a:lnTo>
                      <a:pt x="1526" y="1160"/>
                    </a:lnTo>
                    <a:lnTo>
                      <a:pt x="1524" y="1162"/>
                    </a:lnTo>
                    <a:lnTo>
                      <a:pt x="1522" y="1166"/>
                    </a:lnTo>
                    <a:lnTo>
                      <a:pt x="1522" y="1166"/>
                    </a:lnTo>
                    <a:lnTo>
                      <a:pt x="1516" y="1172"/>
                    </a:lnTo>
                    <a:lnTo>
                      <a:pt x="1512" y="1178"/>
                    </a:lnTo>
                    <a:lnTo>
                      <a:pt x="1512" y="1182"/>
                    </a:lnTo>
                    <a:lnTo>
                      <a:pt x="1512" y="1186"/>
                    </a:lnTo>
                    <a:lnTo>
                      <a:pt x="1518" y="1192"/>
                    </a:lnTo>
                    <a:lnTo>
                      <a:pt x="1520" y="1194"/>
                    </a:lnTo>
                    <a:lnTo>
                      <a:pt x="1524" y="1198"/>
                    </a:lnTo>
                    <a:lnTo>
                      <a:pt x="1524" y="1198"/>
                    </a:lnTo>
                    <a:lnTo>
                      <a:pt x="1528" y="1210"/>
                    </a:lnTo>
                    <a:lnTo>
                      <a:pt x="1534" y="1222"/>
                    </a:lnTo>
                    <a:lnTo>
                      <a:pt x="1542" y="1232"/>
                    </a:lnTo>
                    <a:lnTo>
                      <a:pt x="1554" y="1244"/>
                    </a:lnTo>
                    <a:lnTo>
                      <a:pt x="1554" y="1244"/>
                    </a:lnTo>
                    <a:lnTo>
                      <a:pt x="1558" y="1246"/>
                    </a:lnTo>
                    <a:lnTo>
                      <a:pt x="1560" y="1244"/>
                    </a:lnTo>
                    <a:lnTo>
                      <a:pt x="1562" y="1236"/>
                    </a:lnTo>
                    <a:lnTo>
                      <a:pt x="1564" y="1230"/>
                    </a:lnTo>
                    <a:lnTo>
                      <a:pt x="1566" y="1224"/>
                    </a:lnTo>
                    <a:lnTo>
                      <a:pt x="1574" y="1218"/>
                    </a:lnTo>
                    <a:lnTo>
                      <a:pt x="1584" y="1216"/>
                    </a:lnTo>
                    <a:lnTo>
                      <a:pt x="1584" y="1216"/>
                    </a:lnTo>
                    <a:lnTo>
                      <a:pt x="1592" y="1216"/>
                    </a:lnTo>
                    <a:lnTo>
                      <a:pt x="1594" y="1216"/>
                    </a:lnTo>
                    <a:lnTo>
                      <a:pt x="1586" y="1222"/>
                    </a:lnTo>
                    <a:lnTo>
                      <a:pt x="1582" y="1228"/>
                    </a:lnTo>
                    <a:lnTo>
                      <a:pt x="1578" y="1234"/>
                    </a:lnTo>
                    <a:lnTo>
                      <a:pt x="1574" y="1240"/>
                    </a:lnTo>
                    <a:lnTo>
                      <a:pt x="1576" y="1248"/>
                    </a:lnTo>
                    <a:lnTo>
                      <a:pt x="1576" y="1248"/>
                    </a:lnTo>
                    <a:lnTo>
                      <a:pt x="1582" y="1258"/>
                    </a:lnTo>
                    <a:lnTo>
                      <a:pt x="1586" y="1260"/>
                    </a:lnTo>
                    <a:lnTo>
                      <a:pt x="1588" y="1262"/>
                    </a:lnTo>
                    <a:lnTo>
                      <a:pt x="1590" y="1274"/>
                    </a:lnTo>
                    <a:lnTo>
                      <a:pt x="1590" y="1274"/>
                    </a:lnTo>
                    <a:lnTo>
                      <a:pt x="1592" y="1280"/>
                    </a:lnTo>
                    <a:lnTo>
                      <a:pt x="1596" y="1280"/>
                    </a:lnTo>
                    <a:lnTo>
                      <a:pt x="1600" y="1280"/>
                    </a:lnTo>
                    <a:lnTo>
                      <a:pt x="1604" y="1278"/>
                    </a:lnTo>
                    <a:lnTo>
                      <a:pt x="1608" y="1278"/>
                    </a:lnTo>
                    <a:lnTo>
                      <a:pt x="1610" y="1278"/>
                    </a:lnTo>
                    <a:lnTo>
                      <a:pt x="1610" y="1280"/>
                    </a:lnTo>
                    <a:lnTo>
                      <a:pt x="1606" y="1290"/>
                    </a:lnTo>
                    <a:lnTo>
                      <a:pt x="1606" y="1290"/>
                    </a:lnTo>
                    <a:lnTo>
                      <a:pt x="1598" y="1306"/>
                    </a:lnTo>
                    <a:lnTo>
                      <a:pt x="1596" y="1318"/>
                    </a:lnTo>
                    <a:lnTo>
                      <a:pt x="1598" y="1322"/>
                    </a:lnTo>
                    <a:lnTo>
                      <a:pt x="1600" y="1322"/>
                    </a:lnTo>
                    <a:lnTo>
                      <a:pt x="1600" y="1322"/>
                    </a:lnTo>
                    <a:lnTo>
                      <a:pt x="1602" y="1322"/>
                    </a:lnTo>
                    <a:lnTo>
                      <a:pt x="1602" y="1324"/>
                    </a:lnTo>
                    <a:lnTo>
                      <a:pt x="1602" y="1330"/>
                    </a:lnTo>
                    <a:lnTo>
                      <a:pt x="1602" y="1336"/>
                    </a:lnTo>
                    <a:lnTo>
                      <a:pt x="1604" y="1340"/>
                    </a:lnTo>
                    <a:lnTo>
                      <a:pt x="1608" y="1342"/>
                    </a:lnTo>
                    <a:lnTo>
                      <a:pt x="1608" y="1342"/>
                    </a:lnTo>
                    <a:lnTo>
                      <a:pt x="1610" y="1342"/>
                    </a:lnTo>
                    <a:lnTo>
                      <a:pt x="1612" y="1340"/>
                    </a:lnTo>
                    <a:lnTo>
                      <a:pt x="1614" y="1330"/>
                    </a:lnTo>
                    <a:lnTo>
                      <a:pt x="1616" y="1320"/>
                    </a:lnTo>
                    <a:lnTo>
                      <a:pt x="1618" y="1316"/>
                    </a:lnTo>
                    <a:lnTo>
                      <a:pt x="1622" y="1314"/>
                    </a:lnTo>
                    <a:lnTo>
                      <a:pt x="1622" y="1314"/>
                    </a:lnTo>
                    <a:lnTo>
                      <a:pt x="1630" y="1310"/>
                    </a:lnTo>
                    <a:lnTo>
                      <a:pt x="1636" y="1304"/>
                    </a:lnTo>
                    <a:lnTo>
                      <a:pt x="1642" y="1300"/>
                    </a:lnTo>
                    <a:lnTo>
                      <a:pt x="1642" y="1300"/>
                    </a:lnTo>
                    <a:lnTo>
                      <a:pt x="1644" y="1304"/>
                    </a:lnTo>
                    <a:lnTo>
                      <a:pt x="1644" y="1304"/>
                    </a:lnTo>
                    <a:lnTo>
                      <a:pt x="1646" y="1306"/>
                    </a:lnTo>
                    <a:lnTo>
                      <a:pt x="1648" y="1308"/>
                    </a:lnTo>
                    <a:lnTo>
                      <a:pt x="1654" y="1308"/>
                    </a:lnTo>
                    <a:lnTo>
                      <a:pt x="1660" y="1308"/>
                    </a:lnTo>
                    <a:lnTo>
                      <a:pt x="1660" y="1310"/>
                    </a:lnTo>
                    <a:lnTo>
                      <a:pt x="1660" y="1314"/>
                    </a:lnTo>
                    <a:lnTo>
                      <a:pt x="1660" y="1314"/>
                    </a:lnTo>
                    <a:lnTo>
                      <a:pt x="1660" y="1318"/>
                    </a:lnTo>
                    <a:lnTo>
                      <a:pt x="1658" y="1318"/>
                    </a:lnTo>
                    <a:lnTo>
                      <a:pt x="1656" y="1316"/>
                    </a:lnTo>
                    <a:lnTo>
                      <a:pt x="1652" y="1314"/>
                    </a:lnTo>
                    <a:lnTo>
                      <a:pt x="1648" y="1312"/>
                    </a:lnTo>
                    <a:lnTo>
                      <a:pt x="1642" y="1314"/>
                    </a:lnTo>
                    <a:lnTo>
                      <a:pt x="1634" y="1318"/>
                    </a:lnTo>
                    <a:lnTo>
                      <a:pt x="1634" y="1318"/>
                    </a:lnTo>
                    <a:lnTo>
                      <a:pt x="1622" y="1330"/>
                    </a:lnTo>
                    <a:lnTo>
                      <a:pt x="1618" y="1336"/>
                    </a:lnTo>
                    <a:lnTo>
                      <a:pt x="1618" y="1342"/>
                    </a:lnTo>
                    <a:lnTo>
                      <a:pt x="1618" y="1350"/>
                    </a:lnTo>
                    <a:lnTo>
                      <a:pt x="1618" y="1350"/>
                    </a:lnTo>
                    <a:lnTo>
                      <a:pt x="1620" y="1356"/>
                    </a:lnTo>
                    <a:lnTo>
                      <a:pt x="1622" y="1358"/>
                    </a:lnTo>
                    <a:lnTo>
                      <a:pt x="1626" y="1360"/>
                    </a:lnTo>
                    <a:lnTo>
                      <a:pt x="1628" y="1362"/>
                    </a:lnTo>
                    <a:lnTo>
                      <a:pt x="1624" y="1366"/>
                    </a:lnTo>
                    <a:lnTo>
                      <a:pt x="1624" y="1366"/>
                    </a:lnTo>
                    <a:lnTo>
                      <a:pt x="1622" y="1368"/>
                    </a:lnTo>
                    <a:lnTo>
                      <a:pt x="1622" y="1370"/>
                    </a:lnTo>
                    <a:lnTo>
                      <a:pt x="1624" y="1372"/>
                    </a:lnTo>
                    <a:lnTo>
                      <a:pt x="1626" y="1374"/>
                    </a:lnTo>
                    <a:lnTo>
                      <a:pt x="1624" y="1376"/>
                    </a:lnTo>
                    <a:lnTo>
                      <a:pt x="1624" y="1376"/>
                    </a:lnTo>
                    <a:lnTo>
                      <a:pt x="1620" y="1378"/>
                    </a:lnTo>
                    <a:lnTo>
                      <a:pt x="1620" y="1382"/>
                    </a:lnTo>
                    <a:lnTo>
                      <a:pt x="1620" y="1384"/>
                    </a:lnTo>
                    <a:lnTo>
                      <a:pt x="1622" y="1386"/>
                    </a:lnTo>
                    <a:lnTo>
                      <a:pt x="1630" y="1392"/>
                    </a:lnTo>
                    <a:lnTo>
                      <a:pt x="1642" y="1396"/>
                    </a:lnTo>
                    <a:lnTo>
                      <a:pt x="1642" y="1396"/>
                    </a:lnTo>
                    <a:lnTo>
                      <a:pt x="1650" y="1398"/>
                    </a:lnTo>
                    <a:lnTo>
                      <a:pt x="1656" y="1396"/>
                    </a:lnTo>
                    <a:lnTo>
                      <a:pt x="1662" y="1394"/>
                    </a:lnTo>
                    <a:lnTo>
                      <a:pt x="1670" y="1394"/>
                    </a:lnTo>
                    <a:lnTo>
                      <a:pt x="1670" y="1394"/>
                    </a:lnTo>
                    <a:lnTo>
                      <a:pt x="1676" y="1396"/>
                    </a:lnTo>
                    <a:lnTo>
                      <a:pt x="1676" y="1398"/>
                    </a:lnTo>
                    <a:lnTo>
                      <a:pt x="1676" y="1400"/>
                    </a:lnTo>
                    <a:lnTo>
                      <a:pt x="1682" y="1400"/>
                    </a:lnTo>
                    <a:lnTo>
                      <a:pt x="1682" y="1400"/>
                    </a:lnTo>
                    <a:lnTo>
                      <a:pt x="1688" y="1402"/>
                    </a:lnTo>
                    <a:lnTo>
                      <a:pt x="1688" y="1404"/>
                    </a:lnTo>
                    <a:lnTo>
                      <a:pt x="1686" y="1412"/>
                    </a:lnTo>
                    <a:lnTo>
                      <a:pt x="1686" y="1416"/>
                    </a:lnTo>
                    <a:lnTo>
                      <a:pt x="1686" y="1420"/>
                    </a:lnTo>
                    <a:lnTo>
                      <a:pt x="1688" y="1422"/>
                    </a:lnTo>
                    <a:lnTo>
                      <a:pt x="1694" y="1420"/>
                    </a:lnTo>
                    <a:lnTo>
                      <a:pt x="1694" y="1420"/>
                    </a:lnTo>
                    <a:lnTo>
                      <a:pt x="1700" y="1420"/>
                    </a:lnTo>
                    <a:lnTo>
                      <a:pt x="1702" y="1422"/>
                    </a:lnTo>
                    <a:lnTo>
                      <a:pt x="1706" y="1424"/>
                    </a:lnTo>
                    <a:lnTo>
                      <a:pt x="1714" y="1422"/>
                    </a:lnTo>
                    <a:lnTo>
                      <a:pt x="1714" y="1422"/>
                    </a:lnTo>
                    <a:lnTo>
                      <a:pt x="1718" y="1422"/>
                    </a:lnTo>
                    <a:lnTo>
                      <a:pt x="1722" y="1422"/>
                    </a:lnTo>
                    <a:lnTo>
                      <a:pt x="1730" y="1426"/>
                    </a:lnTo>
                    <a:lnTo>
                      <a:pt x="1736" y="1430"/>
                    </a:lnTo>
                    <a:lnTo>
                      <a:pt x="1738" y="1430"/>
                    </a:lnTo>
                    <a:lnTo>
                      <a:pt x="1742" y="1428"/>
                    </a:lnTo>
                    <a:lnTo>
                      <a:pt x="1742" y="1428"/>
                    </a:lnTo>
                    <a:lnTo>
                      <a:pt x="1744" y="1428"/>
                    </a:lnTo>
                    <a:lnTo>
                      <a:pt x="1748" y="1430"/>
                    </a:lnTo>
                    <a:lnTo>
                      <a:pt x="1750" y="1434"/>
                    </a:lnTo>
                    <a:lnTo>
                      <a:pt x="1750" y="1442"/>
                    </a:lnTo>
                    <a:lnTo>
                      <a:pt x="1748" y="1444"/>
                    </a:lnTo>
                    <a:lnTo>
                      <a:pt x="1744" y="1446"/>
                    </a:lnTo>
                    <a:lnTo>
                      <a:pt x="1744" y="1446"/>
                    </a:lnTo>
                    <a:lnTo>
                      <a:pt x="1742" y="1448"/>
                    </a:lnTo>
                    <a:lnTo>
                      <a:pt x="1742" y="1450"/>
                    </a:lnTo>
                    <a:lnTo>
                      <a:pt x="1748" y="1458"/>
                    </a:lnTo>
                    <a:lnTo>
                      <a:pt x="1758" y="1464"/>
                    </a:lnTo>
                    <a:lnTo>
                      <a:pt x="1764" y="1464"/>
                    </a:lnTo>
                    <a:lnTo>
                      <a:pt x="1768" y="1464"/>
                    </a:lnTo>
                    <a:lnTo>
                      <a:pt x="1768" y="1464"/>
                    </a:lnTo>
                    <a:lnTo>
                      <a:pt x="1774" y="1458"/>
                    </a:lnTo>
                    <a:lnTo>
                      <a:pt x="1778" y="1454"/>
                    </a:lnTo>
                    <a:lnTo>
                      <a:pt x="1778" y="1452"/>
                    </a:lnTo>
                    <a:lnTo>
                      <a:pt x="1778" y="1454"/>
                    </a:lnTo>
                    <a:lnTo>
                      <a:pt x="1780" y="1460"/>
                    </a:lnTo>
                    <a:lnTo>
                      <a:pt x="1780" y="1460"/>
                    </a:lnTo>
                    <a:lnTo>
                      <a:pt x="1780" y="1468"/>
                    </a:lnTo>
                    <a:lnTo>
                      <a:pt x="1784" y="1470"/>
                    </a:lnTo>
                    <a:lnTo>
                      <a:pt x="1786" y="1470"/>
                    </a:lnTo>
                    <a:lnTo>
                      <a:pt x="1786" y="1474"/>
                    </a:lnTo>
                    <a:lnTo>
                      <a:pt x="1786" y="1474"/>
                    </a:lnTo>
                    <a:lnTo>
                      <a:pt x="1784" y="1476"/>
                    </a:lnTo>
                    <a:lnTo>
                      <a:pt x="1782" y="1476"/>
                    </a:lnTo>
                    <a:lnTo>
                      <a:pt x="1780" y="1472"/>
                    </a:lnTo>
                    <a:lnTo>
                      <a:pt x="1776" y="1468"/>
                    </a:lnTo>
                    <a:lnTo>
                      <a:pt x="1774" y="1468"/>
                    </a:lnTo>
                    <a:lnTo>
                      <a:pt x="1772" y="1470"/>
                    </a:lnTo>
                    <a:lnTo>
                      <a:pt x="1772" y="1470"/>
                    </a:lnTo>
                    <a:lnTo>
                      <a:pt x="1770" y="1472"/>
                    </a:lnTo>
                    <a:lnTo>
                      <a:pt x="1772" y="1476"/>
                    </a:lnTo>
                    <a:lnTo>
                      <a:pt x="1780" y="1484"/>
                    </a:lnTo>
                    <a:lnTo>
                      <a:pt x="1790" y="1486"/>
                    </a:lnTo>
                    <a:lnTo>
                      <a:pt x="1794" y="1486"/>
                    </a:lnTo>
                    <a:lnTo>
                      <a:pt x="1794" y="1484"/>
                    </a:lnTo>
                    <a:lnTo>
                      <a:pt x="1794" y="1484"/>
                    </a:lnTo>
                    <a:lnTo>
                      <a:pt x="1796" y="1478"/>
                    </a:lnTo>
                    <a:lnTo>
                      <a:pt x="1800" y="1474"/>
                    </a:lnTo>
                    <a:lnTo>
                      <a:pt x="1804" y="1474"/>
                    </a:lnTo>
                    <a:lnTo>
                      <a:pt x="1804" y="1478"/>
                    </a:lnTo>
                    <a:lnTo>
                      <a:pt x="1804" y="1478"/>
                    </a:lnTo>
                    <a:lnTo>
                      <a:pt x="1804" y="1486"/>
                    </a:lnTo>
                    <a:lnTo>
                      <a:pt x="1806" y="1492"/>
                    </a:lnTo>
                    <a:lnTo>
                      <a:pt x="1808" y="1498"/>
                    </a:lnTo>
                    <a:lnTo>
                      <a:pt x="1808" y="1504"/>
                    </a:lnTo>
                    <a:lnTo>
                      <a:pt x="1808" y="1504"/>
                    </a:lnTo>
                    <a:lnTo>
                      <a:pt x="1808" y="1510"/>
                    </a:lnTo>
                    <a:lnTo>
                      <a:pt x="1810" y="1512"/>
                    </a:lnTo>
                    <a:lnTo>
                      <a:pt x="1812" y="1510"/>
                    </a:lnTo>
                    <a:lnTo>
                      <a:pt x="1816" y="1506"/>
                    </a:lnTo>
                    <a:lnTo>
                      <a:pt x="1816" y="1506"/>
                    </a:lnTo>
                    <a:lnTo>
                      <a:pt x="1818" y="1504"/>
                    </a:lnTo>
                    <a:lnTo>
                      <a:pt x="1820" y="1506"/>
                    </a:lnTo>
                    <a:lnTo>
                      <a:pt x="1822" y="1508"/>
                    </a:lnTo>
                    <a:lnTo>
                      <a:pt x="1822" y="1508"/>
                    </a:lnTo>
                    <a:lnTo>
                      <a:pt x="1822" y="1516"/>
                    </a:lnTo>
                    <a:lnTo>
                      <a:pt x="1824" y="1520"/>
                    </a:lnTo>
                    <a:lnTo>
                      <a:pt x="1828" y="1526"/>
                    </a:lnTo>
                    <a:lnTo>
                      <a:pt x="1832" y="1528"/>
                    </a:lnTo>
                    <a:lnTo>
                      <a:pt x="1832" y="1530"/>
                    </a:lnTo>
                    <a:lnTo>
                      <a:pt x="1832" y="1534"/>
                    </a:lnTo>
                    <a:lnTo>
                      <a:pt x="1832" y="1534"/>
                    </a:lnTo>
                    <a:lnTo>
                      <a:pt x="1832" y="1538"/>
                    </a:lnTo>
                    <a:lnTo>
                      <a:pt x="1830" y="1538"/>
                    </a:lnTo>
                    <a:lnTo>
                      <a:pt x="1826" y="1540"/>
                    </a:lnTo>
                    <a:lnTo>
                      <a:pt x="1824" y="1540"/>
                    </a:lnTo>
                    <a:lnTo>
                      <a:pt x="1824" y="1542"/>
                    </a:lnTo>
                    <a:lnTo>
                      <a:pt x="1830" y="1550"/>
                    </a:lnTo>
                    <a:lnTo>
                      <a:pt x="1830" y="1550"/>
                    </a:lnTo>
                    <a:lnTo>
                      <a:pt x="1836" y="1562"/>
                    </a:lnTo>
                    <a:lnTo>
                      <a:pt x="1840" y="1570"/>
                    </a:lnTo>
                    <a:lnTo>
                      <a:pt x="1840" y="1582"/>
                    </a:lnTo>
                    <a:lnTo>
                      <a:pt x="1840" y="1600"/>
                    </a:lnTo>
                    <a:lnTo>
                      <a:pt x="1840" y="1600"/>
                    </a:lnTo>
                    <a:lnTo>
                      <a:pt x="1838" y="1608"/>
                    </a:lnTo>
                    <a:lnTo>
                      <a:pt x="1836" y="1610"/>
                    </a:lnTo>
                    <a:lnTo>
                      <a:pt x="1834" y="1608"/>
                    </a:lnTo>
                    <a:lnTo>
                      <a:pt x="1834" y="1604"/>
                    </a:lnTo>
                    <a:lnTo>
                      <a:pt x="1828" y="1570"/>
                    </a:lnTo>
                    <a:lnTo>
                      <a:pt x="1828" y="1570"/>
                    </a:lnTo>
                    <a:lnTo>
                      <a:pt x="1824" y="1564"/>
                    </a:lnTo>
                    <a:lnTo>
                      <a:pt x="1816" y="1560"/>
                    </a:lnTo>
                    <a:lnTo>
                      <a:pt x="1808" y="1558"/>
                    </a:lnTo>
                    <a:lnTo>
                      <a:pt x="1798" y="1556"/>
                    </a:lnTo>
                    <a:lnTo>
                      <a:pt x="1776" y="1554"/>
                    </a:lnTo>
                    <a:lnTo>
                      <a:pt x="1766" y="1552"/>
                    </a:lnTo>
                    <a:lnTo>
                      <a:pt x="1758" y="1548"/>
                    </a:lnTo>
                    <a:lnTo>
                      <a:pt x="1758" y="1548"/>
                    </a:lnTo>
                    <a:lnTo>
                      <a:pt x="1752" y="1546"/>
                    </a:lnTo>
                    <a:lnTo>
                      <a:pt x="1746" y="1546"/>
                    </a:lnTo>
                    <a:lnTo>
                      <a:pt x="1744" y="1548"/>
                    </a:lnTo>
                    <a:lnTo>
                      <a:pt x="1742" y="1552"/>
                    </a:lnTo>
                    <a:lnTo>
                      <a:pt x="1744" y="1556"/>
                    </a:lnTo>
                    <a:lnTo>
                      <a:pt x="1746" y="1564"/>
                    </a:lnTo>
                    <a:lnTo>
                      <a:pt x="1754" y="1578"/>
                    </a:lnTo>
                    <a:lnTo>
                      <a:pt x="1754" y="1578"/>
                    </a:lnTo>
                    <a:lnTo>
                      <a:pt x="1758" y="1586"/>
                    </a:lnTo>
                    <a:lnTo>
                      <a:pt x="1764" y="1598"/>
                    </a:lnTo>
                    <a:lnTo>
                      <a:pt x="1770" y="1626"/>
                    </a:lnTo>
                    <a:lnTo>
                      <a:pt x="1774" y="1658"/>
                    </a:lnTo>
                    <a:lnTo>
                      <a:pt x="1774" y="1690"/>
                    </a:lnTo>
                    <a:lnTo>
                      <a:pt x="1774" y="1690"/>
                    </a:lnTo>
                    <a:lnTo>
                      <a:pt x="1774" y="1726"/>
                    </a:lnTo>
                    <a:lnTo>
                      <a:pt x="1770" y="1768"/>
                    </a:lnTo>
                    <a:lnTo>
                      <a:pt x="1766" y="1810"/>
                    </a:lnTo>
                    <a:lnTo>
                      <a:pt x="1762" y="1828"/>
                    </a:lnTo>
                    <a:lnTo>
                      <a:pt x="1756" y="1842"/>
                    </a:lnTo>
                    <a:lnTo>
                      <a:pt x="1756" y="1842"/>
                    </a:lnTo>
                    <a:lnTo>
                      <a:pt x="1754" y="1854"/>
                    </a:lnTo>
                    <a:lnTo>
                      <a:pt x="1754" y="1870"/>
                    </a:lnTo>
                    <a:lnTo>
                      <a:pt x="1756" y="1886"/>
                    </a:lnTo>
                    <a:lnTo>
                      <a:pt x="1760" y="1904"/>
                    </a:lnTo>
                    <a:lnTo>
                      <a:pt x="1764" y="1920"/>
                    </a:lnTo>
                    <a:lnTo>
                      <a:pt x="1766" y="1938"/>
                    </a:lnTo>
                    <a:lnTo>
                      <a:pt x="1766" y="1956"/>
                    </a:lnTo>
                    <a:lnTo>
                      <a:pt x="1762" y="1972"/>
                    </a:lnTo>
                    <a:lnTo>
                      <a:pt x="1762" y="1972"/>
                    </a:lnTo>
                    <a:lnTo>
                      <a:pt x="1760" y="1986"/>
                    </a:lnTo>
                    <a:lnTo>
                      <a:pt x="1758" y="1996"/>
                    </a:lnTo>
                    <a:lnTo>
                      <a:pt x="1762" y="2006"/>
                    </a:lnTo>
                    <a:lnTo>
                      <a:pt x="1766" y="2012"/>
                    </a:lnTo>
                    <a:lnTo>
                      <a:pt x="1774" y="2030"/>
                    </a:lnTo>
                    <a:lnTo>
                      <a:pt x="1778" y="2042"/>
                    </a:lnTo>
                    <a:lnTo>
                      <a:pt x="1780" y="2056"/>
                    </a:lnTo>
                    <a:lnTo>
                      <a:pt x="1780" y="2056"/>
                    </a:lnTo>
                    <a:lnTo>
                      <a:pt x="1784" y="2072"/>
                    </a:lnTo>
                    <a:lnTo>
                      <a:pt x="1786" y="2082"/>
                    </a:lnTo>
                    <a:lnTo>
                      <a:pt x="1792" y="2090"/>
                    </a:lnTo>
                    <a:lnTo>
                      <a:pt x="1798" y="2096"/>
                    </a:lnTo>
                    <a:lnTo>
                      <a:pt x="1808" y="2104"/>
                    </a:lnTo>
                    <a:lnTo>
                      <a:pt x="1812" y="2110"/>
                    </a:lnTo>
                    <a:lnTo>
                      <a:pt x="1814" y="2118"/>
                    </a:lnTo>
                    <a:lnTo>
                      <a:pt x="1814" y="2118"/>
                    </a:lnTo>
                    <a:lnTo>
                      <a:pt x="1816" y="2124"/>
                    </a:lnTo>
                    <a:lnTo>
                      <a:pt x="1818" y="2128"/>
                    </a:lnTo>
                    <a:lnTo>
                      <a:pt x="1824" y="2132"/>
                    </a:lnTo>
                    <a:lnTo>
                      <a:pt x="1828" y="2136"/>
                    </a:lnTo>
                    <a:lnTo>
                      <a:pt x="1832" y="2140"/>
                    </a:lnTo>
                    <a:lnTo>
                      <a:pt x="1834" y="2146"/>
                    </a:lnTo>
                    <a:lnTo>
                      <a:pt x="1836" y="2158"/>
                    </a:lnTo>
                    <a:lnTo>
                      <a:pt x="1836" y="2158"/>
                    </a:lnTo>
                    <a:lnTo>
                      <a:pt x="1838" y="2170"/>
                    </a:lnTo>
                    <a:lnTo>
                      <a:pt x="1842" y="2178"/>
                    </a:lnTo>
                    <a:lnTo>
                      <a:pt x="1846" y="2182"/>
                    </a:lnTo>
                    <a:lnTo>
                      <a:pt x="1852" y="2186"/>
                    </a:lnTo>
                    <a:lnTo>
                      <a:pt x="1856" y="2188"/>
                    </a:lnTo>
                    <a:lnTo>
                      <a:pt x="1860" y="2190"/>
                    </a:lnTo>
                    <a:lnTo>
                      <a:pt x="1862" y="2194"/>
                    </a:lnTo>
                    <a:lnTo>
                      <a:pt x="1860" y="2200"/>
                    </a:lnTo>
                    <a:lnTo>
                      <a:pt x="1860" y="2200"/>
                    </a:lnTo>
                    <a:lnTo>
                      <a:pt x="1858" y="2208"/>
                    </a:lnTo>
                    <a:lnTo>
                      <a:pt x="1858" y="2214"/>
                    </a:lnTo>
                    <a:lnTo>
                      <a:pt x="1860" y="2218"/>
                    </a:lnTo>
                    <a:lnTo>
                      <a:pt x="1862" y="2224"/>
                    </a:lnTo>
                    <a:lnTo>
                      <a:pt x="1872" y="2238"/>
                    </a:lnTo>
                    <a:lnTo>
                      <a:pt x="1890" y="2260"/>
                    </a:lnTo>
                    <a:lnTo>
                      <a:pt x="1890" y="2260"/>
                    </a:lnTo>
                    <a:lnTo>
                      <a:pt x="1900" y="2272"/>
                    </a:lnTo>
                    <a:lnTo>
                      <a:pt x="1904" y="2282"/>
                    </a:lnTo>
                    <a:lnTo>
                      <a:pt x="1908" y="2292"/>
                    </a:lnTo>
                    <a:lnTo>
                      <a:pt x="1908" y="2298"/>
                    </a:lnTo>
                    <a:lnTo>
                      <a:pt x="1910" y="2310"/>
                    </a:lnTo>
                    <a:lnTo>
                      <a:pt x="1912" y="2314"/>
                    </a:lnTo>
                    <a:lnTo>
                      <a:pt x="1916" y="2318"/>
                    </a:lnTo>
                    <a:lnTo>
                      <a:pt x="1916" y="2318"/>
                    </a:lnTo>
                    <a:lnTo>
                      <a:pt x="1920" y="2322"/>
                    </a:lnTo>
                    <a:lnTo>
                      <a:pt x="1926" y="2324"/>
                    </a:lnTo>
                    <a:lnTo>
                      <a:pt x="1940" y="2326"/>
                    </a:lnTo>
                    <a:lnTo>
                      <a:pt x="1948" y="2328"/>
                    </a:lnTo>
                    <a:lnTo>
                      <a:pt x="1958" y="2332"/>
                    </a:lnTo>
                    <a:lnTo>
                      <a:pt x="1968" y="2336"/>
                    </a:lnTo>
                    <a:lnTo>
                      <a:pt x="1978" y="2344"/>
                    </a:lnTo>
                    <a:lnTo>
                      <a:pt x="1978" y="2344"/>
                    </a:lnTo>
                    <a:lnTo>
                      <a:pt x="1986" y="2352"/>
                    </a:lnTo>
                    <a:lnTo>
                      <a:pt x="1994" y="2358"/>
                    </a:lnTo>
                    <a:lnTo>
                      <a:pt x="2006" y="2360"/>
                    </a:lnTo>
                    <a:lnTo>
                      <a:pt x="2016" y="2364"/>
                    </a:lnTo>
                    <a:lnTo>
                      <a:pt x="2022" y="2368"/>
                    </a:lnTo>
                    <a:lnTo>
                      <a:pt x="2030" y="2374"/>
                    </a:lnTo>
                    <a:lnTo>
                      <a:pt x="2030" y="2374"/>
                    </a:lnTo>
                    <a:lnTo>
                      <a:pt x="2036" y="2382"/>
                    </a:lnTo>
                    <a:lnTo>
                      <a:pt x="2040" y="2388"/>
                    </a:lnTo>
                    <a:lnTo>
                      <a:pt x="2046" y="2400"/>
                    </a:lnTo>
                    <a:lnTo>
                      <a:pt x="2048" y="2410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66" y="2454"/>
                    </a:lnTo>
                    <a:lnTo>
                      <a:pt x="2078" y="2480"/>
                    </a:lnTo>
                    <a:lnTo>
                      <a:pt x="2092" y="2520"/>
                    </a:lnTo>
                    <a:lnTo>
                      <a:pt x="2100" y="2548"/>
                    </a:lnTo>
                    <a:lnTo>
                      <a:pt x="2106" y="2560"/>
                    </a:lnTo>
                    <a:lnTo>
                      <a:pt x="2112" y="2568"/>
                    </a:lnTo>
                    <a:lnTo>
                      <a:pt x="2112" y="2568"/>
                    </a:lnTo>
                    <a:lnTo>
                      <a:pt x="2120" y="2578"/>
                    </a:lnTo>
                    <a:lnTo>
                      <a:pt x="2130" y="2586"/>
                    </a:lnTo>
                    <a:lnTo>
                      <a:pt x="2150" y="2604"/>
                    </a:lnTo>
                    <a:lnTo>
                      <a:pt x="2160" y="2614"/>
                    </a:lnTo>
                    <a:lnTo>
                      <a:pt x="2166" y="2624"/>
                    </a:lnTo>
                    <a:lnTo>
                      <a:pt x="2170" y="2636"/>
                    </a:lnTo>
                    <a:lnTo>
                      <a:pt x="2170" y="2650"/>
                    </a:lnTo>
                    <a:lnTo>
                      <a:pt x="2170" y="2650"/>
                    </a:lnTo>
                    <a:lnTo>
                      <a:pt x="2170" y="2656"/>
                    </a:lnTo>
                    <a:lnTo>
                      <a:pt x="2168" y="2662"/>
                    </a:lnTo>
                    <a:lnTo>
                      <a:pt x="2164" y="2664"/>
                    </a:lnTo>
                    <a:lnTo>
                      <a:pt x="2162" y="2668"/>
                    </a:lnTo>
                    <a:lnTo>
                      <a:pt x="2154" y="2668"/>
                    </a:lnTo>
                    <a:lnTo>
                      <a:pt x="2148" y="2668"/>
                    </a:lnTo>
                    <a:lnTo>
                      <a:pt x="2142" y="2668"/>
                    </a:lnTo>
                    <a:lnTo>
                      <a:pt x="2138" y="2668"/>
                    </a:lnTo>
                    <a:lnTo>
                      <a:pt x="2140" y="2672"/>
                    </a:lnTo>
                    <a:lnTo>
                      <a:pt x="2146" y="2682"/>
                    </a:lnTo>
                    <a:lnTo>
                      <a:pt x="2146" y="2682"/>
                    </a:lnTo>
                    <a:lnTo>
                      <a:pt x="2156" y="2692"/>
                    </a:lnTo>
                    <a:lnTo>
                      <a:pt x="2166" y="2700"/>
                    </a:lnTo>
                    <a:lnTo>
                      <a:pt x="2188" y="2716"/>
                    </a:lnTo>
                    <a:lnTo>
                      <a:pt x="2212" y="2730"/>
                    </a:lnTo>
                    <a:lnTo>
                      <a:pt x="2226" y="2738"/>
                    </a:lnTo>
                    <a:lnTo>
                      <a:pt x="2238" y="2748"/>
                    </a:lnTo>
                    <a:lnTo>
                      <a:pt x="2238" y="2748"/>
                    </a:lnTo>
                    <a:lnTo>
                      <a:pt x="2244" y="2754"/>
                    </a:lnTo>
                    <a:lnTo>
                      <a:pt x="2248" y="2758"/>
                    </a:lnTo>
                    <a:lnTo>
                      <a:pt x="2250" y="2764"/>
                    </a:lnTo>
                    <a:lnTo>
                      <a:pt x="2252" y="2770"/>
                    </a:lnTo>
                    <a:lnTo>
                      <a:pt x="2250" y="2782"/>
                    </a:lnTo>
                    <a:lnTo>
                      <a:pt x="2250" y="2794"/>
                    </a:lnTo>
                    <a:lnTo>
                      <a:pt x="2248" y="2808"/>
                    </a:lnTo>
                    <a:lnTo>
                      <a:pt x="2250" y="2814"/>
                    </a:lnTo>
                    <a:lnTo>
                      <a:pt x="2252" y="2820"/>
                    </a:lnTo>
                    <a:lnTo>
                      <a:pt x="2256" y="2828"/>
                    </a:lnTo>
                    <a:lnTo>
                      <a:pt x="2262" y="2834"/>
                    </a:lnTo>
                    <a:lnTo>
                      <a:pt x="2270" y="2842"/>
                    </a:lnTo>
                    <a:lnTo>
                      <a:pt x="2280" y="2850"/>
                    </a:lnTo>
                    <a:lnTo>
                      <a:pt x="2280" y="2850"/>
                    </a:lnTo>
                    <a:lnTo>
                      <a:pt x="2300" y="2866"/>
                    </a:lnTo>
                    <a:lnTo>
                      <a:pt x="2316" y="2882"/>
                    </a:lnTo>
                    <a:lnTo>
                      <a:pt x="2326" y="2894"/>
                    </a:lnTo>
                    <a:lnTo>
                      <a:pt x="2332" y="2906"/>
                    </a:lnTo>
                    <a:lnTo>
                      <a:pt x="2336" y="2914"/>
                    </a:lnTo>
                    <a:lnTo>
                      <a:pt x="2340" y="2918"/>
                    </a:lnTo>
                    <a:lnTo>
                      <a:pt x="2344" y="2920"/>
                    </a:lnTo>
                    <a:lnTo>
                      <a:pt x="2350" y="2916"/>
                    </a:lnTo>
                    <a:lnTo>
                      <a:pt x="2350" y="2916"/>
                    </a:lnTo>
                    <a:lnTo>
                      <a:pt x="2358" y="2910"/>
                    </a:lnTo>
                    <a:lnTo>
                      <a:pt x="2362" y="2906"/>
                    </a:lnTo>
                    <a:lnTo>
                      <a:pt x="2364" y="2900"/>
                    </a:lnTo>
                    <a:lnTo>
                      <a:pt x="2364" y="2896"/>
                    </a:lnTo>
                    <a:lnTo>
                      <a:pt x="2358" y="2884"/>
                    </a:lnTo>
                    <a:lnTo>
                      <a:pt x="2346" y="2864"/>
                    </a:lnTo>
                    <a:lnTo>
                      <a:pt x="2346" y="2864"/>
                    </a:lnTo>
                    <a:lnTo>
                      <a:pt x="2340" y="2856"/>
                    </a:lnTo>
                    <a:lnTo>
                      <a:pt x="2336" y="2850"/>
                    </a:lnTo>
                    <a:lnTo>
                      <a:pt x="2332" y="2850"/>
                    </a:lnTo>
                    <a:lnTo>
                      <a:pt x="2330" y="2850"/>
                    </a:lnTo>
                    <a:lnTo>
                      <a:pt x="2324" y="2854"/>
                    </a:lnTo>
                    <a:lnTo>
                      <a:pt x="2320" y="2854"/>
                    </a:lnTo>
                    <a:lnTo>
                      <a:pt x="2316" y="2850"/>
                    </a:lnTo>
                    <a:lnTo>
                      <a:pt x="2316" y="2850"/>
                    </a:lnTo>
                    <a:lnTo>
                      <a:pt x="2312" y="2846"/>
                    </a:lnTo>
                    <a:lnTo>
                      <a:pt x="2310" y="2842"/>
                    </a:lnTo>
                    <a:lnTo>
                      <a:pt x="2310" y="2832"/>
                    </a:lnTo>
                    <a:lnTo>
                      <a:pt x="2310" y="2826"/>
                    </a:lnTo>
                    <a:lnTo>
                      <a:pt x="2310" y="2820"/>
                    </a:lnTo>
                    <a:lnTo>
                      <a:pt x="2306" y="2810"/>
                    </a:lnTo>
                    <a:lnTo>
                      <a:pt x="2300" y="2798"/>
                    </a:lnTo>
                    <a:lnTo>
                      <a:pt x="2300" y="2798"/>
                    </a:lnTo>
                    <a:lnTo>
                      <a:pt x="2290" y="2776"/>
                    </a:lnTo>
                    <a:lnTo>
                      <a:pt x="2286" y="2762"/>
                    </a:lnTo>
                    <a:lnTo>
                      <a:pt x="2282" y="2748"/>
                    </a:lnTo>
                    <a:lnTo>
                      <a:pt x="2276" y="2730"/>
                    </a:lnTo>
                    <a:lnTo>
                      <a:pt x="2276" y="2730"/>
                    </a:lnTo>
                    <a:lnTo>
                      <a:pt x="2270" y="2718"/>
                    </a:lnTo>
                    <a:lnTo>
                      <a:pt x="2264" y="2708"/>
                    </a:lnTo>
                    <a:lnTo>
                      <a:pt x="2250" y="2690"/>
                    </a:lnTo>
                    <a:lnTo>
                      <a:pt x="2236" y="2672"/>
                    </a:lnTo>
                    <a:lnTo>
                      <a:pt x="2230" y="2662"/>
                    </a:lnTo>
                    <a:lnTo>
                      <a:pt x="2224" y="2648"/>
                    </a:lnTo>
                    <a:lnTo>
                      <a:pt x="2224" y="2648"/>
                    </a:lnTo>
                    <a:lnTo>
                      <a:pt x="2220" y="2636"/>
                    </a:lnTo>
                    <a:lnTo>
                      <a:pt x="2214" y="2624"/>
                    </a:lnTo>
                    <a:lnTo>
                      <a:pt x="2198" y="2604"/>
                    </a:lnTo>
                    <a:lnTo>
                      <a:pt x="2182" y="2584"/>
                    </a:lnTo>
                    <a:lnTo>
                      <a:pt x="2168" y="2564"/>
                    </a:lnTo>
                    <a:lnTo>
                      <a:pt x="2168" y="2564"/>
                    </a:lnTo>
                    <a:lnTo>
                      <a:pt x="2160" y="2550"/>
                    </a:lnTo>
                    <a:lnTo>
                      <a:pt x="2154" y="2534"/>
                    </a:lnTo>
                    <a:lnTo>
                      <a:pt x="2148" y="2516"/>
                    </a:lnTo>
                    <a:lnTo>
                      <a:pt x="2144" y="2498"/>
                    </a:lnTo>
                    <a:lnTo>
                      <a:pt x="2142" y="2482"/>
                    </a:lnTo>
                    <a:lnTo>
                      <a:pt x="2142" y="2470"/>
                    </a:lnTo>
                    <a:lnTo>
                      <a:pt x="2144" y="2466"/>
                    </a:lnTo>
                    <a:lnTo>
                      <a:pt x="2146" y="2464"/>
                    </a:lnTo>
                    <a:lnTo>
                      <a:pt x="2148" y="2464"/>
                    </a:lnTo>
                    <a:lnTo>
                      <a:pt x="2154" y="2466"/>
                    </a:lnTo>
                    <a:lnTo>
                      <a:pt x="2154" y="2466"/>
                    </a:lnTo>
                    <a:lnTo>
                      <a:pt x="2168" y="2474"/>
                    </a:lnTo>
                    <a:lnTo>
                      <a:pt x="2172" y="2476"/>
                    </a:lnTo>
                    <a:lnTo>
                      <a:pt x="2178" y="2474"/>
                    </a:lnTo>
                    <a:lnTo>
                      <a:pt x="2186" y="2478"/>
                    </a:lnTo>
                    <a:lnTo>
                      <a:pt x="2186" y="2478"/>
                    </a:lnTo>
                    <a:lnTo>
                      <a:pt x="2198" y="2484"/>
                    </a:lnTo>
                    <a:lnTo>
                      <a:pt x="2202" y="2488"/>
                    </a:lnTo>
                    <a:lnTo>
                      <a:pt x="2206" y="2492"/>
                    </a:lnTo>
                    <a:lnTo>
                      <a:pt x="2214" y="2508"/>
                    </a:lnTo>
                    <a:lnTo>
                      <a:pt x="2222" y="2536"/>
                    </a:lnTo>
                    <a:lnTo>
                      <a:pt x="2222" y="2536"/>
                    </a:lnTo>
                    <a:lnTo>
                      <a:pt x="2228" y="2556"/>
                    </a:lnTo>
                    <a:lnTo>
                      <a:pt x="2236" y="2574"/>
                    </a:lnTo>
                    <a:lnTo>
                      <a:pt x="2244" y="2594"/>
                    </a:lnTo>
                    <a:lnTo>
                      <a:pt x="2254" y="2612"/>
                    </a:lnTo>
                    <a:lnTo>
                      <a:pt x="2264" y="2628"/>
                    </a:lnTo>
                    <a:lnTo>
                      <a:pt x="2276" y="2642"/>
                    </a:lnTo>
                    <a:lnTo>
                      <a:pt x="2288" y="2654"/>
                    </a:lnTo>
                    <a:lnTo>
                      <a:pt x="2300" y="2664"/>
                    </a:lnTo>
                    <a:lnTo>
                      <a:pt x="2300" y="2664"/>
                    </a:lnTo>
                    <a:lnTo>
                      <a:pt x="2308" y="2672"/>
                    </a:lnTo>
                    <a:lnTo>
                      <a:pt x="2314" y="2678"/>
                    </a:lnTo>
                    <a:lnTo>
                      <a:pt x="2320" y="2694"/>
                    </a:lnTo>
                    <a:lnTo>
                      <a:pt x="2324" y="2700"/>
                    </a:lnTo>
                    <a:lnTo>
                      <a:pt x="2328" y="2706"/>
                    </a:lnTo>
                    <a:lnTo>
                      <a:pt x="2338" y="2714"/>
                    </a:lnTo>
                    <a:lnTo>
                      <a:pt x="2352" y="2722"/>
                    </a:lnTo>
                    <a:lnTo>
                      <a:pt x="2352" y="2722"/>
                    </a:lnTo>
                    <a:lnTo>
                      <a:pt x="2360" y="2724"/>
                    </a:lnTo>
                    <a:lnTo>
                      <a:pt x="2364" y="2728"/>
                    </a:lnTo>
                    <a:lnTo>
                      <a:pt x="2368" y="2732"/>
                    </a:lnTo>
                    <a:lnTo>
                      <a:pt x="2370" y="2736"/>
                    </a:lnTo>
                    <a:lnTo>
                      <a:pt x="2368" y="2746"/>
                    </a:lnTo>
                    <a:lnTo>
                      <a:pt x="2366" y="2754"/>
                    </a:lnTo>
                    <a:lnTo>
                      <a:pt x="2364" y="2764"/>
                    </a:lnTo>
                    <a:lnTo>
                      <a:pt x="2362" y="2772"/>
                    </a:lnTo>
                    <a:lnTo>
                      <a:pt x="2364" y="2776"/>
                    </a:lnTo>
                    <a:lnTo>
                      <a:pt x="2368" y="2782"/>
                    </a:lnTo>
                    <a:lnTo>
                      <a:pt x="2372" y="2786"/>
                    </a:lnTo>
                    <a:lnTo>
                      <a:pt x="2380" y="2790"/>
                    </a:lnTo>
                    <a:lnTo>
                      <a:pt x="2380" y="2790"/>
                    </a:lnTo>
                    <a:lnTo>
                      <a:pt x="2394" y="2798"/>
                    </a:lnTo>
                    <a:lnTo>
                      <a:pt x="2402" y="2804"/>
                    </a:lnTo>
                    <a:lnTo>
                      <a:pt x="2408" y="2810"/>
                    </a:lnTo>
                    <a:lnTo>
                      <a:pt x="2410" y="2816"/>
                    </a:lnTo>
                    <a:lnTo>
                      <a:pt x="2422" y="2834"/>
                    </a:lnTo>
                    <a:lnTo>
                      <a:pt x="2432" y="2848"/>
                    </a:lnTo>
                    <a:lnTo>
                      <a:pt x="2450" y="2864"/>
                    </a:lnTo>
                    <a:lnTo>
                      <a:pt x="2450" y="2864"/>
                    </a:lnTo>
                    <a:lnTo>
                      <a:pt x="2476" y="2890"/>
                    </a:lnTo>
                    <a:lnTo>
                      <a:pt x="2494" y="2912"/>
                    </a:lnTo>
                    <a:lnTo>
                      <a:pt x="2504" y="2928"/>
                    </a:lnTo>
                    <a:lnTo>
                      <a:pt x="2512" y="2942"/>
                    </a:lnTo>
                    <a:lnTo>
                      <a:pt x="2516" y="2954"/>
                    </a:lnTo>
                    <a:lnTo>
                      <a:pt x="2518" y="2964"/>
                    </a:lnTo>
                    <a:lnTo>
                      <a:pt x="2522" y="2976"/>
                    </a:lnTo>
                    <a:lnTo>
                      <a:pt x="2526" y="2988"/>
                    </a:lnTo>
                    <a:lnTo>
                      <a:pt x="2526" y="2988"/>
                    </a:lnTo>
                    <a:lnTo>
                      <a:pt x="2530" y="2998"/>
                    </a:lnTo>
                    <a:lnTo>
                      <a:pt x="2530" y="3010"/>
                    </a:lnTo>
                    <a:lnTo>
                      <a:pt x="2528" y="3020"/>
                    </a:lnTo>
                    <a:lnTo>
                      <a:pt x="2524" y="3028"/>
                    </a:lnTo>
                    <a:lnTo>
                      <a:pt x="2518" y="3038"/>
                    </a:lnTo>
                    <a:lnTo>
                      <a:pt x="2516" y="3050"/>
                    </a:lnTo>
                    <a:lnTo>
                      <a:pt x="2516" y="3060"/>
                    </a:lnTo>
                    <a:lnTo>
                      <a:pt x="2520" y="3072"/>
                    </a:lnTo>
                    <a:lnTo>
                      <a:pt x="2520" y="3072"/>
                    </a:lnTo>
                    <a:lnTo>
                      <a:pt x="2528" y="3084"/>
                    </a:lnTo>
                    <a:lnTo>
                      <a:pt x="2534" y="3094"/>
                    </a:lnTo>
                    <a:lnTo>
                      <a:pt x="2550" y="3106"/>
                    </a:lnTo>
                    <a:lnTo>
                      <a:pt x="2570" y="3120"/>
                    </a:lnTo>
                    <a:lnTo>
                      <a:pt x="2580" y="3130"/>
                    </a:lnTo>
                    <a:lnTo>
                      <a:pt x="2594" y="3140"/>
                    </a:lnTo>
                    <a:lnTo>
                      <a:pt x="2594" y="3140"/>
                    </a:lnTo>
                    <a:lnTo>
                      <a:pt x="2606" y="3152"/>
                    </a:lnTo>
                    <a:lnTo>
                      <a:pt x="2618" y="3158"/>
                    </a:lnTo>
                    <a:lnTo>
                      <a:pt x="2628" y="3162"/>
                    </a:lnTo>
                    <a:lnTo>
                      <a:pt x="2638" y="3164"/>
                    </a:lnTo>
                    <a:lnTo>
                      <a:pt x="2648" y="3168"/>
                    </a:lnTo>
                    <a:lnTo>
                      <a:pt x="2658" y="3170"/>
                    </a:lnTo>
                    <a:lnTo>
                      <a:pt x="2668" y="3176"/>
                    </a:lnTo>
                    <a:lnTo>
                      <a:pt x="2680" y="3186"/>
                    </a:lnTo>
                    <a:lnTo>
                      <a:pt x="2680" y="3186"/>
                    </a:lnTo>
                    <a:lnTo>
                      <a:pt x="2694" y="3198"/>
                    </a:lnTo>
                    <a:lnTo>
                      <a:pt x="2714" y="3210"/>
                    </a:lnTo>
                    <a:lnTo>
                      <a:pt x="2736" y="3224"/>
                    </a:lnTo>
                    <a:lnTo>
                      <a:pt x="2762" y="3236"/>
                    </a:lnTo>
                    <a:lnTo>
                      <a:pt x="2814" y="3260"/>
                    </a:lnTo>
                    <a:lnTo>
                      <a:pt x="2862" y="3278"/>
                    </a:lnTo>
                    <a:lnTo>
                      <a:pt x="2862" y="3278"/>
                    </a:lnTo>
                    <a:lnTo>
                      <a:pt x="2880" y="3282"/>
                    </a:lnTo>
                    <a:lnTo>
                      <a:pt x="2894" y="3282"/>
                    </a:lnTo>
                    <a:lnTo>
                      <a:pt x="2906" y="3278"/>
                    </a:lnTo>
                    <a:lnTo>
                      <a:pt x="2916" y="3272"/>
                    </a:lnTo>
                    <a:lnTo>
                      <a:pt x="2926" y="3266"/>
                    </a:lnTo>
                    <a:lnTo>
                      <a:pt x="2938" y="3260"/>
                    </a:lnTo>
                    <a:lnTo>
                      <a:pt x="2950" y="3258"/>
                    </a:lnTo>
                    <a:lnTo>
                      <a:pt x="2968" y="3260"/>
                    </a:lnTo>
                    <a:lnTo>
                      <a:pt x="2968" y="3260"/>
                    </a:lnTo>
                    <a:lnTo>
                      <a:pt x="2984" y="3264"/>
                    </a:lnTo>
                    <a:lnTo>
                      <a:pt x="2996" y="3272"/>
                    </a:lnTo>
                    <a:lnTo>
                      <a:pt x="3006" y="3280"/>
                    </a:lnTo>
                    <a:lnTo>
                      <a:pt x="3014" y="3290"/>
                    </a:lnTo>
                    <a:lnTo>
                      <a:pt x="3032" y="3314"/>
                    </a:lnTo>
                    <a:lnTo>
                      <a:pt x="3042" y="3326"/>
                    </a:lnTo>
                    <a:lnTo>
                      <a:pt x="3054" y="3338"/>
                    </a:lnTo>
                    <a:lnTo>
                      <a:pt x="3054" y="3338"/>
                    </a:lnTo>
                    <a:lnTo>
                      <a:pt x="3072" y="3356"/>
                    </a:lnTo>
                    <a:lnTo>
                      <a:pt x="3086" y="3364"/>
                    </a:lnTo>
                    <a:lnTo>
                      <a:pt x="3094" y="3368"/>
                    </a:lnTo>
                    <a:lnTo>
                      <a:pt x="3104" y="3368"/>
                    </a:lnTo>
                    <a:lnTo>
                      <a:pt x="3104" y="3368"/>
                    </a:lnTo>
                    <a:lnTo>
                      <a:pt x="3116" y="3368"/>
                    </a:lnTo>
                    <a:lnTo>
                      <a:pt x="3124" y="3370"/>
                    </a:lnTo>
                    <a:lnTo>
                      <a:pt x="3140" y="3376"/>
                    </a:lnTo>
                    <a:lnTo>
                      <a:pt x="3140" y="3376"/>
                    </a:lnTo>
                    <a:lnTo>
                      <a:pt x="3146" y="3382"/>
                    </a:lnTo>
                    <a:lnTo>
                      <a:pt x="3150" y="3386"/>
                    </a:lnTo>
                    <a:lnTo>
                      <a:pt x="3152" y="3388"/>
                    </a:lnTo>
                    <a:lnTo>
                      <a:pt x="3160" y="3390"/>
                    </a:lnTo>
                    <a:lnTo>
                      <a:pt x="3160" y="3390"/>
                    </a:lnTo>
                    <a:lnTo>
                      <a:pt x="3174" y="3392"/>
                    </a:lnTo>
                    <a:lnTo>
                      <a:pt x="3186" y="3398"/>
                    </a:lnTo>
                    <a:lnTo>
                      <a:pt x="3196" y="3404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4"/>
                    </a:lnTo>
                    <a:lnTo>
                      <a:pt x="3202" y="3402"/>
                    </a:lnTo>
                    <a:lnTo>
                      <a:pt x="3202" y="3400"/>
                    </a:lnTo>
                    <a:lnTo>
                      <a:pt x="3210" y="3404"/>
                    </a:lnTo>
                    <a:lnTo>
                      <a:pt x="3210" y="3404"/>
                    </a:lnTo>
                    <a:lnTo>
                      <a:pt x="3212" y="3406"/>
                    </a:lnTo>
                    <a:lnTo>
                      <a:pt x="3218" y="3406"/>
                    </a:lnTo>
                    <a:lnTo>
                      <a:pt x="3226" y="3406"/>
                    </a:lnTo>
                    <a:lnTo>
                      <a:pt x="3234" y="3404"/>
                    </a:lnTo>
                    <a:lnTo>
                      <a:pt x="3236" y="3402"/>
                    </a:lnTo>
                    <a:lnTo>
                      <a:pt x="3234" y="3400"/>
                    </a:lnTo>
                    <a:lnTo>
                      <a:pt x="3234" y="3400"/>
                    </a:lnTo>
                    <a:lnTo>
                      <a:pt x="3230" y="3398"/>
                    </a:lnTo>
                    <a:lnTo>
                      <a:pt x="3230" y="3396"/>
                    </a:lnTo>
                    <a:lnTo>
                      <a:pt x="3230" y="3394"/>
                    </a:lnTo>
                    <a:lnTo>
                      <a:pt x="3232" y="3394"/>
                    </a:lnTo>
                    <a:lnTo>
                      <a:pt x="3232" y="3394"/>
                    </a:lnTo>
                    <a:lnTo>
                      <a:pt x="3236" y="3396"/>
                    </a:lnTo>
                    <a:lnTo>
                      <a:pt x="3238" y="3396"/>
                    </a:lnTo>
                    <a:lnTo>
                      <a:pt x="3240" y="3392"/>
                    </a:lnTo>
                    <a:lnTo>
                      <a:pt x="3240" y="3392"/>
                    </a:lnTo>
                    <a:lnTo>
                      <a:pt x="3242" y="3398"/>
                    </a:lnTo>
                    <a:lnTo>
                      <a:pt x="3242" y="3398"/>
                    </a:lnTo>
                    <a:lnTo>
                      <a:pt x="3248" y="3406"/>
                    </a:lnTo>
                    <a:lnTo>
                      <a:pt x="3252" y="3410"/>
                    </a:lnTo>
                    <a:lnTo>
                      <a:pt x="3254" y="3412"/>
                    </a:lnTo>
                    <a:lnTo>
                      <a:pt x="3252" y="3416"/>
                    </a:lnTo>
                    <a:lnTo>
                      <a:pt x="3252" y="3416"/>
                    </a:lnTo>
                    <a:lnTo>
                      <a:pt x="3250" y="3418"/>
                    </a:lnTo>
                    <a:lnTo>
                      <a:pt x="3250" y="3418"/>
                    </a:lnTo>
                    <a:lnTo>
                      <a:pt x="3246" y="3416"/>
                    </a:lnTo>
                    <a:lnTo>
                      <a:pt x="3244" y="3412"/>
                    </a:lnTo>
                    <a:lnTo>
                      <a:pt x="3242" y="3412"/>
                    </a:lnTo>
                    <a:lnTo>
                      <a:pt x="3240" y="3414"/>
                    </a:lnTo>
                    <a:lnTo>
                      <a:pt x="3240" y="3414"/>
                    </a:lnTo>
                    <a:lnTo>
                      <a:pt x="3238" y="3418"/>
                    </a:lnTo>
                    <a:lnTo>
                      <a:pt x="3242" y="3422"/>
                    </a:lnTo>
                    <a:lnTo>
                      <a:pt x="3246" y="3426"/>
                    </a:lnTo>
                    <a:lnTo>
                      <a:pt x="3252" y="3434"/>
                    </a:lnTo>
                    <a:lnTo>
                      <a:pt x="3252" y="3434"/>
                    </a:lnTo>
                    <a:lnTo>
                      <a:pt x="3258" y="3442"/>
                    </a:lnTo>
                    <a:lnTo>
                      <a:pt x="3266" y="3448"/>
                    </a:lnTo>
                    <a:lnTo>
                      <a:pt x="3274" y="3454"/>
                    </a:lnTo>
                    <a:lnTo>
                      <a:pt x="3278" y="3460"/>
                    </a:lnTo>
                    <a:lnTo>
                      <a:pt x="3282" y="3466"/>
                    </a:lnTo>
                    <a:lnTo>
                      <a:pt x="3282" y="3466"/>
                    </a:lnTo>
                    <a:lnTo>
                      <a:pt x="3288" y="3478"/>
                    </a:lnTo>
                    <a:lnTo>
                      <a:pt x="3294" y="3486"/>
                    </a:lnTo>
                    <a:lnTo>
                      <a:pt x="3304" y="3494"/>
                    </a:lnTo>
                    <a:lnTo>
                      <a:pt x="3316" y="3506"/>
                    </a:lnTo>
                    <a:lnTo>
                      <a:pt x="3316" y="3506"/>
                    </a:lnTo>
                    <a:lnTo>
                      <a:pt x="3318" y="3510"/>
                    </a:lnTo>
                    <a:lnTo>
                      <a:pt x="3318" y="3512"/>
                    </a:lnTo>
                    <a:lnTo>
                      <a:pt x="3314" y="3514"/>
                    </a:lnTo>
                    <a:lnTo>
                      <a:pt x="3310" y="3518"/>
                    </a:lnTo>
                    <a:lnTo>
                      <a:pt x="3310" y="3518"/>
                    </a:lnTo>
                    <a:lnTo>
                      <a:pt x="3310" y="3520"/>
                    </a:lnTo>
                    <a:lnTo>
                      <a:pt x="3310" y="3520"/>
                    </a:lnTo>
                    <a:lnTo>
                      <a:pt x="3316" y="3522"/>
                    </a:lnTo>
                    <a:lnTo>
                      <a:pt x="3318" y="3522"/>
                    </a:lnTo>
                    <a:lnTo>
                      <a:pt x="3318" y="3522"/>
                    </a:lnTo>
                    <a:lnTo>
                      <a:pt x="3318" y="3528"/>
                    </a:lnTo>
                    <a:lnTo>
                      <a:pt x="3318" y="3528"/>
                    </a:lnTo>
                    <a:lnTo>
                      <a:pt x="3318" y="3534"/>
                    </a:lnTo>
                    <a:lnTo>
                      <a:pt x="3316" y="3534"/>
                    </a:lnTo>
                    <a:lnTo>
                      <a:pt x="3314" y="3536"/>
                    </a:lnTo>
                    <a:lnTo>
                      <a:pt x="3312" y="3540"/>
                    </a:lnTo>
                    <a:lnTo>
                      <a:pt x="3312" y="3540"/>
                    </a:lnTo>
                    <a:lnTo>
                      <a:pt x="3312" y="3550"/>
                    </a:lnTo>
                    <a:lnTo>
                      <a:pt x="3314" y="3558"/>
                    </a:lnTo>
                    <a:lnTo>
                      <a:pt x="3318" y="3564"/>
                    </a:lnTo>
                    <a:lnTo>
                      <a:pt x="3322" y="3566"/>
                    </a:lnTo>
                    <a:lnTo>
                      <a:pt x="3322" y="3566"/>
                    </a:lnTo>
                    <a:lnTo>
                      <a:pt x="3330" y="3570"/>
                    </a:lnTo>
                    <a:lnTo>
                      <a:pt x="3334" y="3574"/>
                    </a:lnTo>
                    <a:lnTo>
                      <a:pt x="3338" y="3578"/>
                    </a:lnTo>
                    <a:lnTo>
                      <a:pt x="3338" y="3578"/>
                    </a:lnTo>
                    <a:lnTo>
                      <a:pt x="3340" y="3582"/>
                    </a:lnTo>
                    <a:lnTo>
                      <a:pt x="3342" y="3580"/>
                    </a:lnTo>
                    <a:lnTo>
                      <a:pt x="3348" y="3574"/>
                    </a:lnTo>
                    <a:lnTo>
                      <a:pt x="3348" y="3574"/>
                    </a:lnTo>
                    <a:lnTo>
                      <a:pt x="3350" y="3572"/>
                    </a:lnTo>
                    <a:lnTo>
                      <a:pt x="3350" y="3570"/>
                    </a:lnTo>
                    <a:lnTo>
                      <a:pt x="3348" y="3566"/>
                    </a:lnTo>
                    <a:lnTo>
                      <a:pt x="3338" y="3558"/>
                    </a:lnTo>
                    <a:lnTo>
                      <a:pt x="3338" y="3558"/>
                    </a:lnTo>
                    <a:lnTo>
                      <a:pt x="3336" y="3554"/>
                    </a:lnTo>
                    <a:lnTo>
                      <a:pt x="3336" y="3552"/>
                    </a:lnTo>
                    <a:lnTo>
                      <a:pt x="3336" y="3550"/>
                    </a:lnTo>
                    <a:lnTo>
                      <a:pt x="3338" y="3552"/>
                    </a:lnTo>
                    <a:lnTo>
                      <a:pt x="3338" y="3552"/>
                    </a:lnTo>
                    <a:lnTo>
                      <a:pt x="3342" y="3554"/>
                    </a:lnTo>
                    <a:lnTo>
                      <a:pt x="3348" y="3558"/>
                    </a:lnTo>
                    <a:lnTo>
                      <a:pt x="3354" y="3562"/>
                    </a:lnTo>
                    <a:lnTo>
                      <a:pt x="3358" y="3566"/>
                    </a:lnTo>
                    <a:lnTo>
                      <a:pt x="3358" y="3566"/>
                    </a:lnTo>
                    <a:lnTo>
                      <a:pt x="3358" y="3576"/>
                    </a:lnTo>
                    <a:lnTo>
                      <a:pt x="3360" y="3578"/>
                    </a:lnTo>
                    <a:lnTo>
                      <a:pt x="3362" y="3582"/>
                    </a:lnTo>
                    <a:lnTo>
                      <a:pt x="3362" y="3582"/>
                    </a:lnTo>
                    <a:lnTo>
                      <a:pt x="3366" y="3584"/>
                    </a:lnTo>
                    <a:lnTo>
                      <a:pt x="3368" y="3586"/>
                    </a:lnTo>
                    <a:lnTo>
                      <a:pt x="3374" y="3586"/>
                    </a:lnTo>
                    <a:lnTo>
                      <a:pt x="3384" y="3592"/>
                    </a:lnTo>
                    <a:lnTo>
                      <a:pt x="3384" y="3592"/>
                    </a:lnTo>
                    <a:lnTo>
                      <a:pt x="3398" y="3604"/>
                    </a:lnTo>
                    <a:lnTo>
                      <a:pt x="3402" y="3608"/>
                    </a:lnTo>
                    <a:lnTo>
                      <a:pt x="3402" y="3612"/>
                    </a:lnTo>
                    <a:lnTo>
                      <a:pt x="3402" y="3612"/>
                    </a:lnTo>
                    <a:lnTo>
                      <a:pt x="3402" y="3620"/>
                    </a:lnTo>
                    <a:lnTo>
                      <a:pt x="3400" y="3624"/>
                    </a:lnTo>
                    <a:lnTo>
                      <a:pt x="3398" y="3626"/>
                    </a:lnTo>
                    <a:lnTo>
                      <a:pt x="3398" y="3626"/>
                    </a:lnTo>
                    <a:lnTo>
                      <a:pt x="3398" y="3628"/>
                    </a:lnTo>
                    <a:lnTo>
                      <a:pt x="3396" y="3630"/>
                    </a:lnTo>
                    <a:lnTo>
                      <a:pt x="3400" y="3634"/>
                    </a:lnTo>
                    <a:lnTo>
                      <a:pt x="3404" y="3636"/>
                    </a:lnTo>
                    <a:lnTo>
                      <a:pt x="3408" y="3638"/>
                    </a:lnTo>
                    <a:lnTo>
                      <a:pt x="3408" y="3638"/>
                    </a:lnTo>
                    <a:lnTo>
                      <a:pt x="3410" y="3640"/>
                    </a:lnTo>
                    <a:lnTo>
                      <a:pt x="3414" y="3640"/>
                    </a:lnTo>
                    <a:lnTo>
                      <a:pt x="3414" y="3642"/>
                    </a:lnTo>
                    <a:lnTo>
                      <a:pt x="3416" y="3640"/>
                    </a:lnTo>
                    <a:lnTo>
                      <a:pt x="3416" y="3640"/>
                    </a:lnTo>
                    <a:lnTo>
                      <a:pt x="3416" y="3636"/>
                    </a:lnTo>
                    <a:lnTo>
                      <a:pt x="3414" y="3634"/>
                    </a:lnTo>
                    <a:lnTo>
                      <a:pt x="3410" y="3630"/>
                    </a:lnTo>
                    <a:lnTo>
                      <a:pt x="3406" y="3626"/>
                    </a:lnTo>
                    <a:lnTo>
                      <a:pt x="3408" y="3626"/>
                    </a:lnTo>
                    <a:lnTo>
                      <a:pt x="3410" y="3624"/>
                    </a:lnTo>
                    <a:lnTo>
                      <a:pt x="3410" y="3624"/>
                    </a:lnTo>
                    <a:lnTo>
                      <a:pt x="3414" y="3622"/>
                    </a:lnTo>
                    <a:lnTo>
                      <a:pt x="3414" y="3624"/>
                    </a:lnTo>
                    <a:lnTo>
                      <a:pt x="3416" y="3628"/>
                    </a:lnTo>
                    <a:lnTo>
                      <a:pt x="3418" y="3630"/>
                    </a:lnTo>
                    <a:lnTo>
                      <a:pt x="3418" y="3630"/>
                    </a:lnTo>
                    <a:lnTo>
                      <a:pt x="3420" y="3630"/>
                    </a:lnTo>
                    <a:lnTo>
                      <a:pt x="3422" y="3632"/>
                    </a:lnTo>
                    <a:lnTo>
                      <a:pt x="3422" y="3636"/>
                    </a:lnTo>
                    <a:lnTo>
                      <a:pt x="3422" y="3642"/>
                    </a:lnTo>
                    <a:lnTo>
                      <a:pt x="3422" y="3646"/>
                    </a:lnTo>
                    <a:lnTo>
                      <a:pt x="3422" y="3646"/>
                    </a:lnTo>
                    <a:lnTo>
                      <a:pt x="3428" y="3654"/>
                    </a:lnTo>
                    <a:lnTo>
                      <a:pt x="3430" y="3656"/>
                    </a:lnTo>
                    <a:lnTo>
                      <a:pt x="3432" y="3656"/>
                    </a:lnTo>
                    <a:lnTo>
                      <a:pt x="3432" y="3656"/>
                    </a:lnTo>
                    <a:lnTo>
                      <a:pt x="3434" y="3648"/>
                    </a:lnTo>
                    <a:lnTo>
                      <a:pt x="3436" y="3646"/>
                    </a:lnTo>
                    <a:lnTo>
                      <a:pt x="3440" y="3644"/>
                    </a:lnTo>
                    <a:lnTo>
                      <a:pt x="3440" y="3644"/>
                    </a:lnTo>
                    <a:lnTo>
                      <a:pt x="3452" y="3646"/>
                    </a:lnTo>
                    <a:lnTo>
                      <a:pt x="3464" y="3650"/>
                    </a:lnTo>
                    <a:lnTo>
                      <a:pt x="3472" y="3652"/>
                    </a:lnTo>
                    <a:lnTo>
                      <a:pt x="3476" y="3654"/>
                    </a:lnTo>
                    <a:lnTo>
                      <a:pt x="3476" y="3654"/>
                    </a:lnTo>
                    <a:lnTo>
                      <a:pt x="3478" y="3652"/>
                    </a:lnTo>
                    <a:lnTo>
                      <a:pt x="3480" y="3654"/>
                    </a:lnTo>
                    <a:lnTo>
                      <a:pt x="3482" y="3662"/>
                    </a:lnTo>
                    <a:lnTo>
                      <a:pt x="3482" y="3662"/>
                    </a:lnTo>
                    <a:lnTo>
                      <a:pt x="3484" y="3666"/>
                    </a:lnTo>
                    <a:lnTo>
                      <a:pt x="3484" y="3670"/>
                    </a:lnTo>
                    <a:lnTo>
                      <a:pt x="3486" y="3672"/>
                    </a:lnTo>
                    <a:lnTo>
                      <a:pt x="3490" y="3676"/>
                    </a:lnTo>
                    <a:lnTo>
                      <a:pt x="3490" y="3676"/>
                    </a:lnTo>
                    <a:lnTo>
                      <a:pt x="3496" y="3678"/>
                    </a:lnTo>
                    <a:lnTo>
                      <a:pt x="3498" y="3678"/>
                    </a:lnTo>
                    <a:lnTo>
                      <a:pt x="3498" y="3674"/>
                    </a:lnTo>
                    <a:lnTo>
                      <a:pt x="3498" y="3674"/>
                    </a:lnTo>
                    <a:lnTo>
                      <a:pt x="3500" y="3668"/>
                    </a:lnTo>
                    <a:lnTo>
                      <a:pt x="3502" y="3666"/>
                    </a:lnTo>
                    <a:lnTo>
                      <a:pt x="3504" y="3666"/>
                    </a:lnTo>
                    <a:lnTo>
                      <a:pt x="3504" y="3668"/>
                    </a:lnTo>
                    <a:lnTo>
                      <a:pt x="3504" y="3668"/>
                    </a:lnTo>
                    <a:lnTo>
                      <a:pt x="3504" y="3672"/>
                    </a:lnTo>
                    <a:lnTo>
                      <a:pt x="3508" y="3680"/>
                    </a:lnTo>
                    <a:lnTo>
                      <a:pt x="3510" y="3686"/>
                    </a:lnTo>
                    <a:lnTo>
                      <a:pt x="3510" y="3694"/>
                    </a:lnTo>
                    <a:lnTo>
                      <a:pt x="3510" y="3694"/>
                    </a:lnTo>
                    <a:lnTo>
                      <a:pt x="3510" y="3696"/>
                    </a:lnTo>
                    <a:lnTo>
                      <a:pt x="3510" y="3698"/>
                    </a:lnTo>
                    <a:lnTo>
                      <a:pt x="3516" y="3698"/>
                    </a:lnTo>
                    <a:lnTo>
                      <a:pt x="3528" y="3696"/>
                    </a:lnTo>
                    <a:lnTo>
                      <a:pt x="3528" y="3696"/>
                    </a:lnTo>
                    <a:lnTo>
                      <a:pt x="3530" y="3696"/>
                    </a:lnTo>
                    <a:lnTo>
                      <a:pt x="3532" y="3696"/>
                    </a:lnTo>
                    <a:lnTo>
                      <a:pt x="3532" y="3692"/>
                    </a:lnTo>
                    <a:lnTo>
                      <a:pt x="3532" y="3690"/>
                    </a:lnTo>
                    <a:lnTo>
                      <a:pt x="3538" y="3688"/>
                    </a:lnTo>
                    <a:lnTo>
                      <a:pt x="3538" y="3688"/>
                    </a:lnTo>
                    <a:lnTo>
                      <a:pt x="3544" y="3688"/>
                    </a:lnTo>
                    <a:lnTo>
                      <a:pt x="3546" y="3686"/>
                    </a:lnTo>
                    <a:lnTo>
                      <a:pt x="3548" y="3684"/>
                    </a:lnTo>
                    <a:lnTo>
                      <a:pt x="3546" y="3680"/>
                    </a:lnTo>
                    <a:lnTo>
                      <a:pt x="3542" y="3672"/>
                    </a:lnTo>
                    <a:lnTo>
                      <a:pt x="3542" y="3672"/>
                    </a:lnTo>
                    <a:lnTo>
                      <a:pt x="3536" y="3664"/>
                    </a:lnTo>
                    <a:lnTo>
                      <a:pt x="3534" y="3660"/>
                    </a:lnTo>
                    <a:lnTo>
                      <a:pt x="3534" y="3658"/>
                    </a:lnTo>
                    <a:lnTo>
                      <a:pt x="3532" y="3658"/>
                    </a:lnTo>
                    <a:lnTo>
                      <a:pt x="3532" y="3658"/>
                    </a:lnTo>
                    <a:lnTo>
                      <a:pt x="3530" y="3658"/>
                    </a:lnTo>
                    <a:lnTo>
                      <a:pt x="3528" y="3656"/>
                    </a:lnTo>
                    <a:lnTo>
                      <a:pt x="3526" y="3652"/>
                    </a:lnTo>
                    <a:lnTo>
                      <a:pt x="3528" y="3648"/>
                    </a:lnTo>
                    <a:lnTo>
                      <a:pt x="3530" y="3646"/>
                    </a:lnTo>
                    <a:lnTo>
                      <a:pt x="3532" y="3646"/>
                    </a:lnTo>
                    <a:lnTo>
                      <a:pt x="3532" y="3646"/>
                    </a:lnTo>
                    <a:lnTo>
                      <a:pt x="3538" y="3644"/>
                    </a:lnTo>
                    <a:lnTo>
                      <a:pt x="3544" y="3642"/>
                    </a:lnTo>
                    <a:lnTo>
                      <a:pt x="3550" y="3636"/>
                    </a:lnTo>
                    <a:lnTo>
                      <a:pt x="3556" y="3628"/>
                    </a:lnTo>
                    <a:lnTo>
                      <a:pt x="3556" y="3628"/>
                    </a:lnTo>
                    <a:lnTo>
                      <a:pt x="3558" y="3624"/>
                    </a:lnTo>
                    <a:lnTo>
                      <a:pt x="3558" y="3622"/>
                    </a:lnTo>
                    <a:lnTo>
                      <a:pt x="3558" y="3618"/>
                    </a:lnTo>
                    <a:lnTo>
                      <a:pt x="3562" y="3616"/>
                    </a:lnTo>
                    <a:lnTo>
                      <a:pt x="3562" y="3616"/>
                    </a:lnTo>
                    <a:lnTo>
                      <a:pt x="3566" y="3614"/>
                    </a:lnTo>
                    <a:lnTo>
                      <a:pt x="3568" y="3612"/>
                    </a:lnTo>
                    <a:lnTo>
                      <a:pt x="3570" y="3610"/>
                    </a:lnTo>
                    <a:lnTo>
                      <a:pt x="3576" y="3610"/>
                    </a:lnTo>
                    <a:lnTo>
                      <a:pt x="3576" y="3610"/>
                    </a:lnTo>
                    <a:lnTo>
                      <a:pt x="3586" y="3612"/>
                    </a:lnTo>
                    <a:lnTo>
                      <a:pt x="3598" y="3620"/>
                    </a:lnTo>
                    <a:lnTo>
                      <a:pt x="3606" y="3626"/>
                    </a:lnTo>
                    <a:lnTo>
                      <a:pt x="3608" y="3630"/>
                    </a:lnTo>
                    <a:lnTo>
                      <a:pt x="3608" y="3632"/>
                    </a:lnTo>
                    <a:lnTo>
                      <a:pt x="3608" y="3632"/>
                    </a:lnTo>
                    <a:lnTo>
                      <a:pt x="3606" y="3636"/>
                    </a:lnTo>
                    <a:lnTo>
                      <a:pt x="3608" y="3638"/>
                    </a:lnTo>
                    <a:lnTo>
                      <a:pt x="3610" y="3640"/>
                    </a:lnTo>
                    <a:lnTo>
                      <a:pt x="3612" y="3640"/>
                    </a:lnTo>
                    <a:lnTo>
                      <a:pt x="3612" y="3640"/>
                    </a:lnTo>
                    <a:lnTo>
                      <a:pt x="3616" y="3638"/>
                    </a:lnTo>
                    <a:lnTo>
                      <a:pt x="3616" y="3638"/>
                    </a:lnTo>
                    <a:lnTo>
                      <a:pt x="3618" y="3638"/>
                    </a:lnTo>
                    <a:lnTo>
                      <a:pt x="3620" y="3638"/>
                    </a:lnTo>
                    <a:lnTo>
                      <a:pt x="3620" y="3638"/>
                    </a:lnTo>
                    <a:lnTo>
                      <a:pt x="3622" y="3638"/>
                    </a:lnTo>
                    <a:lnTo>
                      <a:pt x="3620" y="3640"/>
                    </a:lnTo>
                    <a:lnTo>
                      <a:pt x="3618" y="3648"/>
                    </a:lnTo>
                    <a:lnTo>
                      <a:pt x="3614" y="3658"/>
                    </a:lnTo>
                    <a:lnTo>
                      <a:pt x="3612" y="3662"/>
                    </a:lnTo>
                    <a:lnTo>
                      <a:pt x="3614" y="3666"/>
                    </a:lnTo>
                    <a:lnTo>
                      <a:pt x="3614" y="3666"/>
                    </a:lnTo>
                    <a:lnTo>
                      <a:pt x="3622" y="3682"/>
                    </a:lnTo>
                    <a:lnTo>
                      <a:pt x="3626" y="3690"/>
                    </a:lnTo>
                    <a:lnTo>
                      <a:pt x="3632" y="3696"/>
                    </a:lnTo>
                    <a:lnTo>
                      <a:pt x="3632" y="3696"/>
                    </a:lnTo>
                    <a:lnTo>
                      <a:pt x="3636" y="3700"/>
                    </a:lnTo>
                    <a:lnTo>
                      <a:pt x="3638" y="3702"/>
                    </a:lnTo>
                    <a:lnTo>
                      <a:pt x="3640" y="3704"/>
                    </a:lnTo>
                    <a:lnTo>
                      <a:pt x="3640" y="3708"/>
                    </a:lnTo>
                    <a:lnTo>
                      <a:pt x="3672" y="3654"/>
                    </a:lnTo>
                    <a:lnTo>
                      <a:pt x="3672" y="3654"/>
                    </a:lnTo>
                    <a:lnTo>
                      <a:pt x="3654" y="3626"/>
                    </a:lnTo>
                    <a:lnTo>
                      <a:pt x="3654" y="3626"/>
                    </a:lnTo>
                    <a:close/>
                    <a:moveTo>
                      <a:pt x="3590" y="1870"/>
                    </a:moveTo>
                    <a:lnTo>
                      <a:pt x="3590" y="1870"/>
                    </a:lnTo>
                    <a:lnTo>
                      <a:pt x="3570" y="1886"/>
                    </a:lnTo>
                    <a:lnTo>
                      <a:pt x="3558" y="1894"/>
                    </a:lnTo>
                    <a:lnTo>
                      <a:pt x="3546" y="1900"/>
                    </a:lnTo>
                    <a:lnTo>
                      <a:pt x="3546" y="1900"/>
                    </a:lnTo>
                    <a:lnTo>
                      <a:pt x="3536" y="1904"/>
                    </a:lnTo>
                    <a:lnTo>
                      <a:pt x="3524" y="1910"/>
                    </a:lnTo>
                    <a:lnTo>
                      <a:pt x="3508" y="1920"/>
                    </a:lnTo>
                    <a:lnTo>
                      <a:pt x="3488" y="1932"/>
                    </a:lnTo>
                    <a:lnTo>
                      <a:pt x="3488" y="1932"/>
                    </a:lnTo>
                    <a:lnTo>
                      <a:pt x="3466" y="1938"/>
                    </a:lnTo>
                    <a:lnTo>
                      <a:pt x="3448" y="1942"/>
                    </a:lnTo>
                    <a:lnTo>
                      <a:pt x="3434" y="1942"/>
                    </a:lnTo>
                    <a:lnTo>
                      <a:pt x="3426" y="1940"/>
                    </a:lnTo>
                    <a:lnTo>
                      <a:pt x="3426" y="1940"/>
                    </a:lnTo>
                    <a:lnTo>
                      <a:pt x="3424" y="1938"/>
                    </a:lnTo>
                    <a:lnTo>
                      <a:pt x="3424" y="1938"/>
                    </a:lnTo>
                    <a:lnTo>
                      <a:pt x="3430" y="1936"/>
                    </a:lnTo>
                    <a:lnTo>
                      <a:pt x="3434" y="1936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26" y="1932"/>
                    </a:lnTo>
                    <a:lnTo>
                      <a:pt x="3418" y="1930"/>
                    </a:lnTo>
                    <a:lnTo>
                      <a:pt x="3410" y="1930"/>
                    </a:lnTo>
                    <a:lnTo>
                      <a:pt x="3408" y="1928"/>
                    </a:lnTo>
                    <a:lnTo>
                      <a:pt x="3406" y="1926"/>
                    </a:lnTo>
                    <a:lnTo>
                      <a:pt x="3406" y="1926"/>
                    </a:lnTo>
                    <a:lnTo>
                      <a:pt x="3408" y="1922"/>
                    </a:lnTo>
                    <a:lnTo>
                      <a:pt x="3410" y="1916"/>
                    </a:lnTo>
                    <a:lnTo>
                      <a:pt x="3414" y="1910"/>
                    </a:lnTo>
                    <a:lnTo>
                      <a:pt x="3416" y="1900"/>
                    </a:lnTo>
                    <a:lnTo>
                      <a:pt x="3416" y="1900"/>
                    </a:lnTo>
                    <a:lnTo>
                      <a:pt x="3420" y="1892"/>
                    </a:lnTo>
                    <a:lnTo>
                      <a:pt x="3422" y="1890"/>
                    </a:lnTo>
                    <a:lnTo>
                      <a:pt x="3426" y="1886"/>
                    </a:lnTo>
                    <a:lnTo>
                      <a:pt x="3430" y="1880"/>
                    </a:lnTo>
                    <a:lnTo>
                      <a:pt x="3430" y="1880"/>
                    </a:lnTo>
                    <a:lnTo>
                      <a:pt x="3434" y="1872"/>
                    </a:lnTo>
                    <a:lnTo>
                      <a:pt x="3436" y="1870"/>
                    </a:lnTo>
                    <a:lnTo>
                      <a:pt x="3438" y="1872"/>
                    </a:lnTo>
                    <a:lnTo>
                      <a:pt x="3440" y="1880"/>
                    </a:lnTo>
                    <a:lnTo>
                      <a:pt x="3440" y="1880"/>
                    </a:lnTo>
                    <a:lnTo>
                      <a:pt x="3446" y="1882"/>
                    </a:lnTo>
                    <a:lnTo>
                      <a:pt x="3448" y="1884"/>
                    </a:lnTo>
                    <a:lnTo>
                      <a:pt x="3450" y="1886"/>
                    </a:lnTo>
                    <a:lnTo>
                      <a:pt x="3448" y="1888"/>
                    </a:lnTo>
                    <a:lnTo>
                      <a:pt x="3442" y="1892"/>
                    </a:lnTo>
                    <a:lnTo>
                      <a:pt x="3432" y="1894"/>
                    </a:lnTo>
                    <a:lnTo>
                      <a:pt x="3432" y="1894"/>
                    </a:lnTo>
                    <a:lnTo>
                      <a:pt x="3426" y="1894"/>
                    </a:lnTo>
                    <a:lnTo>
                      <a:pt x="3424" y="1896"/>
                    </a:lnTo>
                    <a:lnTo>
                      <a:pt x="3422" y="1898"/>
                    </a:lnTo>
                    <a:lnTo>
                      <a:pt x="3422" y="1902"/>
                    </a:lnTo>
                    <a:lnTo>
                      <a:pt x="3422" y="1904"/>
                    </a:lnTo>
                    <a:lnTo>
                      <a:pt x="3424" y="1906"/>
                    </a:lnTo>
                    <a:lnTo>
                      <a:pt x="3428" y="1908"/>
                    </a:lnTo>
                    <a:lnTo>
                      <a:pt x="3432" y="1908"/>
                    </a:lnTo>
                    <a:lnTo>
                      <a:pt x="3432" y="1908"/>
                    </a:lnTo>
                    <a:lnTo>
                      <a:pt x="3438" y="1908"/>
                    </a:lnTo>
                    <a:lnTo>
                      <a:pt x="3442" y="1910"/>
                    </a:lnTo>
                    <a:lnTo>
                      <a:pt x="3444" y="1912"/>
                    </a:lnTo>
                    <a:lnTo>
                      <a:pt x="3446" y="1910"/>
                    </a:lnTo>
                    <a:lnTo>
                      <a:pt x="3446" y="1910"/>
                    </a:lnTo>
                    <a:lnTo>
                      <a:pt x="3450" y="1904"/>
                    </a:lnTo>
                    <a:lnTo>
                      <a:pt x="3456" y="1900"/>
                    </a:lnTo>
                    <a:lnTo>
                      <a:pt x="3466" y="1896"/>
                    </a:lnTo>
                    <a:lnTo>
                      <a:pt x="3466" y="1896"/>
                    </a:lnTo>
                    <a:lnTo>
                      <a:pt x="3470" y="1892"/>
                    </a:lnTo>
                    <a:lnTo>
                      <a:pt x="3474" y="1888"/>
                    </a:lnTo>
                    <a:lnTo>
                      <a:pt x="3482" y="1880"/>
                    </a:lnTo>
                    <a:lnTo>
                      <a:pt x="3488" y="1876"/>
                    </a:lnTo>
                    <a:lnTo>
                      <a:pt x="3496" y="1874"/>
                    </a:lnTo>
                    <a:lnTo>
                      <a:pt x="3504" y="1874"/>
                    </a:lnTo>
                    <a:lnTo>
                      <a:pt x="3518" y="1876"/>
                    </a:lnTo>
                    <a:lnTo>
                      <a:pt x="3518" y="1876"/>
                    </a:lnTo>
                    <a:lnTo>
                      <a:pt x="3534" y="1880"/>
                    </a:lnTo>
                    <a:lnTo>
                      <a:pt x="3538" y="1880"/>
                    </a:lnTo>
                    <a:lnTo>
                      <a:pt x="3536" y="1878"/>
                    </a:lnTo>
                    <a:lnTo>
                      <a:pt x="3532" y="1876"/>
                    </a:lnTo>
                    <a:lnTo>
                      <a:pt x="3532" y="1872"/>
                    </a:lnTo>
                    <a:lnTo>
                      <a:pt x="3532" y="1870"/>
                    </a:lnTo>
                    <a:lnTo>
                      <a:pt x="3532" y="1870"/>
                    </a:lnTo>
                    <a:lnTo>
                      <a:pt x="3536" y="1866"/>
                    </a:lnTo>
                    <a:lnTo>
                      <a:pt x="3540" y="1864"/>
                    </a:lnTo>
                    <a:lnTo>
                      <a:pt x="3560" y="1862"/>
                    </a:lnTo>
                    <a:lnTo>
                      <a:pt x="3560" y="1862"/>
                    </a:lnTo>
                    <a:lnTo>
                      <a:pt x="3580" y="1860"/>
                    </a:lnTo>
                    <a:lnTo>
                      <a:pt x="3584" y="1860"/>
                    </a:lnTo>
                    <a:lnTo>
                      <a:pt x="3586" y="1858"/>
                    </a:lnTo>
                    <a:lnTo>
                      <a:pt x="3586" y="1858"/>
                    </a:lnTo>
                    <a:lnTo>
                      <a:pt x="3586" y="1854"/>
                    </a:lnTo>
                    <a:lnTo>
                      <a:pt x="3586" y="1852"/>
                    </a:lnTo>
                    <a:lnTo>
                      <a:pt x="3588" y="1850"/>
                    </a:lnTo>
                    <a:lnTo>
                      <a:pt x="3588" y="1850"/>
                    </a:lnTo>
                    <a:lnTo>
                      <a:pt x="3590" y="1850"/>
                    </a:lnTo>
                    <a:lnTo>
                      <a:pt x="3592" y="1852"/>
                    </a:lnTo>
                    <a:lnTo>
                      <a:pt x="3594" y="1858"/>
                    </a:lnTo>
                    <a:lnTo>
                      <a:pt x="3592" y="1864"/>
                    </a:lnTo>
                    <a:lnTo>
                      <a:pt x="3590" y="1870"/>
                    </a:lnTo>
                    <a:lnTo>
                      <a:pt x="3590" y="1870"/>
                    </a:lnTo>
                    <a:close/>
                    <a:moveTo>
                      <a:pt x="3578" y="1812"/>
                    </a:moveTo>
                    <a:lnTo>
                      <a:pt x="3578" y="1812"/>
                    </a:lnTo>
                    <a:lnTo>
                      <a:pt x="3586" y="1806"/>
                    </a:lnTo>
                    <a:lnTo>
                      <a:pt x="3596" y="1804"/>
                    </a:lnTo>
                    <a:lnTo>
                      <a:pt x="3624" y="1798"/>
                    </a:lnTo>
                    <a:lnTo>
                      <a:pt x="3624" y="1798"/>
                    </a:lnTo>
                    <a:lnTo>
                      <a:pt x="3636" y="1796"/>
                    </a:lnTo>
                    <a:lnTo>
                      <a:pt x="3642" y="1794"/>
                    </a:lnTo>
                    <a:lnTo>
                      <a:pt x="3656" y="1802"/>
                    </a:lnTo>
                    <a:lnTo>
                      <a:pt x="3656" y="1802"/>
                    </a:lnTo>
                    <a:lnTo>
                      <a:pt x="3662" y="1804"/>
                    </a:lnTo>
                    <a:lnTo>
                      <a:pt x="3664" y="1804"/>
                    </a:lnTo>
                    <a:lnTo>
                      <a:pt x="3668" y="1804"/>
                    </a:lnTo>
                    <a:lnTo>
                      <a:pt x="3668" y="1802"/>
                    </a:lnTo>
                    <a:lnTo>
                      <a:pt x="3672" y="1794"/>
                    </a:lnTo>
                    <a:lnTo>
                      <a:pt x="3674" y="1790"/>
                    </a:lnTo>
                    <a:lnTo>
                      <a:pt x="3678" y="1788"/>
                    </a:lnTo>
                    <a:lnTo>
                      <a:pt x="3678" y="1788"/>
                    </a:lnTo>
                    <a:lnTo>
                      <a:pt x="3686" y="1782"/>
                    </a:lnTo>
                    <a:lnTo>
                      <a:pt x="3696" y="1778"/>
                    </a:lnTo>
                    <a:lnTo>
                      <a:pt x="3706" y="1776"/>
                    </a:lnTo>
                    <a:lnTo>
                      <a:pt x="3716" y="1770"/>
                    </a:lnTo>
                    <a:lnTo>
                      <a:pt x="3716" y="1770"/>
                    </a:lnTo>
                    <a:lnTo>
                      <a:pt x="3714" y="1774"/>
                    </a:lnTo>
                    <a:lnTo>
                      <a:pt x="3712" y="1778"/>
                    </a:lnTo>
                    <a:lnTo>
                      <a:pt x="3708" y="1782"/>
                    </a:lnTo>
                    <a:lnTo>
                      <a:pt x="3702" y="1784"/>
                    </a:lnTo>
                    <a:lnTo>
                      <a:pt x="3702" y="1784"/>
                    </a:lnTo>
                    <a:lnTo>
                      <a:pt x="3698" y="1786"/>
                    </a:lnTo>
                    <a:lnTo>
                      <a:pt x="3694" y="1790"/>
                    </a:lnTo>
                    <a:lnTo>
                      <a:pt x="3696" y="1794"/>
                    </a:lnTo>
                    <a:lnTo>
                      <a:pt x="3698" y="1798"/>
                    </a:lnTo>
                    <a:lnTo>
                      <a:pt x="3698" y="1798"/>
                    </a:lnTo>
                    <a:lnTo>
                      <a:pt x="3702" y="1800"/>
                    </a:lnTo>
                    <a:lnTo>
                      <a:pt x="3702" y="1802"/>
                    </a:lnTo>
                    <a:lnTo>
                      <a:pt x="3700" y="1806"/>
                    </a:lnTo>
                    <a:lnTo>
                      <a:pt x="3700" y="1814"/>
                    </a:lnTo>
                    <a:lnTo>
                      <a:pt x="3700" y="1814"/>
                    </a:lnTo>
                    <a:lnTo>
                      <a:pt x="3700" y="1820"/>
                    </a:lnTo>
                    <a:lnTo>
                      <a:pt x="3696" y="1822"/>
                    </a:lnTo>
                    <a:lnTo>
                      <a:pt x="3690" y="1826"/>
                    </a:lnTo>
                    <a:lnTo>
                      <a:pt x="3684" y="1830"/>
                    </a:lnTo>
                    <a:lnTo>
                      <a:pt x="3684" y="1830"/>
                    </a:lnTo>
                    <a:lnTo>
                      <a:pt x="3680" y="1834"/>
                    </a:lnTo>
                    <a:lnTo>
                      <a:pt x="3676" y="1836"/>
                    </a:lnTo>
                    <a:lnTo>
                      <a:pt x="3662" y="1838"/>
                    </a:lnTo>
                    <a:lnTo>
                      <a:pt x="3648" y="1838"/>
                    </a:lnTo>
                    <a:lnTo>
                      <a:pt x="3638" y="1834"/>
                    </a:lnTo>
                    <a:lnTo>
                      <a:pt x="3638" y="1834"/>
                    </a:lnTo>
                    <a:lnTo>
                      <a:pt x="3628" y="1832"/>
                    </a:lnTo>
                    <a:lnTo>
                      <a:pt x="3616" y="1830"/>
                    </a:lnTo>
                    <a:lnTo>
                      <a:pt x="3604" y="1832"/>
                    </a:lnTo>
                    <a:lnTo>
                      <a:pt x="3594" y="1834"/>
                    </a:lnTo>
                    <a:lnTo>
                      <a:pt x="3594" y="1834"/>
                    </a:lnTo>
                    <a:lnTo>
                      <a:pt x="3588" y="1838"/>
                    </a:lnTo>
                    <a:lnTo>
                      <a:pt x="3582" y="1840"/>
                    </a:lnTo>
                    <a:lnTo>
                      <a:pt x="3574" y="1842"/>
                    </a:lnTo>
                    <a:lnTo>
                      <a:pt x="3574" y="1842"/>
                    </a:lnTo>
                    <a:lnTo>
                      <a:pt x="3568" y="1842"/>
                    </a:lnTo>
                    <a:lnTo>
                      <a:pt x="3562" y="1842"/>
                    </a:lnTo>
                    <a:lnTo>
                      <a:pt x="3560" y="1840"/>
                    </a:lnTo>
                    <a:lnTo>
                      <a:pt x="3558" y="1838"/>
                    </a:lnTo>
                    <a:lnTo>
                      <a:pt x="3558" y="1834"/>
                    </a:lnTo>
                    <a:lnTo>
                      <a:pt x="3560" y="1828"/>
                    </a:lnTo>
                    <a:lnTo>
                      <a:pt x="3560" y="1828"/>
                    </a:lnTo>
                    <a:lnTo>
                      <a:pt x="3564" y="1820"/>
                    </a:lnTo>
                    <a:lnTo>
                      <a:pt x="3570" y="1818"/>
                    </a:lnTo>
                    <a:lnTo>
                      <a:pt x="3574" y="1816"/>
                    </a:lnTo>
                    <a:lnTo>
                      <a:pt x="3578" y="1812"/>
                    </a:lnTo>
                    <a:lnTo>
                      <a:pt x="3578" y="1812"/>
                    </a:lnTo>
                    <a:close/>
                    <a:moveTo>
                      <a:pt x="3092" y="1606"/>
                    </a:moveTo>
                    <a:lnTo>
                      <a:pt x="3092" y="1606"/>
                    </a:lnTo>
                    <a:lnTo>
                      <a:pt x="3104" y="1594"/>
                    </a:lnTo>
                    <a:lnTo>
                      <a:pt x="3118" y="1586"/>
                    </a:lnTo>
                    <a:lnTo>
                      <a:pt x="3158" y="1566"/>
                    </a:lnTo>
                    <a:lnTo>
                      <a:pt x="3158" y="1566"/>
                    </a:lnTo>
                    <a:lnTo>
                      <a:pt x="3164" y="1564"/>
                    </a:lnTo>
                    <a:lnTo>
                      <a:pt x="3164" y="1564"/>
                    </a:lnTo>
                    <a:lnTo>
                      <a:pt x="3168" y="1560"/>
                    </a:lnTo>
                    <a:lnTo>
                      <a:pt x="3172" y="1556"/>
                    </a:lnTo>
                    <a:lnTo>
                      <a:pt x="3176" y="1544"/>
                    </a:lnTo>
                    <a:lnTo>
                      <a:pt x="3176" y="1544"/>
                    </a:lnTo>
                    <a:lnTo>
                      <a:pt x="3180" y="1538"/>
                    </a:lnTo>
                    <a:lnTo>
                      <a:pt x="3184" y="1534"/>
                    </a:lnTo>
                    <a:lnTo>
                      <a:pt x="3188" y="1534"/>
                    </a:lnTo>
                    <a:lnTo>
                      <a:pt x="3190" y="1536"/>
                    </a:lnTo>
                    <a:lnTo>
                      <a:pt x="3190" y="1538"/>
                    </a:lnTo>
                    <a:lnTo>
                      <a:pt x="3190" y="1542"/>
                    </a:lnTo>
                    <a:lnTo>
                      <a:pt x="3190" y="1542"/>
                    </a:lnTo>
                    <a:lnTo>
                      <a:pt x="3188" y="1548"/>
                    </a:lnTo>
                    <a:lnTo>
                      <a:pt x="3192" y="1544"/>
                    </a:lnTo>
                    <a:lnTo>
                      <a:pt x="3196" y="1536"/>
                    </a:lnTo>
                    <a:lnTo>
                      <a:pt x="3200" y="1524"/>
                    </a:lnTo>
                    <a:lnTo>
                      <a:pt x="3200" y="1524"/>
                    </a:lnTo>
                    <a:lnTo>
                      <a:pt x="3204" y="1516"/>
                    </a:lnTo>
                    <a:lnTo>
                      <a:pt x="3206" y="1516"/>
                    </a:lnTo>
                    <a:lnTo>
                      <a:pt x="3208" y="1516"/>
                    </a:lnTo>
                    <a:lnTo>
                      <a:pt x="3208" y="1522"/>
                    </a:lnTo>
                    <a:lnTo>
                      <a:pt x="3206" y="1532"/>
                    </a:lnTo>
                    <a:lnTo>
                      <a:pt x="3206" y="1532"/>
                    </a:lnTo>
                    <a:lnTo>
                      <a:pt x="3204" y="1538"/>
                    </a:lnTo>
                    <a:lnTo>
                      <a:pt x="3204" y="1540"/>
                    </a:lnTo>
                    <a:lnTo>
                      <a:pt x="3204" y="1540"/>
                    </a:lnTo>
                    <a:lnTo>
                      <a:pt x="3216" y="1532"/>
                    </a:lnTo>
                    <a:lnTo>
                      <a:pt x="3216" y="1532"/>
                    </a:lnTo>
                    <a:lnTo>
                      <a:pt x="3218" y="1530"/>
                    </a:lnTo>
                    <a:lnTo>
                      <a:pt x="3220" y="1526"/>
                    </a:lnTo>
                    <a:lnTo>
                      <a:pt x="3218" y="1520"/>
                    </a:lnTo>
                    <a:lnTo>
                      <a:pt x="3216" y="1514"/>
                    </a:lnTo>
                    <a:lnTo>
                      <a:pt x="3216" y="1512"/>
                    </a:lnTo>
                    <a:lnTo>
                      <a:pt x="3216" y="1510"/>
                    </a:lnTo>
                    <a:lnTo>
                      <a:pt x="3216" y="1510"/>
                    </a:lnTo>
                    <a:lnTo>
                      <a:pt x="3220" y="1508"/>
                    </a:lnTo>
                    <a:lnTo>
                      <a:pt x="3224" y="1510"/>
                    </a:lnTo>
                    <a:lnTo>
                      <a:pt x="3236" y="1514"/>
                    </a:lnTo>
                    <a:lnTo>
                      <a:pt x="3248" y="1520"/>
                    </a:lnTo>
                    <a:lnTo>
                      <a:pt x="3254" y="1522"/>
                    </a:lnTo>
                    <a:lnTo>
                      <a:pt x="3260" y="1522"/>
                    </a:lnTo>
                    <a:lnTo>
                      <a:pt x="3260" y="1522"/>
                    </a:lnTo>
                    <a:lnTo>
                      <a:pt x="3268" y="1522"/>
                    </a:lnTo>
                    <a:lnTo>
                      <a:pt x="3272" y="1522"/>
                    </a:lnTo>
                    <a:lnTo>
                      <a:pt x="3276" y="1522"/>
                    </a:lnTo>
                    <a:lnTo>
                      <a:pt x="3284" y="1522"/>
                    </a:lnTo>
                    <a:lnTo>
                      <a:pt x="3284" y="1522"/>
                    </a:lnTo>
                    <a:lnTo>
                      <a:pt x="3288" y="1524"/>
                    </a:lnTo>
                    <a:lnTo>
                      <a:pt x="3292" y="1528"/>
                    </a:lnTo>
                    <a:lnTo>
                      <a:pt x="3296" y="1542"/>
                    </a:lnTo>
                    <a:lnTo>
                      <a:pt x="3298" y="1550"/>
                    </a:lnTo>
                    <a:lnTo>
                      <a:pt x="3302" y="1558"/>
                    </a:lnTo>
                    <a:lnTo>
                      <a:pt x="3308" y="1566"/>
                    </a:lnTo>
                    <a:lnTo>
                      <a:pt x="3314" y="1570"/>
                    </a:lnTo>
                    <a:lnTo>
                      <a:pt x="3314" y="1570"/>
                    </a:lnTo>
                    <a:lnTo>
                      <a:pt x="3320" y="1572"/>
                    </a:lnTo>
                    <a:lnTo>
                      <a:pt x="3328" y="1572"/>
                    </a:lnTo>
                    <a:lnTo>
                      <a:pt x="3340" y="1570"/>
                    </a:lnTo>
                    <a:lnTo>
                      <a:pt x="3344" y="1570"/>
                    </a:lnTo>
                    <a:lnTo>
                      <a:pt x="3348" y="1570"/>
                    </a:lnTo>
                    <a:lnTo>
                      <a:pt x="3348" y="1574"/>
                    </a:lnTo>
                    <a:lnTo>
                      <a:pt x="3346" y="1580"/>
                    </a:lnTo>
                    <a:lnTo>
                      <a:pt x="3346" y="1580"/>
                    </a:lnTo>
                    <a:lnTo>
                      <a:pt x="3344" y="1588"/>
                    </a:lnTo>
                    <a:lnTo>
                      <a:pt x="3346" y="1594"/>
                    </a:lnTo>
                    <a:lnTo>
                      <a:pt x="3358" y="1604"/>
                    </a:lnTo>
                    <a:lnTo>
                      <a:pt x="3358" y="1604"/>
                    </a:lnTo>
                    <a:lnTo>
                      <a:pt x="3360" y="1606"/>
                    </a:lnTo>
                    <a:lnTo>
                      <a:pt x="3360" y="1610"/>
                    </a:lnTo>
                    <a:lnTo>
                      <a:pt x="3358" y="1618"/>
                    </a:lnTo>
                    <a:lnTo>
                      <a:pt x="3354" y="1624"/>
                    </a:lnTo>
                    <a:lnTo>
                      <a:pt x="3354" y="1626"/>
                    </a:lnTo>
                    <a:lnTo>
                      <a:pt x="3356" y="1630"/>
                    </a:lnTo>
                    <a:lnTo>
                      <a:pt x="3356" y="1630"/>
                    </a:lnTo>
                    <a:lnTo>
                      <a:pt x="3362" y="1630"/>
                    </a:lnTo>
                    <a:lnTo>
                      <a:pt x="3364" y="1630"/>
                    </a:lnTo>
                    <a:lnTo>
                      <a:pt x="3366" y="1630"/>
                    </a:lnTo>
                    <a:lnTo>
                      <a:pt x="3368" y="1632"/>
                    </a:lnTo>
                    <a:lnTo>
                      <a:pt x="3368" y="1632"/>
                    </a:lnTo>
                    <a:lnTo>
                      <a:pt x="3370" y="1634"/>
                    </a:lnTo>
                    <a:lnTo>
                      <a:pt x="3368" y="1636"/>
                    </a:lnTo>
                    <a:lnTo>
                      <a:pt x="3364" y="1640"/>
                    </a:lnTo>
                    <a:lnTo>
                      <a:pt x="3362" y="1642"/>
                    </a:lnTo>
                    <a:lnTo>
                      <a:pt x="3362" y="1648"/>
                    </a:lnTo>
                    <a:lnTo>
                      <a:pt x="3362" y="1648"/>
                    </a:lnTo>
                    <a:lnTo>
                      <a:pt x="3362" y="1652"/>
                    </a:lnTo>
                    <a:lnTo>
                      <a:pt x="3364" y="1654"/>
                    </a:lnTo>
                    <a:lnTo>
                      <a:pt x="3372" y="1652"/>
                    </a:lnTo>
                    <a:lnTo>
                      <a:pt x="3380" y="1652"/>
                    </a:lnTo>
                    <a:lnTo>
                      <a:pt x="3382" y="1652"/>
                    </a:lnTo>
                    <a:lnTo>
                      <a:pt x="3382" y="1656"/>
                    </a:lnTo>
                    <a:lnTo>
                      <a:pt x="3382" y="1656"/>
                    </a:lnTo>
                    <a:lnTo>
                      <a:pt x="3382" y="1662"/>
                    </a:lnTo>
                    <a:lnTo>
                      <a:pt x="3386" y="1664"/>
                    </a:lnTo>
                    <a:lnTo>
                      <a:pt x="3392" y="1666"/>
                    </a:lnTo>
                    <a:lnTo>
                      <a:pt x="3402" y="1668"/>
                    </a:lnTo>
                    <a:lnTo>
                      <a:pt x="3402" y="1668"/>
                    </a:lnTo>
                    <a:lnTo>
                      <a:pt x="3416" y="1672"/>
                    </a:lnTo>
                    <a:lnTo>
                      <a:pt x="3430" y="1674"/>
                    </a:lnTo>
                    <a:lnTo>
                      <a:pt x="3446" y="1674"/>
                    </a:lnTo>
                    <a:lnTo>
                      <a:pt x="3460" y="1676"/>
                    </a:lnTo>
                    <a:lnTo>
                      <a:pt x="3460" y="1676"/>
                    </a:lnTo>
                    <a:lnTo>
                      <a:pt x="3470" y="1676"/>
                    </a:lnTo>
                    <a:lnTo>
                      <a:pt x="3478" y="1676"/>
                    </a:lnTo>
                    <a:lnTo>
                      <a:pt x="3484" y="1678"/>
                    </a:lnTo>
                    <a:lnTo>
                      <a:pt x="3484" y="1678"/>
                    </a:lnTo>
                    <a:lnTo>
                      <a:pt x="3484" y="1680"/>
                    </a:lnTo>
                    <a:lnTo>
                      <a:pt x="3484" y="1680"/>
                    </a:lnTo>
                    <a:lnTo>
                      <a:pt x="3484" y="1682"/>
                    </a:lnTo>
                    <a:lnTo>
                      <a:pt x="3484" y="1684"/>
                    </a:lnTo>
                    <a:lnTo>
                      <a:pt x="3490" y="1686"/>
                    </a:lnTo>
                    <a:lnTo>
                      <a:pt x="3508" y="1686"/>
                    </a:lnTo>
                    <a:lnTo>
                      <a:pt x="3508" y="1686"/>
                    </a:lnTo>
                    <a:lnTo>
                      <a:pt x="3514" y="1688"/>
                    </a:lnTo>
                    <a:lnTo>
                      <a:pt x="3518" y="1692"/>
                    </a:lnTo>
                    <a:lnTo>
                      <a:pt x="3526" y="1704"/>
                    </a:lnTo>
                    <a:lnTo>
                      <a:pt x="3532" y="1716"/>
                    </a:lnTo>
                    <a:lnTo>
                      <a:pt x="3534" y="1718"/>
                    </a:lnTo>
                    <a:lnTo>
                      <a:pt x="3536" y="1718"/>
                    </a:lnTo>
                    <a:lnTo>
                      <a:pt x="3536" y="1718"/>
                    </a:lnTo>
                    <a:lnTo>
                      <a:pt x="3540" y="1716"/>
                    </a:lnTo>
                    <a:lnTo>
                      <a:pt x="3542" y="1716"/>
                    </a:lnTo>
                    <a:lnTo>
                      <a:pt x="3544" y="1720"/>
                    </a:lnTo>
                    <a:lnTo>
                      <a:pt x="3544" y="1726"/>
                    </a:lnTo>
                    <a:lnTo>
                      <a:pt x="3544" y="1726"/>
                    </a:lnTo>
                    <a:lnTo>
                      <a:pt x="3544" y="1730"/>
                    </a:lnTo>
                    <a:lnTo>
                      <a:pt x="3546" y="1734"/>
                    </a:lnTo>
                    <a:lnTo>
                      <a:pt x="3552" y="1742"/>
                    </a:lnTo>
                    <a:lnTo>
                      <a:pt x="3556" y="1748"/>
                    </a:lnTo>
                    <a:lnTo>
                      <a:pt x="3560" y="1756"/>
                    </a:lnTo>
                    <a:lnTo>
                      <a:pt x="3560" y="1756"/>
                    </a:lnTo>
                    <a:lnTo>
                      <a:pt x="3558" y="1758"/>
                    </a:lnTo>
                    <a:lnTo>
                      <a:pt x="3558" y="1758"/>
                    </a:lnTo>
                    <a:lnTo>
                      <a:pt x="3554" y="1754"/>
                    </a:lnTo>
                    <a:lnTo>
                      <a:pt x="3548" y="1750"/>
                    </a:lnTo>
                    <a:lnTo>
                      <a:pt x="3546" y="1750"/>
                    </a:lnTo>
                    <a:lnTo>
                      <a:pt x="3544" y="1750"/>
                    </a:lnTo>
                    <a:lnTo>
                      <a:pt x="3544" y="1750"/>
                    </a:lnTo>
                    <a:lnTo>
                      <a:pt x="3542" y="1752"/>
                    </a:lnTo>
                    <a:lnTo>
                      <a:pt x="3542" y="1754"/>
                    </a:lnTo>
                    <a:lnTo>
                      <a:pt x="3546" y="1760"/>
                    </a:lnTo>
                    <a:lnTo>
                      <a:pt x="3548" y="1766"/>
                    </a:lnTo>
                    <a:lnTo>
                      <a:pt x="3546" y="1768"/>
                    </a:lnTo>
                    <a:lnTo>
                      <a:pt x="3544" y="1770"/>
                    </a:lnTo>
                    <a:lnTo>
                      <a:pt x="3544" y="1770"/>
                    </a:lnTo>
                    <a:lnTo>
                      <a:pt x="3542" y="1772"/>
                    </a:lnTo>
                    <a:lnTo>
                      <a:pt x="3538" y="1770"/>
                    </a:lnTo>
                    <a:lnTo>
                      <a:pt x="3530" y="1764"/>
                    </a:lnTo>
                    <a:lnTo>
                      <a:pt x="3520" y="1760"/>
                    </a:lnTo>
                    <a:lnTo>
                      <a:pt x="3516" y="1758"/>
                    </a:lnTo>
                    <a:lnTo>
                      <a:pt x="3512" y="1760"/>
                    </a:lnTo>
                    <a:lnTo>
                      <a:pt x="3512" y="1760"/>
                    </a:lnTo>
                    <a:lnTo>
                      <a:pt x="3508" y="1762"/>
                    </a:lnTo>
                    <a:lnTo>
                      <a:pt x="3508" y="1758"/>
                    </a:lnTo>
                    <a:lnTo>
                      <a:pt x="3508" y="1754"/>
                    </a:lnTo>
                    <a:lnTo>
                      <a:pt x="3508" y="1754"/>
                    </a:lnTo>
                    <a:lnTo>
                      <a:pt x="3504" y="1754"/>
                    </a:lnTo>
                    <a:lnTo>
                      <a:pt x="3504" y="1754"/>
                    </a:lnTo>
                    <a:lnTo>
                      <a:pt x="3502" y="1754"/>
                    </a:lnTo>
                    <a:lnTo>
                      <a:pt x="3502" y="1754"/>
                    </a:lnTo>
                    <a:lnTo>
                      <a:pt x="3504" y="1750"/>
                    </a:lnTo>
                    <a:lnTo>
                      <a:pt x="3506" y="1746"/>
                    </a:lnTo>
                    <a:lnTo>
                      <a:pt x="3504" y="1744"/>
                    </a:lnTo>
                    <a:lnTo>
                      <a:pt x="3502" y="1742"/>
                    </a:lnTo>
                    <a:lnTo>
                      <a:pt x="3502" y="1742"/>
                    </a:lnTo>
                    <a:lnTo>
                      <a:pt x="3498" y="1742"/>
                    </a:lnTo>
                    <a:lnTo>
                      <a:pt x="3496" y="1740"/>
                    </a:lnTo>
                    <a:lnTo>
                      <a:pt x="3494" y="1734"/>
                    </a:lnTo>
                    <a:lnTo>
                      <a:pt x="3494" y="1728"/>
                    </a:lnTo>
                    <a:lnTo>
                      <a:pt x="3492" y="1728"/>
                    </a:lnTo>
                    <a:lnTo>
                      <a:pt x="3490" y="1726"/>
                    </a:lnTo>
                    <a:lnTo>
                      <a:pt x="3490" y="1726"/>
                    </a:lnTo>
                    <a:lnTo>
                      <a:pt x="3486" y="1726"/>
                    </a:lnTo>
                    <a:lnTo>
                      <a:pt x="3482" y="1726"/>
                    </a:lnTo>
                    <a:lnTo>
                      <a:pt x="3480" y="1724"/>
                    </a:lnTo>
                    <a:lnTo>
                      <a:pt x="3478" y="1726"/>
                    </a:lnTo>
                    <a:lnTo>
                      <a:pt x="3478" y="1726"/>
                    </a:lnTo>
                    <a:lnTo>
                      <a:pt x="3480" y="1730"/>
                    </a:lnTo>
                    <a:lnTo>
                      <a:pt x="3484" y="1736"/>
                    </a:lnTo>
                    <a:lnTo>
                      <a:pt x="3490" y="1744"/>
                    </a:lnTo>
                    <a:lnTo>
                      <a:pt x="3496" y="1756"/>
                    </a:lnTo>
                    <a:lnTo>
                      <a:pt x="3496" y="1756"/>
                    </a:lnTo>
                    <a:lnTo>
                      <a:pt x="3496" y="1762"/>
                    </a:lnTo>
                    <a:lnTo>
                      <a:pt x="3494" y="1766"/>
                    </a:lnTo>
                    <a:lnTo>
                      <a:pt x="3486" y="1776"/>
                    </a:lnTo>
                    <a:lnTo>
                      <a:pt x="3482" y="1782"/>
                    </a:lnTo>
                    <a:lnTo>
                      <a:pt x="3480" y="1788"/>
                    </a:lnTo>
                    <a:lnTo>
                      <a:pt x="3476" y="1796"/>
                    </a:lnTo>
                    <a:lnTo>
                      <a:pt x="3476" y="1806"/>
                    </a:lnTo>
                    <a:lnTo>
                      <a:pt x="3476" y="1806"/>
                    </a:lnTo>
                    <a:lnTo>
                      <a:pt x="3476" y="1826"/>
                    </a:lnTo>
                    <a:lnTo>
                      <a:pt x="3476" y="1832"/>
                    </a:lnTo>
                    <a:lnTo>
                      <a:pt x="3472" y="1838"/>
                    </a:lnTo>
                    <a:lnTo>
                      <a:pt x="3468" y="1842"/>
                    </a:lnTo>
                    <a:lnTo>
                      <a:pt x="3464" y="1844"/>
                    </a:lnTo>
                    <a:lnTo>
                      <a:pt x="3448" y="1852"/>
                    </a:lnTo>
                    <a:lnTo>
                      <a:pt x="3448" y="1852"/>
                    </a:lnTo>
                    <a:lnTo>
                      <a:pt x="3446" y="1846"/>
                    </a:lnTo>
                    <a:lnTo>
                      <a:pt x="3444" y="1838"/>
                    </a:lnTo>
                    <a:lnTo>
                      <a:pt x="3440" y="1818"/>
                    </a:lnTo>
                    <a:lnTo>
                      <a:pt x="3438" y="1808"/>
                    </a:lnTo>
                    <a:lnTo>
                      <a:pt x="3434" y="1802"/>
                    </a:lnTo>
                    <a:lnTo>
                      <a:pt x="3428" y="1796"/>
                    </a:lnTo>
                    <a:lnTo>
                      <a:pt x="3424" y="1796"/>
                    </a:lnTo>
                    <a:lnTo>
                      <a:pt x="3424" y="1796"/>
                    </a:lnTo>
                    <a:lnTo>
                      <a:pt x="3418" y="1798"/>
                    </a:lnTo>
                    <a:lnTo>
                      <a:pt x="3414" y="1800"/>
                    </a:lnTo>
                    <a:lnTo>
                      <a:pt x="3408" y="1808"/>
                    </a:lnTo>
                    <a:lnTo>
                      <a:pt x="3404" y="1816"/>
                    </a:lnTo>
                    <a:lnTo>
                      <a:pt x="3400" y="1818"/>
                    </a:lnTo>
                    <a:lnTo>
                      <a:pt x="3398" y="1820"/>
                    </a:lnTo>
                    <a:lnTo>
                      <a:pt x="3398" y="1820"/>
                    </a:lnTo>
                    <a:lnTo>
                      <a:pt x="3394" y="1818"/>
                    </a:lnTo>
                    <a:lnTo>
                      <a:pt x="3392" y="1816"/>
                    </a:lnTo>
                    <a:lnTo>
                      <a:pt x="3388" y="1810"/>
                    </a:lnTo>
                    <a:lnTo>
                      <a:pt x="3390" y="1802"/>
                    </a:lnTo>
                    <a:lnTo>
                      <a:pt x="3392" y="1798"/>
                    </a:lnTo>
                    <a:lnTo>
                      <a:pt x="3394" y="1796"/>
                    </a:lnTo>
                    <a:lnTo>
                      <a:pt x="3394" y="1796"/>
                    </a:lnTo>
                    <a:lnTo>
                      <a:pt x="3400" y="1790"/>
                    </a:lnTo>
                    <a:lnTo>
                      <a:pt x="3406" y="1784"/>
                    </a:lnTo>
                    <a:lnTo>
                      <a:pt x="3410" y="1776"/>
                    </a:lnTo>
                    <a:lnTo>
                      <a:pt x="3412" y="1764"/>
                    </a:lnTo>
                    <a:lnTo>
                      <a:pt x="3412" y="1764"/>
                    </a:lnTo>
                    <a:lnTo>
                      <a:pt x="3412" y="1758"/>
                    </a:lnTo>
                    <a:lnTo>
                      <a:pt x="3412" y="1754"/>
                    </a:lnTo>
                    <a:lnTo>
                      <a:pt x="3410" y="1746"/>
                    </a:lnTo>
                    <a:lnTo>
                      <a:pt x="3408" y="1740"/>
                    </a:lnTo>
                    <a:lnTo>
                      <a:pt x="3408" y="1738"/>
                    </a:lnTo>
                    <a:lnTo>
                      <a:pt x="3410" y="1738"/>
                    </a:lnTo>
                    <a:lnTo>
                      <a:pt x="3410" y="1738"/>
                    </a:lnTo>
                    <a:lnTo>
                      <a:pt x="3414" y="1736"/>
                    </a:lnTo>
                    <a:lnTo>
                      <a:pt x="3414" y="1734"/>
                    </a:lnTo>
                    <a:lnTo>
                      <a:pt x="3410" y="1728"/>
                    </a:lnTo>
                    <a:lnTo>
                      <a:pt x="3402" y="1722"/>
                    </a:lnTo>
                    <a:lnTo>
                      <a:pt x="3392" y="1716"/>
                    </a:lnTo>
                    <a:lnTo>
                      <a:pt x="3392" y="1716"/>
                    </a:lnTo>
                    <a:lnTo>
                      <a:pt x="3382" y="1712"/>
                    </a:lnTo>
                    <a:lnTo>
                      <a:pt x="3380" y="1708"/>
                    </a:lnTo>
                    <a:lnTo>
                      <a:pt x="3378" y="1706"/>
                    </a:lnTo>
                    <a:lnTo>
                      <a:pt x="3372" y="1704"/>
                    </a:lnTo>
                    <a:lnTo>
                      <a:pt x="3372" y="1704"/>
                    </a:lnTo>
                    <a:lnTo>
                      <a:pt x="3366" y="1702"/>
                    </a:lnTo>
                    <a:lnTo>
                      <a:pt x="3362" y="1698"/>
                    </a:lnTo>
                    <a:lnTo>
                      <a:pt x="3358" y="1696"/>
                    </a:lnTo>
                    <a:lnTo>
                      <a:pt x="3356" y="1696"/>
                    </a:lnTo>
                    <a:lnTo>
                      <a:pt x="3352" y="1698"/>
                    </a:lnTo>
                    <a:lnTo>
                      <a:pt x="3346" y="1702"/>
                    </a:lnTo>
                    <a:lnTo>
                      <a:pt x="3346" y="1702"/>
                    </a:lnTo>
                    <a:lnTo>
                      <a:pt x="3342" y="1706"/>
                    </a:lnTo>
                    <a:lnTo>
                      <a:pt x="3340" y="1710"/>
                    </a:lnTo>
                    <a:lnTo>
                      <a:pt x="3342" y="1712"/>
                    </a:lnTo>
                    <a:lnTo>
                      <a:pt x="3344" y="1714"/>
                    </a:lnTo>
                    <a:lnTo>
                      <a:pt x="3346" y="1718"/>
                    </a:lnTo>
                    <a:lnTo>
                      <a:pt x="3340" y="1720"/>
                    </a:lnTo>
                    <a:lnTo>
                      <a:pt x="3340" y="1720"/>
                    </a:lnTo>
                    <a:lnTo>
                      <a:pt x="3334" y="1722"/>
                    </a:lnTo>
                    <a:lnTo>
                      <a:pt x="3330" y="1726"/>
                    </a:lnTo>
                    <a:lnTo>
                      <a:pt x="3328" y="1732"/>
                    </a:lnTo>
                    <a:lnTo>
                      <a:pt x="3328" y="1738"/>
                    </a:lnTo>
                    <a:lnTo>
                      <a:pt x="3326" y="1748"/>
                    </a:lnTo>
                    <a:lnTo>
                      <a:pt x="3324" y="1752"/>
                    </a:lnTo>
                    <a:lnTo>
                      <a:pt x="3322" y="1752"/>
                    </a:lnTo>
                    <a:lnTo>
                      <a:pt x="3322" y="1752"/>
                    </a:lnTo>
                    <a:lnTo>
                      <a:pt x="3320" y="1752"/>
                    </a:lnTo>
                    <a:lnTo>
                      <a:pt x="3318" y="1748"/>
                    </a:lnTo>
                    <a:lnTo>
                      <a:pt x="3318" y="1738"/>
                    </a:lnTo>
                    <a:lnTo>
                      <a:pt x="3318" y="1734"/>
                    </a:lnTo>
                    <a:lnTo>
                      <a:pt x="3316" y="1734"/>
                    </a:lnTo>
                    <a:lnTo>
                      <a:pt x="3314" y="1736"/>
                    </a:lnTo>
                    <a:lnTo>
                      <a:pt x="3308" y="1744"/>
                    </a:lnTo>
                    <a:lnTo>
                      <a:pt x="3308" y="1744"/>
                    </a:lnTo>
                    <a:lnTo>
                      <a:pt x="3300" y="1752"/>
                    </a:lnTo>
                    <a:lnTo>
                      <a:pt x="3296" y="1754"/>
                    </a:lnTo>
                    <a:lnTo>
                      <a:pt x="3294" y="1756"/>
                    </a:lnTo>
                    <a:lnTo>
                      <a:pt x="3294" y="1766"/>
                    </a:lnTo>
                    <a:lnTo>
                      <a:pt x="3294" y="1766"/>
                    </a:lnTo>
                    <a:lnTo>
                      <a:pt x="3296" y="1772"/>
                    </a:lnTo>
                    <a:lnTo>
                      <a:pt x="3294" y="1778"/>
                    </a:lnTo>
                    <a:lnTo>
                      <a:pt x="3290" y="1786"/>
                    </a:lnTo>
                    <a:lnTo>
                      <a:pt x="3286" y="1792"/>
                    </a:lnTo>
                    <a:lnTo>
                      <a:pt x="3286" y="1796"/>
                    </a:lnTo>
                    <a:lnTo>
                      <a:pt x="3286" y="1800"/>
                    </a:lnTo>
                    <a:lnTo>
                      <a:pt x="3286" y="1800"/>
                    </a:lnTo>
                    <a:lnTo>
                      <a:pt x="3288" y="1808"/>
                    </a:lnTo>
                    <a:lnTo>
                      <a:pt x="3286" y="1812"/>
                    </a:lnTo>
                    <a:lnTo>
                      <a:pt x="3284" y="1818"/>
                    </a:lnTo>
                    <a:lnTo>
                      <a:pt x="3286" y="1828"/>
                    </a:lnTo>
                    <a:lnTo>
                      <a:pt x="3286" y="1828"/>
                    </a:lnTo>
                    <a:lnTo>
                      <a:pt x="3292" y="1840"/>
                    </a:lnTo>
                    <a:lnTo>
                      <a:pt x="3294" y="1852"/>
                    </a:lnTo>
                    <a:lnTo>
                      <a:pt x="3296" y="1862"/>
                    </a:lnTo>
                    <a:lnTo>
                      <a:pt x="3294" y="1872"/>
                    </a:lnTo>
                    <a:lnTo>
                      <a:pt x="3294" y="1880"/>
                    </a:lnTo>
                    <a:lnTo>
                      <a:pt x="3290" y="1890"/>
                    </a:lnTo>
                    <a:lnTo>
                      <a:pt x="3282" y="1908"/>
                    </a:lnTo>
                    <a:lnTo>
                      <a:pt x="3282" y="1908"/>
                    </a:lnTo>
                    <a:lnTo>
                      <a:pt x="3276" y="1916"/>
                    </a:lnTo>
                    <a:lnTo>
                      <a:pt x="3270" y="1922"/>
                    </a:lnTo>
                    <a:lnTo>
                      <a:pt x="3264" y="1928"/>
                    </a:lnTo>
                    <a:lnTo>
                      <a:pt x="3258" y="1930"/>
                    </a:lnTo>
                    <a:lnTo>
                      <a:pt x="3252" y="1930"/>
                    </a:lnTo>
                    <a:lnTo>
                      <a:pt x="3246" y="1926"/>
                    </a:lnTo>
                    <a:lnTo>
                      <a:pt x="3242" y="1922"/>
                    </a:lnTo>
                    <a:lnTo>
                      <a:pt x="3236" y="1914"/>
                    </a:lnTo>
                    <a:lnTo>
                      <a:pt x="3236" y="1914"/>
                    </a:lnTo>
                    <a:lnTo>
                      <a:pt x="3232" y="1904"/>
                    </a:lnTo>
                    <a:lnTo>
                      <a:pt x="3230" y="1898"/>
                    </a:lnTo>
                    <a:lnTo>
                      <a:pt x="3230" y="1884"/>
                    </a:lnTo>
                    <a:lnTo>
                      <a:pt x="3230" y="1872"/>
                    </a:lnTo>
                    <a:lnTo>
                      <a:pt x="3230" y="1864"/>
                    </a:lnTo>
                    <a:lnTo>
                      <a:pt x="3230" y="1856"/>
                    </a:lnTo>
                    <a:lnTo>
                      <a:pt x="3230" y="1856"/>
                    </a:lnTo>
                    <a:lnTo>
                      <a:pt x="3228" y="1842"/>
                    </a:lnTo>
                    <a:lnTo>
                      <a:pt x="3228" y="1834"/>
                    </a:lnTo>
                    <a:lnTo>
                      <a:pt x="3232" y="1824"/>
                    </a:lnTo>
                    <a:lnTo>
                      <a:pt x="3234" y="1810"/>
                    </a:lnTo>
                    <a:lnTo>
                      <a:pt x="3234" y="1810"/>
                    </a:lnTo>
                    <a:lnTo>
                      <a:pt x="3234" y="1802"/>
                    </a:lnTo>
                    <a:lnTo>
                      <a:pt x="3236" y="1796"/>
                    </a:lnTo>
                    <a:lnTo>
                      <a:pt x="3238" y="1792"/>
                    </a:lnTo>
                    <a:lnTo>
                      <a:pt x="3240" y="1792"/>
                    </a:lnTo>
                    <a:lnTo>
                      <a:pt x="3242" y="1790"/>
                    </a:lnTo>
                    <a:lnTo>
                      <a:pt x="3242" y="1784"/>
                    </a:lnTo>
                    <a:lnTo>
                      <a:pt x="3242" y="1784"/>
                    </a:lnTo>
                    <a:lnTo>
                      <a:pt x="3240" y="1780"/>
                    </a:lnTo>
                    <a:lnTo>
                      <a:pt x="3242" y="1776"/>
                    </a:lnTo>
                    <a:lnTo>
                      <a:pt x="3246" y="1764"/>
                    </a:lnTo>
                    <a:lnTo>
                      <a:pt x="3248" y="1754"/>
                    </a:lnTo>
                    <a:lnTo>
                      <a:pt x="3248" y="1752"/>
                    </a:lnTo>
                    <a:lnTo>
                      <a:pt x="3246" y="1748"/>
                    </a:lnTo>
                    <a:lnTo>
                      <a:pt x="3246" y="1748"/>
                    </a:lnTo>
                    <a:lnTo>
                      <a:pt x="3240" y="1748"/>
                    </a:lnTo>
                    <a:lnTo>
                      <a:pt x="3238" y="1752"/>
                    </a:lnTo>
                    <a:lnTo>
                      <a:pt x="3234" y="1758"/>
                    </a:lnTo>
                    <a:lnTo>
                      <a:pt x="3228" y="1764"/>
                    </a:lnTo>
                    <a:lnTo>
                      <a:pt x="3228" y="1764"/>
                    </a:lnTo>
                    <a:lnTo>
                      <a:pt x="3226" y="1766"/>
                    </a:lnTo>
                    <a:lnTo>
                      <a:pt x="3224" y="1766"/>
                    </a:lnTo>
                    <a:lnTo>
                      <a:pt x="3224" y="1758"/>
                    </a:lnTo>
                    <a:lnTo>
                      <a:pt x="3226" y="1750"/>
                    </a:lnTo>
                    <a:lnTo>
                      <a:pt x="3230" y="1746"/>
                    </a:lnTo>
                    <a:lnTo>
                      <a:pt x="3232" y="1742"/>
                    </a:lnTo>
                    <a:lnTo>
                      <a:pt x="3232" y="1742"/>
                    </a:lnTo>
                    <a:lnTo>
                      <a:pt x="3236" y="1740"/>
                    </a:lnTo>
                    <a:lnTo>
                      <a:pt x="3238" y="1736"/>
                    </a:lnTo>
                    <a:lnTo>
                      <a:pt x="3240" y="1732"/>
                    </a:lnTo>
                    <a:lnTo>
                      <a:pt x="3244" y="1726"/>
                    </a:lnTo>
                    <a:lnTo>
                      <a:pt x="3244" y="1726"/>
                    </a:lnTo>
                    <a:lnTo>
                      <a:pt x="3252" y="1714"/>
                    </a:lnTo>
                    <a:lnTo>
                      <a:pt x="3258" y="1700"/>
                    </a:lnTo>
                    <a:lnTo>
                      <a:pt x="3264" y="1692"/>
                    </a:lnTo>
                    <a:lnTo>
                      <a:pt x="3266" y="1690"/>
                    </a:lnTo>
                    <a:lnTo>
                      <a:pt x="3266" y="1692"/>
                    </a:lnTo>
                    <a:lnTo>
                      <a:pt x="3266" y="1692"/>
                    </a:lnTo>
                    <a:lnTo>
                      <a:pt x="3268" y="1696"/>
                    </a:lnTo>
                    <a:lnTo>
                      <a:pt x="3270" y="1696"/>
                    </a:lnTo>
                    <a:lnTo>
                      <a:pt x="3274" y="1694"/>
                    </a:lnTo>
                    <a:lnTo>
                      <a:pt x="3278" y="1692"/>
                    </a:lnTo>
                    <a:lnTo>
                      <a:pt x="3280" y="1692"/>
                    </a:lnTo>
                    <a:lnTo>
                      <a:pt x="3278" y="1698"/>
                    </a:lnTo>
                    <a:lnTo>
                      <a:pt x="3278" y="1698"/>
                    </a:lnTo>
                    <a:lnTo>
                      <a:pt x="3278" y="1702"/>
                    </a:lnTo>
                    <a:lnTo>
                      <a:pt x="3278" y="1702"/>
                    </a:lnTo>
                    <a:lnTo>
                      <a:pt x="3284" y="1696"/>
                    </a:lnTo>
                    <a:lnTo>
                      <a:pt x="3292" y="1688"/>
                    </a:lnTo>
                    <a:lnTo>
                      <a:pt x="3296" y="1686"/>
                    </a:lnTo>
                    <a:lnTo>
                      <a:pt x="3300" y="1684"/>
                    </a:lnTo>
                    <a:lnTo>
                      <a:pt x="3300" y="1684"/>
                    </a:lnTo>
                    <a:lnTo>
                      <a:pt x="3310" y="1684"/>
                    </a:lnTo>
                    <a:lnTo>
                      <a:pt x="3314" y="1684"/>
                    </a:lnTo>
                    <a:lnTo>
                      <a:pt x="3320" y="1678"/>
                    </a:lnTo>
                    <a:lnTo>
                      <a:pt x="3324" y="1676"/>
                    </a:lnTo>
                    <a:lnTo>
                      <a:pt x="3328" y="1678"/>
                    </a:lnTo>
                    <a:lnTo>
                      <a:pt x="3336" y="1680"/>
                    </a:lnTo>
                    <a:lnTo>
                      <a:pt x="3346" y="1686"/>
                    </a:lnTo>
                    <a:lnTo>
                      <a:pt x="3346" y="1686"/>
                    </a:lnTo>
                    <a:lnTo>
                      <a:pt x="3352" y="1690"/>
                    </a:lnTo>
                    <a:lnTo>
                      <a:pt x="3354" y="1690"/>
                    </a:lnTo>
                    <a:lnTo>
                      <a:pt x="3356" y="1688"/>
                    </a:lnTo>
                    <a:lnTo>
                      <a:pt x="3358" y="1686"/>
                    </a:lnTo>
                    <a:lnTo>
                      <a:pt x="3358" y="1682"/>
                    </a:lnTo>
                    <a:lnTo>
                      <a:pt x="3360" y="1680"/>
                    </a:lnTo>
                    <a:lnTo>
                      <a:pt x="3362" y="1680"/>
                    </a:lnTo>
                    <a:lnTo>
                      <a:pt x="3362" y="1680"/>
                    </a:lnTo>
                    <a:lnTo>
                      <a:pt x="3370" y="1684"/>
                    </a:lnTo>
                    <a:lnTo>
                      <a:pt x="3380" y="1686"/>
                    </a:lnTo>
                    <a:lnTo>
                      <a:pt x="3386" y="1684"/>
                    </a:lnTo>
                    <a:lnTo>
                      <a:pt x="3388" y="1682"/>
                    </a:lnTo>
                    <a:lnTo>
                      <a:pt x="3388" y="1678"/>
                    </a:lnTo>
                    <a:lnTo>
                      <a:pt x="3388" y="1678"/>
                    </a:lnTo>
                    <a:lnTo>
                      <a:pt x="3384" y="1674"/>
                    </a:lnTo>
                    <a:lnTo>
                      <a:pt x="3380" y="1672"/>
                    </a:lnTo>
                    <a:lnTo>
                      <a:pt x="3376" y="1670"/>
                    </a:lnTo>
                    <a:lnTo>
                      <a:pt x="3374" y="1662"/>
                    </a:lnTo>
                    <a:lnTo>
                      <a:pt x="3374" y="1662"/>
                    </a:lnTo>
                    <a:lnTo>
                      <a:pt x="3374" y="1658"/>
                    </a:lnTo>
                    <a:lnTo>
                      <a:pt x="3372" y="1658"/>
                    </a:lnTo>
                    <a:lnTo>
                      <a:pt x="3368" y="1658"/>
                    </a:lnTo>
                    <a:lnTo>
                      <a:pt x="3360" y="1658"/>
                    </a:lnTo>
                    <a:lnTo>
                      <a:pt x="3348" y="1654"/>
                    </a:lnTo>
                    <a:lnTo>
                      <a:pt x="3348" y="1654"/>
                    </a:lnTo>
                    <a:lnTo>
                      <a:pt x="3346" y="1652"/>
                    </a:lnTo>
                    <a:lnTo>
                      <a:pt x="3344" y="1650"/>
                    </a:lnTo>
                    <a:lnTo>
                      <a:pt x="3344" y="1644"/>
                    </a:lnTo>
                    <a:lnTo>
                      <a:pt x="3346" y="1638"/>
                    </a:lnTo>
                    <a:lnTo>
                      <a:pt x="3344" y="1638"/>
                    </a:lnTo>
                    <a:lnTo>
                      <a:pt x="3340" y="1640"/>
                    </a:lnTo>
                    <a:lnTo>
                      <a:pt x="3340" y="1640"/>
                    </a:lnTo>
                    <a:lnTo>
                      <a:pt x="3330" y="1642"/>
                    </a:lnTo>
                    <a:lnTo>
                      <a:pt x="3314" y="1644"/>
                    </a:lnTo>
                    <a:lnTo>
                      <a:pt x="3300" y="1646"/>
                    </a:lnTo>
                    <a:lnTo>
                      <a:pt x="3294" y="1648"/>
                    </a:lnTo>
                    <a:lnTo>
                      <a:pt x="3288" y="1652"/>
                    </a:lnTo>
                    <a:lnTo>
                      <a:pt x="3288" y="1652"/>
                    </a:lnTo>
                    <a:lnTo>
                      <a:pt x="3280" y="1656"/>
                    </a:lnTo>
                    <a:lnTo>
                      <a:pt x="3274" y="1656"/>
                    </a:lnTo>
                    <a:lnTo>
                      <a:pt x="3268" y="1656"/>
                    </a:lnTo>
                    <a:lnTo>
                      <a:pt x="3258" y="1654"/>
                    </a:lnTo>
                    <a:lnTo>
                      <a:pt x="3258" y="1654"/>
                    </a:lnTo>
                    <a:lnTo>
                      <a:pt x="3252" y="1654"/>
                    </a:lnTo>
                    <a:lnTo>
                      <a:pt x="3250" y="1652"/>
                    </a:lnTo>
                    <a:lnTo>
                      <a:pt x="3244" y="1646"/>
                    </a:lnTo>
                    <a:lnTo>
                      <a:pt x="3238" y="1636"/>
                    </a:lnTo>
                    <a:lnTo>
                      <a:pt x="3234" y="1632"/>
                    </a:lnTo>
                    <a:lnTo>
                      <a:pt x="3228" y="1630"/>
                    </a:lnTo>
                    <a:lnTo>
                      <a:pt x="3228" y="1630"/>
                    </a:lnTo>
                    <a:lnTo>
                      <a:pt x="3222" y="1628"/>
                    </a:lnTo>
                    <a:lnTo>
                      <a:pt x="3218" y="1628"/>
                    </a:lnTo>
                    <a:lnTo>
                      <a:pt x="3210" y="1632"/>
                    </a:lnTo>
                    <a:lnTo>
                      <a:pt x="3208" y="1634"/>
                    </a:lnTo>
                    <a:lnTo>
                      <a:pt x="3206" y="1634"/>
                    </a:lnTo>
                    <a:lnTo>
                      <a:pt x="3206" y="1632"/>
                    </a:lnTo>
                    <a:lnTo>
                      <a:pt x="3204" y="1628"/>
                    </a:lnTo>
                    <a:lnTo>
                      <a:pt x="3204" y="1628"/>
                    </a:lnTo>
                    <a:lnTo>
                      <a:pt x="3202" y="1618"/>
                    </a:lnTo>
                    <a:lnTo>
                      <a:pt x="3200" y="1616"/>
                    </a:lnTo>
                    <a:lnTo>
                      <a:pt x="3198" y="1614"/>
                    </a:lnTo>
                    <a:lnTo>
                      <a:pt x="3190" y="1618"/>
                    </a:lnTo>
                    <a:lnTo>
                      <a:pt x="3180" y="1628"/>
                    </a:lnTo>
                    <a:lnTo>
                      <a:pt x="3180" y="1628"/>
                    </a:lnTo>
                    <a:lnTo>
                      <a:pt x="3176" y="1632"/>
                    </a:lnTo>
                    <a:lnTo>
                      <a:pt x="3170" y="1634"/>
                    </a:lnTo>
                    <a:lnTo>
                      <a:pt x="3164" y="1636"/>
                    </a:lnTo>
                    <a:lnTo>
                      <a:pt x="3156" y="1636"/>
                    </a:lnTo>
                    <a:lnTo>
                      <a:pt x="3150" y="1638"/>
                    </a:lnTo>
                    <a:lnTo>
                      <a:pt x="3144" y="1642"/>
                    </a:lnTo>
                    <a:lnTo>
                      <a:pt x="3144" y="1642"/>
                    </a:lnTo>
                    <a:lnTo>
                      <a:pt x="3134" y="1648"/>
                    </a:lnTo>
                    <a:lnTo>
                      <a:pt x="3126" y="1650"/>
                    </a:lnTo>
                    <a:lnTo>
                      <a:pt x="3118" y="1648"/>
                    </a:lnTo>
                    <a:lnTo>
                      <a:pt x="3110" y="1648"/>
                    </a:lnTo>
                    <a:lnTo>
                      <a:pt x="3110" y="1648"/>
                    </a:lnTo>
                    <a:lnTo>
                      <a:pt x="3106" y="1650"/>
                    </a:lnTo>
                    <a:lnTo>
                      <a:pt x="3104" y="1648"/>
                    </a:lnTo>
                    <a:lnTo>
                      <a:pt x="3108" y="1640"/>
                    </a:lnTo>
                    <a:lnTo>
                      <a:pt x="3112" y="1632"/>
                    </a:lnTo>
                    <a:lnTo>
                      <a:pt x="3110" y="1630"/>
                    </a:lnTo>
                    <a:lnTo>
                      <a:pt x="3108" y="1628"/>
                    </a:lnTo>
                    <a:lnTo>
                      <a:pt x="3108" y="1628"/>
                    </a:lnTo>
                    <a:lnTo>
                      <a:pt x="3104" y="1628"/>
                    </a:lnTo>
                    <a:lnTo>
                      <a:pt x="3098" y="1630"/>
                    </a:lnTo>
                    <a:lnTo>
                      <a:pt x="3086" y="1636"/>
                    </a:lnTo>
                    <a:lnTo>
                      <a:pt x="3074" y="1642"/>
                    </a:lnTo>
                    <a:lnTo>
                      <a:pt x="3068" y="1642"/>
                    </a:lnTo>
                    <a:lnTo>
                      <a:pt x="3062" y="1642"/>
                    </a:lnTo>
                    <a:lnTo>
                      <a:pt x="3062" y="1642"/>
                    </a:lnTo>
                    <a:lnTo>
                      <a:pt x="3058" y="1640"/>
                    </a:lnTo>
                    <a:lnTo>
                      <a:pt x="3058" y="1638"/>
                    </a:lnTo>
                    <a:lnTo>
                      <a:pt x="3060" y="1636"/>
                    </a:lnTo>
                    <a:lnTo>
                      <a:pt x="3064" y="1632"/>
                    </a:lnTo>
                    <a:lnTo>
                      <a:pt x="3076" y="1620"/>
                    </a:lnTo>
                    <a:lnTo>
                      <a:pt x="3092" y="1606"/>
                    </a:lnTo>
                    <a:lnTo>
                      <a:pt x="3092" y="1606"/>
                    </a:lnTo>
                    <a:close/>
                  </a:path>
                </a:pathLst>
              </a:custGeom>
              <a:solidFill>
                <a:srgbClr val="CE295E"/>
              </a:solidFill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53" name="Полилиния 6087">
                <a:extLst>
                  <a:ext uri="{FF2B5EF4-FFF2-40B4-BE49-F238E27FC236}">
                    <a16:creationId xmlns:a16="http://schemas.microsoft.com/office/drawing/2014/main" xmlns="" id="{8A472967-6EEC-4AFD-9131-1A3F16874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7860" y="823913"/>
                <a:ext cx="304800" cy="171450"/>
              </a:xfrm>
              <a:custGeom>
                <a:avLst/>
                <a:gdLst/>
                <a:ahLst/>
                <a:cxnLst>
                  <a:cxn ang="0">
                    <a:pos x="78" y="174"/>
                  </a:cxn>
                  <a:cxn ang="0">
                    <a:pos x="110" y="166"/>
                  </a:cxn>
                  <a:cxn ang="0">
                    <a:pos x="110" y="174"/>
                  </a:cxn>
                  <a:cxn ang="0">
                    <a:pos x="176" y="164"/>
                  </a:cxn>
                  <a:cxn ang="0">
                    <a:pos x="174" y="172"/>
                  </a:cxn>
                  <a:cxn ang="0">
                    <a:pos x="118" y="192"/>
                  </a:cxn>
                  <a:cxn ang="0">
                    <a:pos x="108" y="204"/>
                  </a:cxn>
                  <a:cxn ang="0">
                    <a:pos x="148" y="238"/>
                  </a:cxn>
                  <a:cxn ang="0">
                    <a:pos x="224" y="268"/>
                  </a:cxn>
                  <a:cxn ang="0">
                    <a:pos x="260" y="262"/>
                  </a:cxn>
                  <a:cxn ang="0">
                    <a:pos x="268" y="252"/>
                  </a:cxn>
                  <a:cxn ang="0">
                    <a:pos x="288" y="260"/>
                  </a:cxn>
                  <a:cxn ang="0">
                    <a:pos x="282" y="242"/>
                  </a:cxn>
                  <a:cxn ang="0">
                    <a:pos x="296" y="246"/>
                  </a:cxn>
                  <a:cxn ang="0">
                    <a:pos x="322" y="266"/>
                  </a:cxn>
                  <a:cxn ang="0">
                    <a:pos x="328" y="246"/>
                  </a:cxn>
                  <a:cxn ang="0">
                    <a:pos x="340" y="234"/>
                  </a:cxn>
                  <a:cxn ang="0">
                    <a:pos x="364" y="230"/>
                  </a:cxn>
                  <a:cxn ang="0">
                    <a:pos x="426" y="192"/>
                  </a:cxn>
                  <a:cxn ang="0">
                    <a:pos x="480" y="174"/>
                  </a:cxn>
                  <a:cxn ang="0">
                    <a:pos x="472" y="166"/>
                  </a:cxn>
                  <a:cxn ang="0">
                    <a:pos x="438" y="146"/>
                  </a:cxn>
                  <a:cxn ang="0">
                    <a:pos x="400" y="146"/>
                  </a:cxn>
                  <a:cxn ang="0">
                    <a:pos x="390" y="142"/>
                  </a:cxn>
                  <a:cxn ang="0">
                    <a:pos x="400" y="122"/>
                  </a:cxn>
                  <a:cxn ang="0">
                    <a:pos x="382" y="108"/>
                  </a:cxn>
                  <a:cxn ang="0">
                    <a:pos x="376" y="86"/>
                  </a:cxn>
                  <a:cxn ang="0">
                    <a:pos x="352" y="78"/>
                  </a:cxn>
                  <a:cxn ang="0">
                    <a:pos x="328" y="90"/>
                  </a:cxn>
                  <a:cxn ang="0">
                    <a:pos x="326" y="102"/>
                  </a:cxn>
                  <a:cxn ang="0">
                    <a:pos x="306" y="92"/>
                  </a:cxn>
                  <a:cxn ang="0">
                    <a:pos x="306" y="74"/>
                  </a:cxn>
                  <a:cxn ang="0">
                    <a:pos x="274" y="68"/>
                  </a:cxn>
                  <a:cxn ang="0">
                    <a:pos x="192" y="20"/>
                  </a:cxn>
                  <a:cxn ang="0">
                    <a:pos x="134" y="0"/>
                  </a:cxn>
                  <a:cxn ang="0">
                    <a:pos x="100" y="4"/>
                  </a:cxn>
                  <a:cxn ang="0">
                    <a:pos x="112" y="20"/>
                  </a:cxn>
                  <a:cxn ang="0">
                    <a:pos x="98" y="28"/>
                  </a:cxn>
                  <a:cxn ang="0">
                    <a:pos x="66" y="32"/>
                  </a:cxn>
                  <a:cxn ang="0">
                    <a:pos x="54" y="54"/>
                  </a:cxn>
                  <a:cxn ang="0">
                    <a:pos x="26" y="76"/>
                  </a:cxn>
                  <a:cxn ang="0">
                    <a:pos x="18" y="92"/>
                  </a:cxn>
                  <a:cxn ang="0">
                    <a:pos x="50" y="100"/>
                  </a:cxn>
                  <a:cxn ang="0">
                    <a:pos x="90" y="104"/>
                  </a:cxn>
                  <a:cxn ang="0">
                    <a:pos x="72" y="112"/>
                  </a:cxn>
                  <a:cxn ang="0">
                    <a:pos x="4" y="106"/>
                  </a:cxn>
                  <a:cxn ang="0">
                    <a:pos x="2" y="116"/>
                  </a:cxn>
                  <a:cxn ang="0">
                    <a:pos x="32" y="148"/>
                  </a:cxn>
                </a:cxnLst>
                <a:rect l="0" t="0" r="r" b="b"/>
                <a:pathLst>
                  <a:path w="480" h="270">
                    <a:moveTo>
                      <a:pt x="54" y="164"/>
                    </a:moveTo>
                    <a:lnTo>
                      <a:pt x="54" y="164"/>
                    </a:lnTo>
                    <a:lnTo>
                      <a:pt x="66" y="172"/>
                    </a:lnTo>
                    <a:lnTo>
                      <a:pt x="78" y="174"/>
                    </a:lnTo>
                    <a:lnTo>
                      <a:pt x="88" y="172"/>
                    </a:lnTo>
                    <a:lnTo>
                      <a:pt x="98" y="170"/>
                    </a:lnTo>
                    <a:lnTo>
                      <a:pt x="108" y="164"/>
                    </a:lnTo>
                    <a:lnTo>
                      <a:pt x="110" y="166"/>
                    </a:lnTo>
                    <a:lnTo>
                      <a:pt x="108" y="170"/>
                    </a:lnTo>
                    <a:lnTo>
                      <a:pt x="108" y="170"/>
                    </a:lnTo>
                    <a:lnTo>
                      <a:pt x="108" y="172"/>
                    </a:lnTo>
                    <a:lnTo>
                      <a:pt x="110" y="174"/>
                    </a:lnTo>
                    <a:lnTo>
                      <a:pt x="116" y="176"/>
                    </a:lnTo>
                    <a:lnTo>
                      <a:pt x="142" y="168"/>
                    </a:lnTo>
                    <a:lnTo>
                      <a:pt x="168" y="162"/>
                    </a:lnTo>
                    <a:lnTo>
                      <a:pt x="176" y="164"/>
                    </a:lnTo>
                    <a:lnTo>
                      <a:pt x="176" y="164"/>
                    </a:lnTo>
                    <a:lnTo>
                      <a:pt x="176" y="168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58" y="180"/>
                    </a:lnTo>
                    <a:lnTo>
                      <a:pt x="130" y="188"/>
                    </a:lnTo>
                    <a:lnTo>
                      <a:pt x="118" y="192"/>
                    </a:lnTo>
                    <a:lnTo>
                      <a:pt x="108" y="196"/>
                    </a:lnTo>
                    <a:lnTo>
                      <a:pt x="104" y="200"/>
                    </a:lnTo>
                    <a:lnTo>
                      <a:pt x="106" y="202"/>
                    </a:lnTo>
                    <a:lnTo>
                      <a:pt x="108" y="204"/>
                    </a:lnTo>
                    <a:lnTo>
                      <a:pt x="108" y="204"/>
                    </a:lnTo>
                    <a:lnTo>
                      <a:pt x="122" y="214"/>
                    </a:lnTo>
                    <a:lnTo>
                      <a:pt x="134" y="226"/>
                    </a:lnTo>
                    <a:lnTo>
                      <a:pt x="148" y="238"/>
                    </a:lnTo>
                    <a:lnTo>
                      <a:pt x="166" y="250"/>
                    </a:lnTo>
                    <a:lnTo>
                      <a:pt x="166" y="250"/>
                    </a:lnTo>
                    <a:lnTo>
                      <a:pt x="194" y="260"/>
                    </a:lnTo>
                    <a:lnTo>
                      <a:pt x="224" y="268"/>
                    </a:lnTo>
                    <a:lnTo>
                      <a:pt x="238" y="270"/>
                    </a:lnTo>
                    <a:lnTo>
                      <a:pt x="250" y="270"/>
                    </a:lnTo>
                    <a:lnTo>
                      <a:pt x="258" y="266"/>
                    </a:lnTo>
                    <a:lnTo>
                      <a:pt x="260" y="262"/>
                    </a:lnTo>
                    <a:lnTo>
                      <a:pt x="262" y="260"/>
                    </a:lnTo>
                    <a:lnTo>
                      <a:pt x="262" y="260"/>
                    </a:lnTo>
                    <a:lnTo>
                      <a:pt x="262" y="254"/>
                    </a:lnTo>
                    <a:lnTo>
                      <a:pt x="268" y="252"/>
                    </a:lnTo>
                    <a:lnTo>
                      <a:pt x="274" y="254"/>
                    </a:lnTo>
                    <a:lnTo>
                      <a:pt x="280" y="256"/>
                    </a:lnTo>
                    <a:lnTo>
                      <a:pt x="284" y="258"/>
                    </a:lnTo>
                    <a:lnTo>
                      <a:pt x="288" y="260"/>
                    </a:lnTo>
                    <a:lnTo>
                      <a:pt x="290" y="258"/>
                    </a:lnTo>
                    <a:lnTo>
                      <a:pt x="286" y="250"/>
                    </a:lnTo>
                    <a:lnTo>
                      <a:pt x="286" y="250"/>
                    </a:lnTo>
                    <a:lnTo>
                      <a:pt x="282" y="242"/>
                    </a:lnTo>
                    <a:lnTo>
                      <a:pt x="280" y="236"/>
                    </a:lnTo>
                    <a:lnTo>
                      <a:pt x="282" y="236"/>
                    </a:lnTo>
                    <a:lnTo>
                      <a:pt x="284" y="236"/>
                    </a:lnTo>
                    <a:lnTo>
                      <a:pt x="296" y="246"/>
                    </a:lnTo>
                    <a:lnTo>
                      <a:pt x="314" y="260"/>
                    </a:lnTo>
                    <a:lnTo>
                      <a:pt x="314" y="260"/>
                    </a:lnTo>
                    <a:lnTo>
                      <a:pt x="320" y="266"/>
                    </a:lnTo>
                    <a:lnTo>
                      <a:pt x="322" y="266"/>
                    </a:lnTo>
                    <a:lnTo>
                      <a:pt x="324" y="266"/>
                    </a:lnTo>
                    <a:lnTo>
                      <a:pt x="326" y="262"/>
                    </a:lnTo>
                    <a:lnTo>
                      <a:pt x="328" y="254"/>
                    </a:lnTo>
                    <a:lnTo>
                      <a:pt x="328" y="246"/>
                    </a:lnTo>
                    <a:lnTo>
                      <a:pt x="330" y="240"/>
                    </a:lnTo>
                    <a:lnTo>
                      <a:pt x="334" y="236"/>
                    </a:lnTo>
                    <a:lnTo>
                      <a:pt x="336" y="234"/>
                    </a:lnTo>
                    <a:lnTo>
                      <a:pt x="340" y="234"/>
                    </a:lnTo>
                    <a:lnTo>
                      <a:pt x="340" y="234"/>
                    </a:lnTo>
                    <a:lnTo>
                      <a:pt x="348" y="236"/>
                    </a:lnTo>
                    <a:lnTo>
                      <a:pt x="356" y="234"/>
                    </a:lnTo>
                    <a:lnTo>
                      <a:pt x="364" y="230"/>
                    </a:lnTo>
                    <a:lnTo>
                      <a:pt x="374" y="226"/>
                    </a:lnTo>
                    <a:lnTo>
                      <a:pt x="414" y="198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40" y="186"/>
                    </a:lnTo>
                    <a:lnTo>
                      <a:pt x="466" y="180"/>
                    </a:lnTo>
                    <a:lnTo>
                      <a:pt x="474" y="176"/>
                    </a:lnTo>
                    <a:lnTo>
                      <a:pt x="480" y="174"/>
                    </a:lnTo>
                    <a:lnTo>
                      <a:pt x="480" y="172"/>
                    </a:lnTo>
                    <a:lnTo>
                      <a:pt x="480" y="170"/>
                    </a:lnTo>
                    <a:lnTo>
                      <a:pt x="472" y="166"/>
                    </a:lnTo>
                    <a:lnTo>
                      <a:pt x="472" y="166"/>
                    </a:lnTo>
                    <a:lnTo>
                      <a:pt x="464" y="162"/>
                    </a:lnTo>
                    <a:lnTo>
                      <a:pt x="456" y="156"/>
                    </a:lnTo>
                    <a:lnTo>
                      <a:pt x="444" y="148"/>
                    </a:lnTo>
                    <a:lnTo>
                      <a:pt x="438" y="146"/>
                    </a:lnTo>
                    <a:lnTo>
                      <a:pt x="430" y="144"/>
                    </a:lnTo>
                    <a:lnTo>
                      <a:pt x="418" y="144"/>
                    </a:lnTo>
                    <a:lnTo>
                      <a:pt x="400" y="146"/>
                    </a:lnTo>
                    <a:lnTo>
                      <a:pt x="400" y="146"/>
                    </a:lnTo>
                    <a:lnTo>
                      <a:pt x="388" y="148"/>
                    </a:lnTo>
                    <a:lnTo>
                      <a:pt x="384" y="148"/>
                    </a:lnTo>
                    <a:lnTo>
                      <a:pt x="386" y="146"/>
                    </a:lnTo>
                    <a:lnTo>
                      <a:pt x="390" y="142"/>
                    </a:lnTo>
                    <a:lnTo>
                      <a:pt x="396" y="136"/>
                    </a:lnTo>
                    <a:lnTo>
                      <a:pt x="400" y="130"/>
                    </a:lnTo>
                    <a:lnTo>
                      <a:pt x="400" y="126"/>
                    </a:lnTo>
                    <a:lnTo>
                      <a:pt x="400" y="122"/>
                    </a:lnTo>
                    <a:lnTo>
                      <a:pt x="396" y="118"/>
                    </a:lnTo>
                    <a:lnTo>
                      <a:pt x="392" y="114"/>
                    </a:lnTo>
                    <a:lnTo>
                      <a:pt x="392" y="114"/>
                    </a:lnTo>
                    <a:lnTo>
                      <a:pt x="382" y="108"/>
                    </a:lnTo>
                    <a:lnTo>
                      <a:pt x="376" y="100"/>
                    </a:lnTo>
                    <a:lnTo>
                      <a:pt x="376" y="96"/>
                    </a:lnTo>
                    <a:lnTo>
                      <a:pt x="376" y="90"/>
                    </a:lnTo>
                    <a:lnTo>
                      <a:pt x="376" y="86"/>
                    </a:lnTo>
                    <a:lnTo>
                      <a:pt x="372" y="82"/>
                    </a:lnTo>
                    <a:lnTo>
                      <a:pt x="366" y="80"/>
                    </a:lnTo>
                    <a:lnTo>
                      <a:pt x="352" y="78"/>
                    </a:lnTo>
                    <a:lnTo>
                      <a:pt x="352" y="78"/>
                    </a:lnTo>
                    <a:lnTo>
                      <a:pt x="338" y="76"/>
                    </a:lnTo>
                    <a:lnTo>
                      <a:pt x="330" y="80"/>
                    </a:lnTo>
                    <a:lnTo>
                      <a:pt x="328" y="84"/>
                    </a:lnTo>
                    <a:lnTo>
                      <a:pt x="328" y="90"/>
                    </a:lnTo>
                    <a:lnTo>
                      <a:pt x="330" y="96"/>
                    </a:lnTo>
                    <a:lnTo>
                      <a:pt x="328" y="100"/>
                    </a:lnTo>
                    <a:lnTo>
                      <a:pt x="328" y="102"/>
                    </a:lnTo>
                    <a:lnTo>
                      <a:pt x="326" y="102"/>
                    </a:lnTo>
                    <a:lnTo>
                      <a:pt x="318" y="100"/>
                    </a:lnTo>
                    <a:lnTo>
                      <a:pt x="318" y="100"/>
                    </a:lnTo>
                    <a:lnTo>
                      <a:pt x="310" y="96"/>
                    </a:lnTo>
                    <a:lnTo>
                      <a:pt x="306" y="92"/>
                    </a:lnTo>
                    <a:lnTo>
                      <a:pt x="306" y="86"/>
                    </a:lnTo>
                    <a:lnTo>
                      <a:pt x="308" y="82"/>
                    </a:lnTo>
                    <a:lnTo>
                      <a:pt x="308" y="78"/>
                    </a:lnTo>
                    <a:lnTo>
                      <a:pt x="306" y="74"/>
                    </a:lnTo>
                    <a:lnTo>
                      <a:pt x="298" y="70"/>
                    </a:lnTo>
                    <a:lnTo>
                      <a:pt x="284" y="70"/>
                    </a:lnTo>
                    <a:lnTo>
                      <a:pt x="284" y="70"/>
                    </a:lnTo>
                    <a:lnTo>
                      <a:pt x="274" y="68"/>
                    </a:lnTo>
                    <a:lnTo>
                      <a:pt x="266" y="66"/>
                    </a:lnTo>
                    <a:lnTo>
                      <a:pt x="248" y="56"/>
                    </a:lnTo>
                    <a:lnTo>
                      <a:pt x="212" y="32"/>
                    </a:lnTo>
                    <a:lnTo>
                      <a:pt x="192" y="20"/>
                    </a:lnTo>
                    <a:lnTo>
                      <a:pt x="170" y="10"/>
                    </a:lnTo>
                    <a:lnTo>
                      <a:pt x="158" y="6"/>
                    </a:lnTo>
                    <a:lnTo>
                      <a:pt x="146" y="2"/>
                    </a:lnTo>
                    <a:lnTo>
                      <a:pt x="134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4" y="2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08" y="14"/>
                    </a:lnTo>
                    <a:lnTo>
                      <a:pt x="112" y="20"/>
                    </a:lnTo>
                    <a:lnTo>
                      <a:pt x="114" y="24"/>
                    </a:lnTo>
                    <a:lnTo>
                      <a:pt x="114" y="24"/>
                    </a:lnTo>
                    <a:lnTo>
                      <a:pt x="110" y="26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82" y="28"/>
                    </a:lnTo>
                    <a:lnTo>
                      <a:pt x="70" y="30"/>
                    </a:lnTo>
                    <a:lnTo>
                      <a:pt x="66" y="32"/>
                    </a:lnTo>
                    <a:lnTo>
                      <a:pt x="64" y="36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4" y="54"/>
                    </a:lnTo>
                    <a:lnTo>
                      <a:pt x="52" y="58"/>
                    </a:lnTo>
                    <a:lnTo>
                      <a:pt x="42" y="64"/>
                    </a:lnTo>
                    <a:lnTo>
                      <a:pt x="32" y="72"/>
                    </a:lnTo>
                    <a:lnTo>
                      <a:pt x="26" y="76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8" y="92"/>
                    </a:lnTo>
                    <a:lnTo>
                      <a:pt x="20" y="94"/>
                    </a:lnTo>
                    <a:lnTo>
                      <a:pt x="24" y="96"/>
                    </a:lnTo>
                    <a:lnTo>
                      <a:pt x="34" y="98"/>
                    </a:lnTo>
                    <a:lnTo>
                      <a:pt x="50" y="100"/>
                    </a:lnTo>
                    <a:lnTo>
                      <a:pt x="78" y="102"/>
                    </a:lnTo>
                    <a:lnTo>
                      <a:pt x="86" y="102"/>
                    </a:lnTo>
                    <a:lnTo>
                      <a:pt x="88" y="102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6" y="108"/>
                    </a:lnTo>
                    <a:lnTo>
                      <a:pt x="82" y="110"/>
                    </a:lnTo>
                    <a:lnTo>
                      <a:pt x="72" y="112"/>
                    </a:lnTo>
                    <a:lnTo>
                      <a:pt x="58" y="112"/>
                    </a:lnTo>
                    <a:lnTo>
                      <a:pt x="42" y="110"/>
                    </a:lnTo>
                    <a:lnTo>
                      <a:pt x="14" y="106"/>
                    </a:lnTo>
                    <a:lnTo>
                      <a:pt x="4" y="106"/>
                    </a:lnTo>
                    <a:lnTo>
                      <a:pt x="2" y="108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2" y="116"/>
                    </a:lnTo>
                    <a:lnTo>
                      <a:pt x="4" y="122"/>
                    </a:lnTo>
                    <a:lnTo>
                      <a:pt x="8" y="128"/>
                    </a:lnTo>
                    <a:lnTo>
                      <a:pt x="14" y="134"/>
                    </a:lnTo>
                    <a:lnTo>
                      <a:pt x="32" y="148"/>
                    </a:lnTo>
                    <a:lnTo>
                      <a:pt x="54" y="164"/>
                    </a:lnTo>
                    <a:lnTo>
                      <a:pt x="54" y="1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54" name="Полилиния 6088">
                <a:extLst>
                  <a:ext uri="{FF2B5EF4-FFF2-40B4-BE49-F238E27FC236}">
                    <a16:creationId xmlns:a16="http://schemas.microsoft.com/office/drawing/2014/main" xmlns="" id="{2ABE98AD-A4F7-435A-B946-E75DA0DD9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580" y="1206183"/>
                <a:ext cx="734060" cy="539750"/>
              </a:xfrm>
              <a:custGeom>
                <a:avLst/>
                <a:gdLst/>
                <a:ahLst/>
                <a:cxnLst>
                  <a:cxn ang="0">
                    <a:pos x="1088" y="504"/>
                  </a:cxn>
                  <a:cxn ang="0">
                    <a:pos x="1060" y="480"/>
                  </a:cxn>
                  <a:cxn ang="0">
                    <a:pos x="960" y="426"/>
                  </a:cxn>
                  <a:cxn ang="0">
                    <a:pos x="890" y="396"/>
                  </a:cxn>
                  <a:cxn ang="0">
                    <a:pos x="890" y="348"/>
                  </a:cxn>
                  <a:cxn ang="0">
                    <a:pos x="926" y="328"/>
                  </a:cxn>
                  <a:cxn ang="0">
                    <a:pos x="926" y="298"/>
                  </a:cxn>
                  <a:cxn ang="0">
                    <a:pos x="846" y="276"/>
                  </a:cxn>
                  <a:cxn ang="0">
                    <a:pos x="844" y="232"/>
                  </a:cxn>
                  <a:cxn ang="0">
                    <a:pos x="782" y="204"/>
                  </a:cxn>
                  <a:cxn ang="0">
                    <a:pos x="706" y="174"/>
                  </a:cxn>
                  <a:cxn ang="0">
                    <a:pos x="642" y="134"/>
                  </a:cxn>
                  <a:cxn ang="0">
                    <a:pos x="560" y="98"/>
                  </a:cxn>
                  <a:cxn ang="0">
                    <a:pos x="462" y="112"/>
                  </a:cxn>
                  <a:cxn ang="0">
                    <a:pos x="404" y="110"/>
                  </a:cxn>
                  <a:cxn ang="0">
                    <a:pos x="388" y="90"/>
                  </a:cxn>
                  <a:cxn ang="0">
                    <a:pos x="352" y="18"/>
                  </a:cxn>
                  <a:cxn ang="0">
                    <a:pos x="200" y="50"/>
                  </a:cxn>
                  <a:cxn ang="0">
                    <a:pos x="174" y="84"/>
                  </a:cxn>
                  <a:cxn ang="0">
                    <a:pos x="168" y="138"/>
                  </a:cxn>
                  <a:cxn ang="0">
                    <a:pos x="222" y="180"/>
                  </a:cxn>
                  <a:cxn ang="0">
                    <a:pos x="150" y="122"/>
                  </a:cxn>
                  <a:cxn ang="0">
                    <a:pos x="188" y="26"/>
                  </a:cxn>
                  <a:cxn ang="0">
                    <a:pos x="116" y="8"/>
                  </a:cxn>
                  <a:cxn ang="0">
                    <a:pos x="18" y="90"/>
                  </a:cxn>
                  <a:cxn ang="0">
                    <a:pos x="58" y="196"/>
                  </a:cxn>
                  <a:cxn ang="0">
                    <a:pos x="40" y="216"/>
                  </a:cxn>
                  <a:cxn ang="0">
                    <a:pos x="118" y="270"/>
                  </a:cxn>
                  <a:cxn ang="0">
                    <a:pos x="234" y="288"/>
                  </a:cxn>
                  <a:cxn ang="0">
                    <a:pos x="336" y="290"/>
                  </a:cxn>
                  <a:cxn ang="0">
                    <a:pos x="358" y="284"/>
                  </a:cxn>
                  <a:cxn ang="0">
                    <a:pos x="462" y="284"/>
                  </a:cxn>
                  <a:cxn ang="0">
                    <a:pos x="498" y="274"/>
                  </a:cxn>
                  <a:cxn ang="0">
                    <a:pos x="580" y="338"/>
                  </a:cxn>
                  <a:cxn ang="0">
                    <a:pos x="538" y="376"/>
                  </a:cxn>
                  <a:cxn ang="0">
                    <a:pos x="654" y="402"/>
                  </a:cxn>
                  <a:cxn ang="0">
                    <a:pos x="712" y="474"/>
                  </a:cxn>
                  <a:cxn ang="0">
                    <a:pos x="640" y="558"/>
                  </a:cxn>
                  <a:cxn ang="0">
                    <a:pos x="628" y="608"/>
                  </a:cxn>
                  <a:cxn ang="0">
                    <a:pos x="510" y="624"/>
                  </a:cxn>
                  <a:cxn ang="0">
                    <a:pos x="514" y="688"/>
                  </a:cxn>
                  <a:cxn ang="0">
                    <a:pos x="616" y="688"/>
                  </a:cxn>
                  <a:cxn ang="0">
                    <a:pos x="656" y="674"/>
                  </a:cxn>
                  <a:cxn ang="0">
                    <a:pos x="736" y="724"/>
                  </a:cxn>
                  <a:cxn ang="0">
                    <a:pos x="732" y="752"/>
                  </a:cxn>
                  <a:cxn ang="0">
                    <a:pos x="854" y="818"/>
                  </a:cxn>
                  <a:cxn ang="0">
                    <a:pos x="966" y="822"/>
                  </a:cxn>
                  <a:cxn ang="0">
                    <a:pos x="854" y="724"/>
                  </a:cxn>
                  <a:cxn ang="0">
                    <a:pos x="908" y="744"/>
                  </a:cxn>
                  <a:cxn ang="0">
                    <a:pos x="1012" y="814"/>
                  </a:cxn>
                  <a:cxn ang="0">
                    <a:pos x="1018" y="766"/>
                  </a:cxn>
                  <a:cxn ang="0">
                    <a:pos x="1022" y="724"/>
                  </a:cxn>
                  <a:cxn ang="0">
                    <a:pos x="1000" y="694"/>
                  </a:cxn>
                  <a:cxn ang="0">
                    <a:pos x="942" y="632"/>
                  </a:cxn>
                  <a:cxn ang="0">
                    <a:pos x="890" y="586"/>
                  </a:cxn>
                  <a:cxn ang="0">
                    <a:pos x="902" y="544"/>
                  </a:cxn>
                  <a:cxn ang="0">
                    <a:pos x="942" y="544"/>
                  </a:cxn>
                  <a:cxn ang="0">
                    <a:pos x="990" y="580"/>
                  </a:cxn>
                  <a:cxn ang="0">
                    <a:pos x="1070" y="648"/>
                  </a:cxn>
                  <a:cxn ang="0">
                    <a:pos x="1102" y="596"/>
                  </a:cxn>
                  <a:cxn ang="0">
                    <a:pos x="1128" y="568"/>
                  </a:cxn>
                  <a:cxn ang="0">
                    <a:pos x="1148" y="514"/>
                  </a:cxn>
                </a:cxnLst>
                <a:rect l="0" t="0" r="r" b="b"/>
                <a:pathLst>
                  <a:path w="1156" h="850">
                    <a:moveTo>
                      <a:pt x="1148" y="514"/>
                    </a:moveTo>
                    <a:lnTo>
                      <a:pt x="1148" y="514"/>
                    </a:lnTo>
                    <a:lnTo>
                      <a:pt x="1144" y="506"/>
                    </a:lnTo>
                    <a:lnTo>
                      <a:pt x="1138" y="502"/>
                    </a:lnTo>
                    <a:lnTo>
                      <a:pt x="1134" y="500"/>
                    </a:lnTo>
                    <a:lnTo>
                      <a:pt x="1128" y="498"/>
                    </a:lnTo>
                    <a:lnTo>
                      <a:pt x="1116" y="498"/>
                    </a:lnTo>
                    <a:lnTo>
                      <a:pt x="1106" y="502"/>
                    </a:lnTo>
                    <a:lnTo>
                      <a:pt x="1096" y="506"/>
                    </a:lnTo>
                    <a:lnTo>
                      <a:pt x="1090" y="508"/>
                    </a:lnTo>
                    <a:lnTo>
                      <a:pt x="1088" y="506"/>
                    </a:lnTo>
                    <a:lnTo>
                      <a:pt x="1088" y="504"/>
                    </a:lnTo>
                    <a:lnTo>
                      <a:pt x="1090" y="496"/>
                    </a:lnTo>
                    <a:lnTo>
                      <a:pt x="1090" y="496"/>
                    </a:lnTo>
                    <a:lnTo>
                      <a:pt x="1092" y="486"/>
                    </a:lnTo>
                    <a:lnTo>
                      <a:pt x="1090" y="482"/>
                    </a:lnTo>
                    <a:lnTo>
                      <a:pt x="1088" y="480"/>
                    </a:lnTo>
                    <a:lnTo>
                      <a:pt x="1084" y="480"/>
                    </a:lnTo>
                    <a:lnTo>
                      <a:pt x="1076" y="482"/>
                    </a:lnTo>
                    <a:lnTo>
                      <a:pt x="1062" y="486"/>
                    </a:lnTo>
                    <a:lnTo>
                      <a:pt x="1060" y="486"/>
                    </a:lnTo>
                    <a:lnTo>
                      <a:pt x="1058" y="486"/>
                    </a:lnTo>
                    <a:lnTo>
                      <a:pt x="1060" y="480"/>
                    </a:lnTo>
                    <a:lnTo>
                      <a:pt x="1060" y="480"/>
                    </a:lnTo>
                    <a:lnTo>
                      <a:pt x="1062" y="472"/>
                    </a:lnTo>
                    <a:lnTo>
                      <a:pt x="1062" y="466"/>
                    </a:lnTo>
                    <a:lnTo>
                      <a:pt x="1060" y="462"/>
                    </a:lnTo>
                    <a:lnTo>
                      <a:pt x="1056" y="458"/>
                    </a:lnTo>
                    <a:lnTo>
                      <a:pt x="1042" y="450"/>
                    </a:lnTo>
                    <a:lnTo>
                      <a:pt x="1022" y="436"/>
                    </a:lnTo>
                    <a:lnTo>
                      <a:pt x="1022" y="436"/>
                    </a:lnTo>
                    <a:lnTo>
                      <a:pt x="1010" y="430"/>
                    </a:lnTo>
                    <a:lnTo>
                      <a:pt x="996" y="428"/>
                    </a:lnTo>
                    <a:lnTo>
                      <a:pt x="984" y="426"/>
                    </a:lnTo>
                    <a:lnTo>
                      <a:pt x="970" y="426"/>
                    </a:lnTo>
                    <a:lnTo>
                      <a:pt x="960" y="426"/>
                    </a:lnTo>
                    <a:lnTo>
                      <a:pt x="950" y="424"/>
                    </a:lnTo>
                    <a:lnTo>
                      <a:pt x="944" y="420"/>
                    </a:lnTo>
                    <a:lnTo>
                      <a:pt x="942" y="416"/>
                    </a:lnTo>
                    <a:lnTo>
                      <a:pt x="940" y="410"/>
                    </a:lnTo>
                    <a:lnTo>
                      <a:pt x="940" y="410"/>
                    </a:lnTo>
                    <a:lnTo>
                      <a:pt x="938" y="406"/>
                    </a:lnTo>
                    <a:lnTo>
                      <a:pt x="936" y="402"/>
                    </a:lnTo>
                    <a:lnTo>
                      <a:pt x="930" y="400"/>
                    </a:lnTo>
                    <a:lnTo>
                      <a:pt x="926" y="398"/>
                    </a:lnTo>
                    <a:lnTo>
                      <a:pt x="914" y="396"/>
                    </a:lnTo>
                    <a:lnTo>
                      <a:pt x="900" y="396"/>
                    </a:lnTo>
                    <a:lnTo>
                      <a:pt x="890" y="396"/>
                    </a:lnTo>
                    <a:lnTo>
                      <a:pt x="882" y="394"/>
                    </a:lnTo>
                    <a:lnTo>
                      <a:pt x="882" y="394"/>
                    </a:lnTo>
                    <a:lnTo>
                      <a:pt x="882" y="392"/>
                    </a:lnTo>
                    <a:lnTo>
                      <a:pt x="890" y="384"/>
                    </a:lnTo>
                    <a:lnTo>
                      <a:pt x="890" y="384"/>
                    </a:lnTo>
                    <a:lnTo>
                      <a:pt x="896" y="380"/>
                    </a:lnTo>
                    <a:lnTo>
                      <a:pt x="900" y="376"/>
                    </a:lnTo>
                    <a:lnTo>
                      <a:pt x="902" y="372"/>
                    </a:lnTo>
                    <a:lnTo>
                      <a:pt x="902" y="366"/>
                    </a:lnTo>
                    <a:lnTo>
                      <a:pt x="900" y="360"/>
                    </a:lnTo>
                    <a:lnTo>
                      <a:pt x="894" y="352"/>
                    </a:lnTo>
                    <a:lnTo>
                      <a:pt x="890" y="348"/>
                    </a:lnTo>
                    <a:lnTo>
                      <a:pt x="888" y="344"/>
                    </a:lnTo>
                    <a:lnTo>
                      <a:pt x="890" y="344"/>
                    </a:lnTo>
                    <a:lnTo>
                      <a:pt x="902" y="346"/>
                    </a:lnTo>
                    <a:lnTo>
                      <a:pt x="902" y="346"/>
                    </a:lnTo>
                    <a:lnTo>
                      <a:pt x="916" y="348"/>
                    </a:lnTo>
                    <a:lnTo>
                      <a:pt x="928" y="348"/>
                    </a:lnTo>
                    <a:lnTo>
                      <a:pt x="938" y="346"/>
                    </a:lnTo>
                    <a:lnTo>
                      <a:pt x="942" y="342"/>
                    </a:lnTo>
                    <a:lnTo>
                      <a:pt x="944" y="340"/>
                    </a:lnTo>
                    <a:lnTo>
                      <a:pt x="944" y="338"/>
                    </a:lnTo>
                    <a:lnTo>
                      <a:pt x="938" y="334"/>
                    </a:lnTo>
                    <a:lnTo>
                      <a:pt x="926" y="328"/>
                    </a:lnTo>
                    <a:lnTo>
                      <a:pt x="906" y="324"/>
                    </a:lnTo>
                    <a:lnTo>
                      <a:pt x="906" y="324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80" y="316"/>
                    </a:lnTo>
                    <a:lnTo>
                      <a:pt x="900" y="312"/>
                    </a:lnTo>
                    <a:lnTo>
                      <a:pt x="910" y="308"/>
                    </a:lnTo>
                    <a:lnTo>
                      <a:pt x="920" y="304"/>
                    </a:lnTo>
                    <a:lnTo>
                      <a:pt x="920" y="304"/>
                    </a:lnTo>
                    <a:lnTo>
                      <a:pt x="924" y="300"/>
                    </a:lnTo>
                    <a:lnTo>
                      <a:pt x="926" y="298"/>
                    </a:lnTo>
                    <a:lnTo>
                      <a:pt x="926" y="294"/>
                    </a:lnTo>
                    <a:lnTo>
                      <a:pt x="926" y="290"/>
                    </a:lnTo>
                    <a:lnTo>
                      <a:pt x="922" y="284"/>
                    </a:lnTo>
                    <a:lnTo>
                      <a:pt x="914" y="278"/>
                    </a:lnTo>
                    <a:lnTo>
                      <a:pt x="904" y="272"/>
                    </a:lnTo>
                    <a:lnTo>
                      <a:pt x="894" y="268"/>
                    </a:lnTo>
                    <a:lnTo>
                      <a:pt x="88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72" y="274"/>
                    </a:lnTo>
                    <a:lnTo>
                      <a:pt x="864" y="276"/>
                    </a:lnTo>
                    <a:lnTo>
                      <a:pt x="846" y="276"/>
                    </a:lnTo>
                    <a:lnTo>
                      <a:pt x="842" y="276"/>
                    </a:lnTo>
                    <a:lnTo>
                      <a:pt x="840" y="274"/>
                    </a:lnTo>
                    <a:lnTo>
                      <a:pt x="842" y="270"/>
                    </a:lnTo>
                    <a:lnTo>
                      <a:pt x="852" y="266"/>
                    </a:lnTo>
                    <a:lnTo>
                      <a:pt x="852" y="266"/>
                    </a:lnTo>
                    <a:lnTo>
                      <a:pt x="874" y="258"/>
                    </a:lnTo>
                    <a:lnTo>
                      <a:pt x="880" y="254"/>
                    </a:lnTo>
                    <a:lnTo>
                      <a:pt x="882" y="252"/>
                    </a:lnTo>
                    <a:lnTo>
                      <a:pt x="878" y="248"/>
                    </a:lnTo>
                    <a:lnTo>
                      <a:pt x="872" y="244"/>
                    </a:lnTo>
                    <a:lnTo>
                      <a:pt x="844" y="232"/>
                    </a:lnTo>
                    <a:lnTo>
                      <a:pt x="844" y="232"/>
                    </a:lnTo>
                    <a:lnTo>
                      <a:pt x="826" y="226"/>
                    </a:lnTo>
                    <a:lnTo>
                      <a:pt x="812" y="226"/>
                    </a:lnTo>
                    <a:lnTo>
                      <a:pt x="802" y="228"/>
                    </a:lnTo>
                    <a:lnTo>
                      <a:pt x="794" y="230"/>
                    </a:lnTo>
                    <a:lnTo>
                      <a:pt x="790" y="232"/>
                    </a:lnTo>
                    <a:lnTo>
                      <a:pt x="786" y="232"/>
                    </a:lnTo>
                    <a:lnTo>
                      <a:pt x="786" y="230"/>
                    </a:lnTo>
                    <a:lnTo>
                      <a:pt x="786" y="220"/>
                    </a:lnTo>
                    <a:lnTo>
                      <a:pt x="786" y="220"/>
                    </a:lnTo>
                    <a:lnTo>
                      <a:pt x="788" y="210"/>
                    </a:lnTo>
                    <a:lnTo>
                      <a:pt x="784" y="206"/>
                    </a:lnTo>
                    <a:lnTo>
                      <a:pt x="782" y="204"/>
                    </a:lnTo>
                    <a:lnTo>
                      <a:pt x="776" y="204"/>
                    </a:lnTo>
                    <a:lnTo>
                      <a:pt x="768" y="206"/>
                    </a:lnTo>
                    <a:lnTo>
                      <a:pt x="764" y="204"/>
                    </a:lnTo>
                    <a:lnTo>
                      <a:pt x="762" y="198"/>
                    </a:lnTo>
                    <a:lnTo>
                      <a:pt x="762" y="198"/>
                    </a:lnTo>
                    <a:lnTo>
                      <a:pt x="762" y="190"/>
                    </a:lnTo>
                    <a:lnTo>
                      <a:pt x="756" y="184"/>
                    </a:lnTo>
                    <a:lnTo>
                      <a:pt x="748" y="178"/>
                    </a:lnTo>
                    <a:lnTo>
                      <a:pt x="738" y="174"/>
                    </a:lnTo>
                    <a:lnTo>
                      <a:pt x="728" y="170"/>
                    </a:lnTo>
                    <a:lnTo>
                      <a:pt x="716" y="170"/>
                    </a:lnTo>
                    <a:lnTo>
                      <a:pt x="706" y="174"/>
                    </a:lnTo>
                    <a:lnTo>
                      <a:pt x="696" y="182"/>
                    </a:lnTo>
                    <a:lnTo>
                      <a:pt x="696" y="182"/>
                    </a:lnTo>
                    <a:lnTo>
                      <a:pt x="686" y="190"/>
                    </a:lnTo>
                    <a:lnTo>
                      <a:pt x="680" y="192"/>
                    </a:lnTo>
                    <a:lnTo>
                      <a:pt x="674" y="190"/>
                    </a:lnTo>
                    <a:lnTo>
                      <a:pt x="670" y="186"/>
                    </a:lnTo>
                    <a:lnTo>
                      <a:pt x="666" y="178"/>
                    </a:lnTo>
                    <a:lnTo>
                      <a:pt x="662" y="168"/>
                    </a:lnTo>
                    <a:lnTo>
                      <a:pt x="652" y="148"/>
                    </a:lnTo>
                    <a:lnTo>
                      <a:pt x="652" y="148"/>
                    </a:lnTo>
                    <a:lnTo>
                      <a:pt x="648" y="138"/>
                    </a:lnTo>
                    <a:lnTo>
                      <a:pt x="642" y="134"/>
                    </a:lnTo>
                    <a:lnTo>
                      <a:pt x="638" y="134"/>
                    </a:lnTo>
                    <a:lnTo>
                      <a:pt x="632" y="134"/>
                    </a:lnTo>
                    <a:lnTo>
                      <a:pt x="628" y="134"/>
                    </a:lnTo>
                    <a:lnTo>
                      <a:pt x="622" y="134"/>
                    </a:lnTo>
                    <a:lnTo>
                      <a:pt x="616" y="128"/>
                    </a:lnTo>
                    <a:lnTo>
                      <a:pt x="610" y="120"/>
                    </a:lnTo>
                    <a:lnTo>
                      <a:pt x="610" y="120"/>
                    </a:lnTo>
                    <a:lnTo>
                      <a:pt x="602" y="110"/>
                    </a:lnTo>
                    <a:lnTo>
                      <a:pt x="594" y="104"/>
                    </a:lnTo>
                    <a:lnTo>
                      <a:pt x="586" y="100"/>
                    </a:lnTo>
                    <a:lnTo>
                      <a:pt x="578" y="100"/>
                    </a:lnTo>
                    <a:lnTo>
                      <a:pt x="560" y="98"/>
                    </a:lnTo>
                    <a:lnTo>
                      <a:pt x="552" y="98"/>
                    </a:lnTo>
                    <a:lnTo>
                      <a:pt x="546" y="94"/>
                    </a:lnTo>
                    <a:lnTo>
                      <a:pt x="546" y="94"/>
                    </a:lnTo>
                    <a:lnTo>
                      <a:pt x="528" y="88"/>
                    </a:lnTo>
                    <a:lnTo>
                      <a:pt x="518" y="84"/>
                    </a:lnTo>
                    <a:lnTo>
                      <a:pt x="506" y="82"/>
                    </a:lnTo>
                    <a:lnTo>
                      <a:pt x="494" y="84"/>
                    </a:lnTo>
                    <a:lnTo>
                      <a:pt x="484" y="88"/>
                    </a:lnTo>
                    <a:lnTo>
                      <a:pt x="474" y="94"/>
                    </a:lnTo>
                    <a:lnTo>
                      <a:pt x="466" y="106"/>
                    </a:lnTo>
                    <a:lnTo>
                      <a:pt x="466" y="106"/>
                    </a:lnTo>
                    <a:lnTo>
                      <a:pt x="462" y="112"/>
                    </a:lnTo>
                    <a:lnTo>
                      <a:pt x="460" y="116"/>
                    </a:lnTo>
                    <a:lnTo>
                      <a:pt x="456" y="118"/>
                    </a:lnTo>
                    <a:lnTo>
                      <a:pt x="452" y="118"/>
                    </a:lnTo>
                    <a:lnTo>
                      <a:pt x="444" y="116"/>
                    </a:lnTo>
                    <a:lnTo>
                      <a:pt x="436" y="112"/>
                    </a:lnTo>
                    <a:lnTo>
                      <a:pt x="428" y="106"/>
                    </a:lnTo>
                    <a:lnTo>
                      <a:pt x="420" y="104"/>
                    </a:lnTo>
                    <a:lnTo>
                      <a:pt x="416" y="102"/>
                    </a:lnTo>
                    <a:lnTo>
                      <a:pt x="412" y="104"/>
                    </a:lnTo>
                    <a:lnTo>
                      <a:pt x="408" y="106"/>
                    </a:lnTo>
                    <a:lnTo>
                      <a:pt x="404" y="110"/>
                    </a:lnTo>
                    <a:lnTo>
                      <a:pt x="404" y="110"/>
                    </a:lnTo>
                    <a:lnTo>
                      <a:pt x="396" y="118"/>
                    </a:lnTo>
                    <a:lnTo>
                      <a:pt x="388" y="124"/>
                    </a:lnTo>
                    <a:lnTo>
                      <a:pt x="380" y="130"/>
                    </a:lnTo>
                    <a:lnTo>
                      <a:pt x="376" y="132"/>
                    </a:lnTo>
                    <a:lnTo>
                      <a:pt x="372" y="132"/>
                    </a:lnTo>
                    <a:lnTo>
                      <a:pt x="370" y="130"/>
                    </a:lnTo>
                    <a:lnTo>
                      <a:pt x="372" y="126"/>
                    </a:lnTo>
                    <a:lnTo>
                      <a:pt x="376" y="118"/>
                    </a:lnTo>
                    <a:lnTo>
                      <a:pt x="376" y="118"/>
                    </a:lnTo>
                    <a:lnTo>
                      <a:pt x="382" y="110"/>
                    </a:lnTo>
                    <a:lnTo>
                      <a:pt x="386" y="100"/>
                    </a:lnTo>
                    <a:lnTo>
                      <a:pt x="388" y="90"/>
                    </a:lnTo>
                    <a:lnTo>
                      <a:pt x="388" y="82"/>
                    </a:lnTo>
                    <a:lnTo>
                      <a:pt x="386" y="72"/>
                    </a:lnTo>
                    <a:lnTo>
                      <a:pt x="382" y="64"/>
                    </a:lnTo>
                    <a:lnTo>
                      <a:pt x="376" y="58"/>
                    </a:lnTo>
                    <a:lnTo>
                      <a:pt x="368" y="54"/>
                    </a:lnTo>
                    <a:lnTo>
                      <a:pt x="368" y="54"/>
                    </a:lnTo>
                    <a:lnTo>
                      <a:pt x="360" y="50"/>
                    </a:lnTo>
                    <a:lnTo>
                      <a:pt x="356" y="44"/>
                    </a:lnTo>
                    <a:lnTo>
                      <a:pt x="356" y="38"/>
                    </a:lnTo>
                    <a:lnTo>
                      <a:pt x="354" y="32"/>
                    </a:lnTo>
                    <a:lnTo>
                      <a:pt x="354" y="24"/>
                    </a:lnTo>
                    <a:lnTo>
                      <a:pt x="352" y="18"/>
                    </a:lnTo>
                    <a:lnTo>
                      <a:pt x="346" y="14"/>
                    </a:lnTo>
                    <a:lnTo>
                      <a:pt x="338" y="12"/>
                    </a:lnTo>
                    <a:lnTo>
                      <a:pt x="338" y="12"/>
                    </a:lnTo>
                    <a:lnTo>
                      <a:pt x="326" y="10"/>
                    </a:lnTo>
                    <a:lnTo>
                      <a:pt x="306" y="12"/>
                    </a:lnTo>
                    <a:lnTo>
                      <a:pt x="282" y="14"/>
                    </a:lnTo>
                    <a:lnTo>
                      <a:pt x="260" y="18"/>
                    </a:lnTo>
                    <a:lnTo>
                      <a:pt x="236" y="24"/>
                    </a:lnTo>
                    <a:lnTo>
                      <a:pt x="218" y="32"/>
                    </a:lnTo>
                    <a:lnTo>
                      <a:pt x="210" y="38"/>
                    </a:lnTo>
                    <a:lnTo>
                      <a:pt x="204" y="44"/>
                    </a:lnTo>
                    <a:lnTo>
                      <a:pt x="200" y="50"/>
                    </a:lnTo>
                    <a:lnTo>
                      <a:pt x="198" y="56"/>
                    </a:lnTo>
                    <a:lnTo>
                      <a:pt x="198" y="56"/>
                    </a:lnTo>
                    <a:lnTo>
                      <a:pt x="198" y="62"/>
                    </a:lnTo>
                    <a:lnTo>
                      <a:pt x="196" y="66"/>
                    </a:lnTo>
                    <a:lnTo>
                      <a:pt x="194" y="68"/>
                    </a:lnTo>
                    <a:lnTo>
                      <a:pt x="192" y="70"/>
                    </a:lnTo>
                    <a:lnTo>
                      <a:pt x="186" y="72"/>
                    </a:lnTo>
                    <a:lnTo>
                      <a:pt x="178" y="70"/>
                    </a:lnTo>
                    <a:lnTo>
                      <a:pt x="174" y="72"/>
                    </a:lnTo>
                    <a:lnTo>
                      <a:pt x="172" y="72"/>
                    </a:lnTo>
                    <a:lnTo>
                      <a:pt x="172" y="74"/>
                    </a:lnTo>
                    <a:lnTo>
                      <a:pt x="174" y="84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8" y="116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8" y="130"/>
                    </a:lnTo>
                    <a:lnTo>
                      <a:pt x="184" y="130"/>
                    </a:lnTo>
                    <a:lnTo>
                      <a:pt x="180" y="132"/>
                    </a:lnTo>
                    <a:lnTo>
                      <a:pt x="174" y="132"/>
                    </a:lnTo>
                    <a:lnTo>
                      <a:pt x="168" y="134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74" y="148"/>
                    </a:lnTo>
                    <a:lnTo>
                      <a:pt x="174" y="148"/>
                    </a:lnTo>
                    <a:lnTo>
                      <a:pt x="184" y="158"/>
                    </a:lnTo>
                    <a:lnTo>
                      <a:pt x="192" y="164"/>
                    </a:lnTo>
                    <a:lnTo>
                      <a:pt x="200" y="166"/>
                    </a:lnTo>
                    <a:lnTo>
                      <a:pt x="208" y="166"/>
                    </a:lnTo>
                    <a:lnTo>
                      <a:pt x="212" y="164"/>
                    </a:lnTo>
                    <a:lnTo>
                      <a:pt x="218" y="166"/>
                    </a:lnTo>
                    <a:lnTo>
                      <a:pt x="220" y="168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80"/>
                    </a:lnTo>
                    <a:lnTo>
                      <a:pt x="220" y="182"/>
                    </a:lnTo>
                    <a:lnTo>
                      <a:pt x="216" y="184"/>
                    </a:lnTo>
                    <a:lnTo>
                      <a:pt x="210" y="184"/>
                    </a:lnTo>
                    <a:lnTo>
                      <a:pt x="196" y="180"/>
                    </a:lnTo>
                    <a:lnTo>
                      <a:pt x="180" y="174"/>
                    </a:lnTo>
                    <a:lnTo>
                      <a:pt x="164" y="164"/>
                    </a:lnTo>
                    <a:lnTo>
                      <a:pt x="152" y="150"/>
                    </a:lnTo>
                    <a:lnTo>
                      <a:pt x="148" y="144"/>
                    </a:lnTo>
                    <a:lnTo>
                      <a:pt x="146" y="136"/>
                    </a:lnTo>
                    <a:lnTo>
                      <a:pt x="146" y="130"/>
                    </a:lnTo>
                    <a:lnTo>
                      <a:pt x="150" y="122"/>
                    </a:lnTo>
                    <a:lnTo>
                      <a:pt x="150" y="122"/>
                    </a:lnTo>
                    <a:lnTo>
                      <a:pt x="154" y="110"/>
                    </a:lnTo>
                    <a:lnTo>
                      <a:pt x="152" y="102"/>
                    </a:lnTo>
                    <a:lnTo>
                      <a:pt x="150" y="98"/>
                    </a:lnTo>
                    <a:lnTo>
                      <a:pt x="144" y="94"/>
                    </a:lnTo>
                    <a:lnTo>
                      <a:pt x="142" y="90"/>
                    </a:lnTo>
                    <a:lnTo>
                      <a:pt x="140" y="84"/>
                    </a:lnTo>
                    <a:lnTo>
                      <a:pt x="144" y="74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68" y="44"/>
                    </a:lnTo>
                    <a:lnTo>
                      <a:pt x="180" y="34"/>
                    </a:lnTo>
                    <a:lnTo>
                      <a:pt x="188" y="26"/>
                    </a:lnTo>
                    <a:lnTo>
                      <a:pt x="198" y="22"/>
                    </a:lnTo>
                    <a:lnTo>
                      <a:pt x="208" y="16"/>
                    </a:lnTo>
                    <a:lnTo>
                      <a:pt x="212" y="14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2" y="8"/>
                    </a:lnTo>
                    <a:lnTo>
                      <a:pt x="210" y="6"/>
                    </a:lnTo>
                    <a:lnTo>
                      <a:pt x="200" y="2"/>
                    </a:lnTo>
                    <a:lnTo>
                      <a:pt x="184" y="0"/>
                    </a:lnTo>
                    <a:lnTo>
                      <a:pt x="164" y="0"/>
                    </a:lnTo>
                    <a:lnTo>
                      <a:pt x="140" y="2"/>
                    </a:lnTo>
                    <a:lnTo>
                      <a:pt x="116" y="8"/>
                    </a:lnTo>
                    <a:lnTo>
                      <a:pt x="92" y="1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52" y="38"/>
                    </a:lnTo>
                    <a:lnTo>
                      <a:pt x="40" y="48"/>
                    </a:lnTo>
                    <a:lnTo>
                      <a:pt x="34" y="56"/>
                    </a:lnTo>
                    <a:lnTo>
                      <a:pt x="32" y="62"/>
                    </a:lnTo>
                    <a:lnTo>
                      <a:pt x="30" y="72"/>
                    </a:lnTo>
                    <a:lnTo>
                      <a:pt x="28" y="76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18" y="90"/>
                    </a:lnTo>
                    <a:lnTo>
                      <a:pt x="14" y="96"/>
                    </a:lnTo>
                    <a:lnTo>
                      <a:pt x="8" y="112"/>
                    </a:lnTo>
                    <a:lnTo>
                      <a:pt x="4" y="132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0" y="168"/>
                    </a:lnTo>
                    <a:lnTo>
                      <a:pt x="0" y="178"/>
                    </a:lnTo>
                    <a:lnTo>
                      <a:pt x="2" y="184"/>
                    </a:lnTo>
                    <a:lnTo>
                      <a:pt x="8" y="188"/>
                    </a:lnTo>
                    <a:lnTo>
                      <a:pt x="14" y="192"/>
                    </a:lnTo>
                    <a:lnTo>
                      <a:pt x="26" y="194"/>
                    </a:lnTo>
                    <a:lnTo>
                      <a:pt x="58" y="196"/>
                    </a:lnTo>
                    <a:lnTo>
                      <a:pt x="58" y="196"/>
                    </a:lnTo>
                    <a:lnTo>
                      <a:pt x="76" y="200"/>
                    </a:lnTo>
                    <a:lnTo>
                      <a:pt x="90" y="202"/>
                    </a:lnTo>
                    <a:lnTo>
                      <a:pt x="100" y="208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2" y="218"/>
                    </a:lnTo>
                    <a:lnTo>
                      <a:pt x="94" y="220"/>
                    </a:lnTo>
                    <a:lnTo>
                      <a:pt x="78" y="218"/>
                    </a:lnTo>
                    <a:lnTo>
                      <a:pt x="78" y="218"/>
                    </a:lnTo>
                    <a:lnTo>
                      <a:pt x="50" y="216"/>
                    </a:lnTo>
                    <a:lnTo>
                      <a:pt x="40" y="216"/>
                    </a:lnTo>
                    <a:lnTo>
                      <a:pt x="32" y="218"/>
                    </a:lnTo>
                    <a:lnTo>
                      <a:pt x="32" y="220"/>
                    </a:lnTo>
                    <a:lnTo>
                      <a:pt x="30" y="222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2" y="250"/>
                    </a:lnTo>
                    <a:lnTo>
                      <a:pt x="52" y="250"/>
                    </a:lnTo>
                    <a:lnTo>
                      <a:pt x="68" y="262"/>
                    </a:lnTo>
                    <a:lnTo>
                      <a:pt x="82" y="268"/>
                    </a:lnTo>
                    <a:lnTo>
                      <a:pt x="94" y="270"/>
                    </a:lnTo>
                    <a:lnTo>
                      <a:pt x="106" y="270"/>
                    </a:lnTo>
                    <a:lnTo>
                      <a:pt x="118" y="270"/>
                    </a:lnTo>
                    <a:lnTo>
                      <a:pt x="130" y="270"/>
                    </a:lnTo>
                    <a:lnTo>
                      <a:pt x="142" y="272"/>
                    </a:lnTo>
                    <a:lnTo>
                      <a:pt x="152" y="278"/>
                    </a:lnTo>
                    <a:lnTo>
                      <a:pt x="152" y="278"/>
                    </a:lnTo>
                    <a:lnTo>
                      <a:pt x="162" y="284"/>
                    </a:lnTo>
                    <a:lnTo>
                      <a:pt x="174" y="288"/>
                    </a:lnTo>
                    <a:lnTo>
                      <a:pt x="184" y="290"/>
                    </a:lnTo>
                    <a:lnTo>
                      <a:pt x="194" y="288"/>
                    </a:lnTo>
                    <a:lnTo>
                      <a:pt x="208" y="286"/>
                    </a:lnTo>
                    <a:lnTo>
                      <a:pt x="218" y="286"/>
                    </a:lnTo>
                    <a:lnTo>
                      <a:pt x="218" y="286"/>
                    </a:lnTo>
                    <a:lnTo>
                      <a:pt x="234" y="288"/>
                    </a:lnTo>
                    <a:lnTo>
                      <a:pt x="244" y="290"/>
                    </a:lnTo>
                    <a:lnTo>
                      <a:pt x="260" y="290"/>
                    </a:lnTo>
                    <a:lnTo>
                      <a:pt x="268" y="290"/>
                    </a:lnTo>
                    <a:lnTo>
                      <a:pt x="276" y="290"/>
                    </a:lnTo>
                    <a:lnTo>
                      <a:pt x="288" y="292"/>
                    </a:lnTo>
                    <a:lnTo>
                      <a:pt x="304" y="296"/>
                    </a:lnTo>
                    <a:lnTo>
                      <a:pt x="304" y="296"/>
                    </a:lnTo>
                    <a:lnTo>
                      <a:pt x="316" y="300"/>
                    </a:lnTo>
                    <a:lnTo>
                      <a:pt x="324" y="298"/>
                    </a:lnTo>
                    <a:lnTo>
                      <a:pt x="328" y="296"/>
                    </a:lnTo>
                    <a:lnTo>
                      <a:pt x="332" y="292"/>
                    </a:lnTo>
                    <a:lnTo>
                      <a:pt x="336" y="290"/>
                    </a:lnTo>
                    <a:lnTo>
                      <a:pt x="340" y="290"/>
                    </a:lnTo>
                    <a:lnTo>
                      <a:pt x="346" y="292"/>
                    </a:lnTo>
                    <a:lnTo>
                      <a:pt x="356" y="298"/>
                    </a:lnTo>
                    <a:lnTo>
                      <a:pt x="356" y="298"/>
                    </a:lnTo>
                    <a:lnTo>
                      <a:pt x="374" y="312"/>
                    </a:lnTo>
                    <a:lnTo>
                      <a:pt x="378" y="314"/>
                    </a:lnTo>
                    <a:lnTo>
                      <a:pt x="380" y="312"/>
                    </a:lnTo>
                    <a:lnTo>
                      <a:pt x="378" y="310"/>
                    </a:lnTo>
                    <a:lnTo>
                      <a:pt x="376" y="306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58" y="284"/>
                    </a:lnTo>
                    <a:lnTo>
                      <a:pt x="358" y="282"/>
                    </a:lnTo>
                    <a:lnTo>
                      <a:pt x="360" y="282"/>
                    </a:lnTo>
                    <a:lnTo>
                      <a:pt x="368" y="282"/>
                    </a:lnTo>
                    <a:lnTo>
                      <a:pt x="380" y="284"/>
                    </a:lnTo>
                    <a:lnTo>
                      <a:pt x="410" y="290"/>
                    </a:lnTo>
                    <a:lnTo>
                      <a:pt x="444" y="296"/>
                    </a:lnTo>
                    <a:lnTo>
                      <a:pt x="444" y="296"/>
                    </a:lnTo>
                    <a:lnTo>
                      <a:pt x="450" y="296"/>
                    </a:lnTo>
                    <a:lnTo>
                      <a:pt x="454" y="296"/>
                    </a:lnTo>
                    <a:lnTo>
                      <a:pt x="458" y="294"/>
                    </a:lnTo>
                    <a:lnTo>
                      <a:pt x="460" y="290"/>
                    </a:lnTo>
                    <a:lnTo>
                      <a:pt x="462" y="284"/>
                    </a:lnTo>
                    <a:lnTo>
                      <a:pt x="460" y="274"/>
                    </a:lnTo>
                    <a:lnTo>
                      <a:pt x="456" y="260"/>
                    </a:lnTo>
                    <a:lnTo>
                      <a:pt x="456" y="260"/>
                    </a:lnTo>
                    <a:lnTo>
                      <a:pt x="458" y="260"/>
                    </a:lnTo>
                    <a:lnTo>
                      <a:pt x="464" y="264"/>
                    </a:lnTo>
                    <a:lnTo>
                      <a:pt x="464" y="264"/>
                    </a:lnTo>
                    <a:lnTo>
                      <a:pt x="472" y="270"/>
                    </a:lnTo>
                    <a:lnTo>
                      <a:pt x="478" y="272"/>
                    </a:lnTo>
                    <a:lnTo>
                      <a:pt x="484" y="272"/>
                    </a:lnTo>
                    <a:lnTo>
                      <a:pt x="490" y="272"/>
                    </a:lnTo>
                    <a:lnTo>
                      <a:pt x="494" y="272"/>
                    </a:lnTo>
                    <a:lnTo>
                      <a:pt x="498" y="274"/>
                    </a:lnTo>
                    <a:lnTo>
                      <a:pt x="500" y="278"/>
                    </a:lnTo>
                    <a:lnTo>
                      <a:pt x="502" y="286"/>
                    </a:lnTo>
                    <a:lnTo>
                      <a:pt x="502" y="286"/>
                    </a:lnTo>
                    <a:lnTo>
                      <a:pt x="502" y="294"/>
                    </a:lnTo>
                    <a:lnTo>
                      <a:pt x="504" y="302"/>
                    </a:lnTo>
                    <a:lnTo>
                      <a:pt x="508" y="306"/>
                    </a:lnTo>
                    <a:lnTo>
                      <a:pt x="512" y="310"/>
                    </a:lnTo>
                    <a:lnTo>
                      <a:pt x="528" y="318"/>
                    </a:lnTo>
                    <a:lnTo>
                      <a:pt x="556" y="326"/>
                    </a:lnTo>
                    <a:lnTo>
                      <a:pt x="556" y="326"/>
                    </a:lnTo>
                    <a:lnTo>
                      <a:pt x="570" y="332"/>
                    </a:lnTo>
                    <a:lnTo>
                      <a:pt x="580" y="338"/>
                    </a:lnTo>
                    <a:lnTo>
                      <a:pt x="584" y="344"/>
                    </a:lnTo>
                    <a:lnTo>
                      <a:pt x="584" y="348"/>
                    </a:lnTo>
                    <a:lnTo>
                      <a:pt x="580" y="352"/>
                    </a:lnTo>
                    <a:lnTo>
                      <a:pt x="574" y="356"/>
                    </a:lnTo>
                    <a:lnTo>
                      <a:pt x="568" y="356"/>
                    </a:lnTo>
                    <a:lnTo>
                      <a:pt x="558" y="356"/>
                    </a:lnTo>
                    <a:lnTo>
                      <a:pt x="558" y="356"/>
                    </a:lnTo>
                    <a:lnTo>
                      <a:pt x="550" y="358"/>
                    </a:lnTo>
                    <a:lnTo>
                      <a:pt x="542" y="360"/>
                    </a:lnTo>
                    <a:lnTo>
                      <a:pt x="538" y="366"/>
                    </a:lnTo>
                    <a:lnTo>
                      <a:pt x="538" y="370"/>
                    </a:lnTo>
                    <a:lnTo>
                      <a:pt x="538" y="376"/>
                    </a:lnTo>
                    <a:lnTo>
                      <a:pt x="544" y="378"/>
                    </a:lnTo>
                    <a:lnTo>
                      <a:pt x="550" y="380"/>
                    </a:lnTo>
                    <a:lnTo>
                      <a:pt x="562" y="378"/>
                    </a:lnTo>
                    <a:lnTo>
                      <a:pt x="562" y="378"/>
                    </a:lnTo>
                    <a:lnTo>
                      <a:pt x="576" y="374"/>
                    </a:lnTo>
                    <a:lnTo>
                      <a:pt x="590" y="374"/>
                    </a:lnTo>
                    <a:lnTo>
                      <a:pt x="606" y="376"/>
                    </a:lnTo>
                    <a:lnTo>
                      <a:pt x="618" y="380"/>
                    </a:lnTo>
                    <a:lnTo>
                      <a:pt x="630" y="384"/>
                    </a:lnTo>
                    <a:lnTo>
                      <a:pt x="640" y="390"/>
                    </a:lnTo>
                    <a:lnTo>
                      <a:pt x="648" y="396"/>
                    </a:lnTo>
                    <a:lnTo>
                      <a:pt x="654" y="402"/>
                    </a:lnTo>
                    <a:lnTo>
                      <a:pt x="654" y="402"/>
                    </a:lnTo>
                    <a:lnTo>
                      <a:pt x="656" y="406"/>
                    </a:lnTo>
                    <a:lnTo>
                      <a:pt x="662" y="408"/>
                    </a:lnTo>
                    <a:lnTo>
                      <a:pt x="674" y="414"/>
                    </a:lnTo>
                    <a:lnTo>
                      <a:pt x="682" y="416"/>
                    </a:lnTo>
                    <a:lnTo>
                      <a:pt x="688" y="420"/>
                    </a:lnTo>
                    <a:lnTo>
                      <a:pt x="692" y="428"/>
                    </a:lnTo>
                    <a:lnTo>
                      <a:pt x="696" y="438"/>
                    </a:lnTo>
                    <a:lnTo>
                      <a:pt x="696" y="438"/>
                    </a:lnTo>
                    <a:lnTo>
                      <a:pt x="698" y="450"/>
                    </a:lnTo>
                    <a:lnTo>
                      <a:pt x="704" y="460"/>
                    </a:lnTo>
                    <a:lnTo>
                      <a:pt x="712" y="474"/>
                    </a:lnTo>
                    <a:lnTo>
                      <a:pt x="716" y="480"/>
                    </a:lnTo>
                    <a:lnTo>
                      <a:pt x="718" y="486"/>
                    </a:lnTo>
                    <a:lnTo>
                      <a:pt x="716" y="490"/>
                    </a:lnTo>
                    <a:lnTo>
                      <a:pt x="710" y="494"/>
                    </a:lnTo>
                    <a:lnTo>
                      <a:pt x="710" y="494"/>
                    </a:lnTo>
                    <a:lnTo>
                      <a:pt x="696" y="504"/>
                    </a:lnTo>
                    <a:lnTo>
                      <a:pt x="682" y="518"/>
                    </a:lnTo>
                    <a:lnTo>
                      <a:pt x="668" y="532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4" y="554"/>
                    </a:lnTo>
                    <a:lnTo>
                      <a:pt x="640" y="558"/>
                    </a:lnTo>
                    <a:lnTo>
                      <a:pt x="640" y="564"/>
                    </a:lnTo>
                    <a:lnTo>
                      <a:pt x="642" y="570"/>
                    </a:lnTo>
                    <a:lnTo>
                      <a:pt x="646" y="580"/>
                    </a:lnTo>
                    <a:lnTo>
                      <a:pt x="654" y="590"/>
                    </a:lnTo>
                    <a:lnTo>
                      <a:pt x="666" y="604"/>
                    </a:lnTo>
                    <a:lnTo>
                      <a:pt x="666" y="606"/>
                    </a:lnTo>
                    <a:lnTo>
                      <a:pt x="666" y="608"/>
                    </a:lnTo>
                    <a:lnTo>
                      <a:pt x="656" y="606"/>
                    </a:lnTo>
                    <a:lnTo>
                      <a:pt x="656" y="606"/>
                    </a:lnTo>
                    <a:lnTo>
                      <a:pt x="646" y="602"/>
                    </a:lnTo>
                    <a:lnTo>
                      <a:pt x="636" y="604"/>
                    </a:lnTo>
                    <a:lnTo>
                      <a:pt x="628" y="608"/>
                    </a:lnTo>
                    <a:lnTo>
                      <a:pt x="620" y="612"/>
                    </a:lnTo>
                    <a:lnTo>
                      <a:pt x="608" y="616"/>
                    </a:lnTo>
                    <a:lnTo>
                      <a:pt x="594" y="620"/>
                    </a:lnTo>
                    <a:lnTo>
                      <a:pt x="576" y="620"/>
                    </a:lnTo>
                    <a:lnTo>
                      <a:pt x="552" y="614"/>
                    </a:lnTo>
                    <a:lnTo>
                      <a:pt x="552" y="614"/>
                    </a:lnTo>
                    <a:lnTo>
                      <a:pt x="528" y="610"/>
                    </a:lnTo>
                    <a:lnTo>
                      <a:pt x="516" y="608"/>
                    </a:lnTo>
                    <a:lnTo>
                      <a:pt x="510" y="608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0" y="624"/>
                    </a:lnTo>
                    <a:lnTo>
                      <a:pt x="504" y="630"/>
                    </a:lnTo>
                    <a:lnTo>
                      <a:pt x="494" y="638"/>
                    </a:lnTo>
                    <a:lnTo>
                      <a:pt x="494" y="638"/>
                    </a:lnTo>
                    <a:lnTo>
                      <a:pt x="488" y="642"/>
                    </a:lnTo>
                    <a:lnTo>
                      <a:pt x="484" y="648"/>
                    </a:lnTo>
                    <a:lnTo>
                      <a:pt x="482" y="652"/>
                    </a:lnTo>
                    <a:lnTo>
                      <a:pt x="480" y="658"/>
                    </a:lnTo>
                    <a:lnTo>
                      <a:pt x="482" y="664"/>
                    </a:lnTo>
                    <a:lnTo>
                      <a:pt x="484" y="668"/>
                    </a:lnTo>
                    <a:lnTo>
                      <a:pt x="494" y="678"/>
                    </a:lnTo>
                    <a:lnTo>
                      <a:pt x="506" y="686"/>
                    </a:lnTo>
                    <a:lnTo>
                      <a:pt x="514" y="688"/>
                    </a:lnTo>
                    <a:lnTo>
                      <a:pt x="522" y="690"/>
                    </a:lnTo>
                    <a:lnTo>
                      <a:pt x="532" y="690"/>
                    </a:lnTo>
                    <a:lnTo>
                      <a:pt x="542" y="690"/>
                    </a:lnTo>
                    <a:lnTo>
                      <a:pt x="552" y="686"/>
                    </a:lnTo>
                    <a:lnTo>
                      <a:pt x="562" y="682"/>
                    </a:lnTo>
                    <a:lnTo>
                      <a:pt x="562" y="682"/>
                    </a:lnTo>
                    <a:lnTo>
                      <a:pt x="580" y="676"/>
                    </a:lnTo>
                    <a:lnTo>
                      <a:pt x="592" y="674"/>
                    </a:lnTo>
                    <a:lnTo>
                      <a:pt x="602" y="676"/>
                    </a:lnTo>
                    <a:lnTo>
                      <a:pt x="608" y="680"/>
                    </a:lnTo>
                    <a:lnTo>
                      <a:pt x="612" y="684"/>
                    </a:lnTo>
                    <a:lnTo>
                      <a:pt x="616" y="688"/>
                    </a:lnTo>
                    <a:lnTo>
                      <a:pt x="622" y="686"/>
                    </a:lnTo>
                    <a:lnTo>
                      <a:pt x="628" y="680"/>
                    </a:lnTo>
                    <a:lnTo>
                      <a:pt x="628" y="680"/>
                    </a:lnTo>
                    <a:lnTo>
                      <a:pt x="634" y="674"/>
                    </a:lnTo>
                    <a:lnTo>
                      <a:pt x="640" y="674"/>
                    </a:lnTo>
                    <a:lnTo>
                      <a:pt x="642" y="676"/>
                    </a:lnTo>
                    <a:lnTo>
                      <a:pt x="644" y="680"/>
                    </a:lnTo>
                    <a:lnTo>
                      <a:pt x="646" y="688"/>
                    </a:lnTo>
                    <a:lnTo>
                      <a:pt x="648" y="690"/>
                    </a:lnTo>
                    <a:lnTo>
                      <a:pt x="650" y="686"/>
                    </a:lnTo>
                    <a:lnTo>
                      <a:pt x="650" y="686"/>
                    </a:lnTo>
                    <a:lnTo>
                      <a:pt x="656" y="674"/>
                    </a:lnTo>
                    <a:lnTo>
                      <a:pt x="658" y="672"/>
                    </a:lnTo>
                    <a:lnTo>
                      <a:pt x="662" y="672"/>
                    </a:lnTo>
                    <a:lnTo>
                      <a:pt x="666" y="674"/>
                    </a:lnTo>
                    <a:lnTo>
                      <a:pt x="672" y="680"/>
                    </a:lnTo>
                    <a:lnTo>
                      <a:pt x="696" y="706"/>
                    </a:lnTo>
                    <a:lnTo>
                      <a:pt x="696" y="706"/>
                    </a:lnTo>
                    <a:lnTo>
                      <a:pt x="708" y="720"/>
                    </a:lnTo>
                    <a:lnTo>
                      <a:pt x="718" y="726"/>
                    </a:lnTo>
                    <a:lnTo>
                      <a:pt x="724" y="728"/>
                    </a:lnTo>
                    <a:lnTo>
                      <a:pt x="728" y="728"/>
                    </a:lnTo>
                    <a:lnTo>
                      <a:pt x="732" y="726"/>
                    </a:lnTo>
                    <a:lnTo>
                      <a:pt x="736" y="724"/>
                    </a:lnTo>
                    <a:lnTo>
                      <a:pt x="742" y="726"/>
                    </a:lnTo>
                    <a:lnTo>
                      <a:pt x="750" y="732"/>
                    </a:lnTo>
                    <a:lnTo>
                      <a:pt x="750" y="732"/>
                    </a:lnTo>
                    <a:lnTo>
                      <a:pt x="756" y="738"/>
                    </a:lnTo>
                    <a:lnTo>
                      <a:pt x="756" y="740"/>
                    </a:lnTo>
                    <a:lnTo>
                      <a:pt x="754" y="742"/>
                    </a:lnTo>
                    <a:lnTo>
                      <a:pt x="750" y="744"/>
                    </a:lnTo>
                    <a:lnTo>
                      <a:pt x="742" y="744"/>
                    </a:lnTo>
                    <a:lnTo>
                      <a:pt x="734" y="746"/>
                    </a:lnTo>
                    <a:lnTo>
                      <a:pt x="732" y="748"/>
                    </a:lnTo>
                    <a:lnTo>
                      <a:pt x="732" y="750"/>
                    </a:lnTo>
                    <a:lnTo>
                      <a:pt x="732" y="752"/>
                    </a:lnTo>
                    <a:lnTo>
                      <a:pt x="734" y="756"/>
                    </a:lnTo>
                    <a:lnTo>
                      <a:pt x="744" y="768"/>
                    </a:lnTo>
                    <a:lnTo>
                      <a:pt x="744" y="768"/>
                    </a:lnTo>
                    <a:lnTo>
                      <a:pt x="754" y="776"/>
                    </a:lnTo>
                    <a:lnTo>
                      <a:pt x="766" y="780"/>
                    </a:lnTo>
                    <a:lnTo>
                      <a:pt x="792" y="788"/>
                    </a:lnTo>
                    <a:lnTo>
                      <a:pt x="816" y="794"/>
                    </a:lnTo>
                    <a:lnTo>
                      <a:pt x="826" y="798"/>
                    </a:lnTo>
                    <a:lnTo>
                      <a:pt x="834" y="804"/>
                    </a:lnTo>
                    <a:lnTo>
                      <a:pt x="834" y="804"/>
                    </a:lnTo>
                    <a:lnTo>
                      <a:pt x="842" y="812"/>
                    </a:lnTo>
                    <a:lnTo>
                      <a:pt x="854" y="818"/>
                    </a:lnTo>
                    <a:lnTo>
                      <a:pt x="868" y="824"/>
                    </a:lnTo>
                    <a:lnTo>
                      <a:pt x="882" y="828"/>
                    </a:lnTo>
                    <a:lnTo>
                      <a:pt x="916" y="836"/>
                    </a:lnTo>
                    <a:lnTo>
                      <a:pt x="948" y="846"/>
                    </a:lnTo>
                    <a:lnTo>
                      <a:pt x="948" y="846"/>
                    </a:lnTo>
                    <a:lnTo>
                      <a:pt x="962" y="850"/>
                    </a:lnTo>
                    <a:lnTo>
                      <a:pt x="970" y="850"/>
                    </a:lnTo>
                    <a:lnTo>
                      <a:pt x="972" y="848"/>
                    </a:lnTo>
                    <a:lnTo>
                      <a:pt x="974" y="846"/>
                    </a:lnTo>
                    <a:lnTo>
                      <a:pt x="974" y="840"/>
                    </a:lnTo>
                    <a:lnTo>
                      <a:pt x="972" y="832"/>
                    </a:lnTo>
                    <a:lnTo>
                      <a:pt x="966" y="822"/>
                    </a:lnTo>
                    <a:lnTo>
                      <a:pt x="958" y="812"/>
                    </a:lnTo>
                    <a:lnTo>
                      <a:pt x="948" y="802"/>
                    </a:lnTo>
                    <a:lnTo>
                      <a:pt x="948" y="802"/>
                    </a:lnTo>
                    <a:lnTo>
                      <a:pt x="936" y="792"/>
                    </a:lnTo>
                    <a:lnTo>
                      <a:pt x="920" y="780"/>
                    </a:lnTo>
                    <a:lnTo>
                      <a:pt x="888" y="758"/>
                    </a:lnTo>
                    <a:lnTo>
                      <a:pt x="872" y="748"/>
                    </a:lnTo>
                    <a:lnTo>
                      <a:pt x="862" y="738"/>
                    </a:lnTo>
                    <a:lnTo>
                      <a:pt x="854" y="732"/>
                    </a:lnTo>
                    <a:lnTo>
                      <a:pt x="854" y="728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8" y="722"/>
                    </a:lnTo>
                    <a:lnTo>
                      <a:pt x="864" y="724"/>
                    </a:lnTo>
                    <a:lnTo>
                      <a:pt x="880" y="736"/>
                    </a:lnTo>
                    <a:lnTo>
                      <a:pt x="894" y="748"/>
                    </a:lnTo>
                    <a:lnTo>
                      <a:pt x="900" y="748"/>
                    </a:lnTo>
                    <a:lnTo>
                      <a:pt x="902" y="748"/>
                    </a:lnTo>
                    <a:lnTo>
                      <a:pt x="902" y="746"/>
                    </a:lnTo>
                    <a:lnTo>
                      <a:pt x="902" y="746"/>
                    </a:lnTo>
                    <a:lnTo>
                      <a:pt x="902" y="742"/>
                    </a:lnTo>
                    <a:lnTo>
                      <a:pt x="904" y="742"/>
                    </a:lnTo>
                    <a:lnTo>
                      <a:pt x="908" y="744"/>
                    </a:lnTo>
                    <a:lnTo>
                      <a:pt x="924" y="754"/>
                    </a:lnTo>
                    <a:lnTo>
                      <a:pt x="932" y="762"/>
                    </a:lnTo>
                    <a:lnTo>
                      <a:pt x="944" y="770"/>
                    </a:lnTo>
                    <a:lnTo>
                      <a:pt x="956" y="776"/>
                    </a:lnTo>
                    <a:lnTo>
                      <a:pt x="968" y="778"/>
                    </a:lnTo>
                    <a:lnTo>
                      <a:pt x="968" y="778"/>
                    </a:lnTo>
                    <a:lnTo>
                      <a:pt x="980" y="782"/>
                    </a:lnTo>
                    <a:lnTo>
                      <a:pt x="990" y="788"/>
                    </a:lnTo>
                    <a:lnTo>
                      <a:pt x="998" y="798"/>
                    </a:lnTo>
                    <a:lnTo>
                      <a:pt x="1004" y="806"/>
                    </a:lnTo>
                    <a:lnTo>
                      <a:pt x="1010" y="812"/>
                    </a:lnTo>
                    <a:lnTo>
                      <a:pt x="1012" y="814"/>
                    </a:lnTo>
                    <a:lnTo>
                      <a:pt x="1014" y="812"/>
                    </a:lnTo>
                    <a:lnTo>
                      <a:pt x="1012" y="802"/>
                    </a:lnTo>
                    <a:lnTo>
                      <a:pt x="1012" y="802"/>
                    </a:lnTo>
                    <a:lnTo>
                      <a:pt x="1012" y="792"/>
                    </a:lnTo>
                    <a:lnTo>
                      <a:pt x="1012" y="788"/>
                    </a:lnTo>
                    <a:lnTo>
                      <a:pt x="1014" y="788"/>
                    </a:lnTo>
                    <a:lnTo>
                      <a:pt x="1016" y="788"/>
                    </a:lnTo>
                    <a:lnTo>
                      <a:pt x="1018" y="788"/>
                    </a:lnTo>
                    <a:lnTo>
                      <a:pt x="1020" y="786"/>
                    </a:lnTo>
                    <a:lnTo>
                      <a:pt x="1020" y="780"/>
                    </a:lnTo>
                    <a:lnTo>
                      <a:pt x="1018" y="766"/>
                    </a:lnTo>
                    <a:lnTo>
                      <a:pt x="1018" y="766"/>
                    </a:lnTo>
                    <a:lnTo>
                      <a:pt x="1016" y="750"/>
                    </a:lnTo>
                    <a:lnTo>
                      <a:pt x="1018" y="752"/>
                    </a:lnTo>
                    <a:lnTo>
                      <a:pt x="1020" y="754"/>
                    </a:lnTo>
                    <a:lnTo>
                      <a:pt x="1022" y="758"/>
                    </a:lnTo>
                    <a:lnTo>
                      <a:pt x="1026" y="760"/>
                    </a:lnTo>
                    <a:lnTo>
                      <a:pt x="1028" y="756"/>
                    </a:lnTo>
                    <a:lnTo>
                      <a:pt x="1032" y="746"/>
                    </a:lnTo>
                    <a:lnTo>
                      <a:pt x="1032" y="746"/>
                    </a:lnTo>
                    <a:lnTo>
                      <a:pt x="1032" y="734"/>
                    </a:lnTo>
                    <a:lnTo>
                      <a:pt x="1030" y="728"/>
                    </a:lnTo>
                    <a:lnTo>
                      <a:pt x="1026" y="724"/>
                    </a:lnTo>
                    <a:lnTo>
                      <a:pt x="1022" y="724"/>
                    </a:lnTo>
                    <a:lnTo>
                      <a:pt x="1018" y="722"/>
                    </a:lnTo>
                    <a:lnTo>
                      <a:pt x="1014" y="722"/>
                    </a:lnTo>
                    <a:lnTo>
                      <a:pt x="1014" y="720"/>
                    </a:lnTo>
                    <a:lnTo>
                      <a:pt x="1018" y="714"/>
                    </a:lnTo>
                    <a:lnTo>
                      <a:pt x="1018" y="714"/>
                    </a:lnTo>
                    <a:lnTo>
                      <a:pt x="1022" y="708"/>
                    </a:lnTo>
                    <a:lnTo>
                      <a:pt x="1020" y="704"/>
                    </a:lnTo>
                    <a:lnTo>
                      <a:pt x="1016" y="702"/>
                    </a:lnTo>
                    <a:lnTo>
                      <a:pt x="1012" y="700"/>
                    </a:lnTo>
                    <a:lnTo>
                      <a:pt x="1006" y="700"/>
                    </a:lnTo>
                    <a:lnTo>
                      <a:pt x="1000" y="698"/>
                    </a:lnTo>
                    <a:lnTo>
                      <a:pt x="1000" y="694"/>
                    </a:lnTo>
                    <a:lnTo>
                      <a:pt x="1002" y="688"/>
                    </a:lnTo>
                    <a:lnTo>
                      <a:pt x="1002" y="688"/>
                    </a:lnTo>
                    <a:lnTo>
                      <a:pt x="1006" y="682"/>
                    </a:lnTo>
                    <a:lnTo>
                      <a:pt x="1010" y="676"/>
                    </a:lnTo>
                    <a:lnTo>
                      <a:pt x="1008" y="672"/>
                    </a:lnTo>
                    <a:lnTo>
                      <a:pt x="1006" y="668"/>
                    </a:lnTo>
                    <a:lnTo>
                      <a:pt x="1000" y="664"/>
                    </a:lnTo>
                    <a:lnTo>
                      <a:pt x="992" y="660"/>
                    </a:lnTo>
                    <a:lnTo>
                      <a:pt x="966" y="648"/>
                    </a:lnTo>
                    <a:lnTo>
                      <a:pt x="966" y="648"/>
                    </a:lnTo>
                    <a:lnTo>
                      <a:pt x="952" y="642"/>
                    </a:lnTo>
                    <a:lnTo>
                      <a:pt x="942" y="632"/>
                    </a:lnTo>
                    <a:lnTo>
                      <a:pt x="936" y="622"/>
                    </a:lnTo>
                    <a:lnTo>
                      <a:pt x="930" y="612"/>
                    </a:lnTo>
                    <a:lnTo>
                      <a:pt x="928" y="602"/>
                    </a:lnTo>
                    <a:lnTo>
                      <a:pt x="924" y="596"/>
                    </a:lnTo>
                    <a:lnTo>
                      <a:pt x="918" y="592"/>
                    </a:lnTo>
                    <a:lnTo>
                      <a:pt x="912" y="592"/>
                    </a:lnTo>
                    <a:lnTo>
                      <a:pt x="912" y="592"/>
                    </a:lnTo>
                    <a:lnTo>
                      <a:pt x="904" y="594"/>
                    </a:lnTo>
                    <a:lnTo>
                      <a:pt x="896" y="594"/>
                    </a:lnTo>
                    <a:lnTo>
                      <a:pt x="892" y="592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4" y="584"/>
                    </a:lnTo>
                    <a:lnTo>
                      <a:pt x="900" y="580"/>
                    </a:lnTo>
                    <a:lnTo>
                      <a:pt x="908" y="578"/>
                    </a:lnTo>
                    <a:lnTo>
                      <a:pt x="908" y="578"/>
                    </a:lnTo>
                    <a:lnTo>
                      <a:pt x="912" y="576"/>
                    </a:lnTo>
                    <a:lnTo>
                      <a:pt x="916" y="576"/>
                    </a:lnTo>
                    <a:lnTo>
                      <a:pt x="916" y="572"/>
                    </a:lnTo>
                    <a:lnTo>
                      <a:pt x="916" y="570"/>
                    </a:lnTo>
                    <a:lnTo>
                      <a:pt x="914" y="564"/>
                    </a:lnTo>
                    <a:lnTo>
                      <a:pt x="910" y="556"/>
                    </a:lnTo>
                    <a:lnTo>
                      <a:pt x="902" y="546"/>
                    </a:lnTo>
                    <a:lnTo>
                      <a:pt x="902" y="544"/>
                    </a:lnTo>
                    <a:lnTo>
                      <a:pt x="904" y="544"/>
                    </a:lnTo>
                    <a:lnTo>
                      <a:pt x="910" y="546"/>
                    </a:lnTo>
                    <a:lnTo>
                      <a:pt x="910" y="546"/>
                    </a:lnTo>
                    <a:lnTo>
                      <a:pt x="918" y="548"/>
                    </a:lnTo>
                    <a:lnTo>
                      <a:pt x="924" y="546"/>
                    </a:lnTo>
                    <a:lnTo>
                      <a:pt x="928" y="542"/>
                    </a:lnTo>
                    <a:lnTo>
                      <a:pt x="930" y="538"/>
                    </a:lnTo>
                    <a:lnTo>
                      <a:pt x="932" y="536"/>
                    </a:lnTo>
                    <a:lnTo>
                      <a:pt x="934" y="534"/>
                    </a:lnTo>
                    <a:lnTo>
                      <a:pt x="938" y="536"/>
                    </a:lnTo>
                    <a:lnTo>
                      <a:pt x="942" y="544"/>
                    </a:lnTo>
                    <a:lnTo>
                      <a:pt x="942" y="544"/>
                    </a:lnTo>
                    <a:lnTo>
                      <a:pt x="950" y="552"/>
                    </a:lnTo>
                    <a:lnTo>
                      <a:pt x="954" y="556"/>
                    </a:lnTo>
                    <a:lnTo>
                      <a:pt x="958" y="558"/>
                    </a:lnTo>
                    <a:lnTo>
                      <a:pt x="962" y="558"/>
                    </a:lnTo>
                    <a:lnTo>
                      <a:pt x="968" y="560"/>
                    </a:lnTo>
                    <a:lnTo>
                      <a:pt x="972" y="562"/>
                    </a:lnTo>
                    <a:lnTo>
                      <a:pt x="974" y="568"/>
                    </a:lnTo>
                    <a:lnTo>
                      <a:pt x="974" y="568"/>
                    </a:lnTo>
                    <a:lnTo>
                      <a:pt x="976" y="574"/>
                    </a:lnTo>
                    <a:lnTo>
                      <a:pt x="980" y="576"/>
                    </a:lnTo>
                    <a:lnTo>
                      <a:pt x="986" y="580"/>
                    </a:lnTo>
                    <a:lnTo>
                      <a:pt x="990" y="580"/>
                    </a:lnTo>
                    <a:lnTo>
                      <a:pt x="992" y="582"/>
                    </a:lnTo>
                    <a:lnTo>
                      <a:pt x="994" y="586"/>
                    </a:lnTo>
                    <a:lnTo>
                      <a:pt x="994" y="592"/>
                    </a:lnTo>
                    <a:lnTo>
                      <a:pt x="994" y="592"/>
                    </a:lnTo>
                    <a:lnTo>
                      <a:pt x="994" y="596"/>
                    </a:lnTo>
                    <a:lnTo>
                      <a:pt x="996" y="600"/>
                    </a:lnTo>
                    <a:lnTo>
                      <a:pt x="1008" y="614"/>
                    </a:lnTo>
                    <a:lnTo>
                      <a:pt x="1022" y="626"/>
                    </a:lnTo>
                    <a:lnTo>
                      <a:pt x="1040" y="638"/>
                    </a:lnTo>
                    <a:lnTo>
                      <a:pt x="1056" y="646"/>
                    </a:lnTo>
                    <a:lnTo>
                      <a:pt x="1064" y="648"/>
                    </a:lnTo>
                    <a:lnTo>
                      <a:pt x="1070" y="648"/>
                    </a:lnTo>
                    <a:lnTo>
                      <a:pt x="1074" y="646"/>
                    </a:lnTo>
                    <a:lnTo>
                      <a:pt x="1078" y="642"/>
                    </a:lnTo>
                    <a:lnTo>
                      <a:pt x="1080" y="636"/>
                    </a:lnTo>
                    <a:lnTo>
                      <a:pt x="1078" y="628"/>
                    </a:lnTo>
                    <a:lnTo>
                      <a:pt x="1078" y="628"/>
                    </a:lnTo>
                    <a:lnTo>
                      <a:pt x="1078" y="618"/>
                    </a:lnTo>
                    <a:lnTo>
                      <a:pt x="1078" y="612"/>
                    </a:lnTo>
                    <a:lnTo>
                      <a:pt x="1080" y="606"/>
                    </a:lnTo>
                    <a:lnTo>
                      <a:pt x="1082" y="602"/>
                    </a:lnTo>
                    <a:lnTo>
                      <a:pt x="1086" y="600"/>
                    </a:lnTo>
                    <a:lnTo>
                      <a:pt x="1092" y="598"/>
                    </a:lnTo>
                    <a:lnTo>
                      <a:pt x="1102" y="596"/>
                    </a:lnTo>
                    <a:lnTo>
                      <a:pt x="1118" y="598"/>
                    </a:lnTo>
                    <a:lnTo>
                      <a:pt x="1122" y="596"/>
                    </a:lnTo>
                    <a:lnTo>
                      <a:pt x="1122" y="596"/>
                    </a:lnTo>
                    <a:lnTo>
                      <a:pt x="1122" y="592"/>
                    </a:lnTo>
                    <a:lnTo>
                      <a:pt x="1122" y="588"/>
                    </a:lnTo>
                    <a:lnTo>
                      <a:pt x="1122" y="588"/>
                    </a:lnTo>
                    <a:lnTo>
                      <a:pt x="1118" y="582"/>
                    </a:lnTo>
                    <a:lnTo>
                      <a:pt x="1118" y="576"/>
                    </a:lnTo>
                    <a:lnTo>
                      <a:pt x="1120" y="574"/>
                    </a:lnTo>
                    <a:lnTo>
                      <a:pt x="1122" y="574"/>
                    </a:lnTo>
                    <a:lnTo>
                      <a:pt x="1128" y="570"/>
                    </a:lnTo>
                    <a:lnTo>
                      <a:pt x="1128" y="568"/>
                    </a:lnTo>
                    <a:lnTo>
                      <a:pt x="1126" y="564"/>
                    </a:lnTo>
                    <a:lnTo>
                      <a:pt x="1126" y="564"/>
                    </a:lnTo>
                    <a:lnTo>
                      <a:pt x="1126" y="560"/>
                    </a:lnTo>
                    <a:lnTo>
                      <a:pt x="1126" y="558"/>
                    </a:lnTo>
                    <a:lnTo>
                      <a:pt x="1130" y="554"/>
                    </a:lnTo>
                    <a:lnTo>
                      <a:pt x="1144" y="548"/>
                    </a:lnTo>
                    <a:lnTo>
                      <a:pt x="1150" y="544"/>
                    </a:lnTo>
                    <a:lnTo>
                      <a:pt x="1154" y="536"/>
                    </a:lnTo>
                    <a:lnTo>
                      <a:pt x="1156" y="532"/>
                    </a:lnTo>
                    <a:lnTo>
                      <a:pt x="1154" y="528"/>
                    </a:lnTo>
                    <a:lnTo>
                      <a:pt x="1148" y="514"/>
                    </a:lnTo>
                    <a:lnTo>
                      <a:pt x="1148" y="5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55" name="Полилиния 6089">
                <a:extLst>
                  <a:ext uri="{FF2B5EF4-FFF2-40B4-BE49-F238E27FC236}">
                    <a16:creationId xmlns:a16="http://schemas.microsoft.com/office/drawing/2014/main" xmlns="" id="{68D3137A-8FD1-4842-9A5F-FAA211E1F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1770" y="1751013"/>
                <a:ext cx="20320" cy="1524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8" y="18"/>
                  </a:cxn>
                  <a:cxn ang="0">
                    <a:pos x="14" y="22"/>
                  </a:cxn>
                  <a:cxn ang="0">
                    <a:pos x="20" y="24"/>
                  </a:cxn>
                  <a:cxn ang="0">
                    <a:pos x="26" y="24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2" y="12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32" h="24">
                    <a:moveTo>
                      <a:pt x="6" y="0"/>
                    </a:move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8" y="18"/>
                    </a:lnTo>
                    <a:lnTo>
                      <a:pt x="14" y="22"/>
                    </a:lnTo>
                    <a:lnTo>
                      <a:pt x="20" y="24"/>
                    </a:lnTo>
                    <a:lnTo>
                      <a:pt x="26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56" name="Полилиния 6091">
                <a:extLst>
                  <a:ext uri="{FF2B5EF4-FFF2-40B4-BE49-F238E27FC236}">
                    <a16:creationId xmlns:a16="http://schemas.microsoft.com/office/drawing/2014/main" xmlns="" id="{2AA5CCE5-3825-441D-856F-C16D42FFB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840" y="1799273"/>
                <a:ext cx="13970" cy="15240"/>
              </a:xfrm>
              <a:custGeom>
                <a:avLst/>
                <a:gdLst/>
                <a:ahLst/>
                <a:cxnLst>
                  <a:cxn ang="0">
                    <a:pos x="4" y="24"/>
                  </a:cxn>
                  <a:cxn ang="0">
                    <a:pos x="4" y="24"/>
                  </a:cxn>
                  <a:cxn ang="0">
                    <a:pos x="12" y="22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4" y="24"/>
                  </a:cxn>
                </a:cxnLst>
                <a:rect l="0" t="0" r="r" b="b"/>
                <a:pathLst>
                  <a:path w="22" h="24">
                    <a:moveTo>
                      <a:pt x="4" y="24"/>
                    </a:moveTo>
                    <a:lnTo>
                      <a:pt x="4" y="24"/>
                    </a:lnTo>
                    <a:lnTo>
                      <a:pt x="12" y="22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57" name="Полилиния 6092">
                <a:extLst>
                  <a:ext uri="{FF2B5EF4-FFF2-40B4-BE49-F238E27FC236}">
                    <a16:creationId xmlns:a16="http://schemas.microsoft.com/office/drawing/2014/main" xmlns="" id="{AAC40914-CA7F-4EAE-8D56-FC388544B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040" y="1724343"/>
                <a:ext cx="22860" cy="34290"/>
              </a:xfrm>
              <a:custGeom>
                <a:avLst/>
                <a:gdLst/>
                <a:ahLst/>
                <a:cxnLst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0"/>
                  </a:cxn>
                  <a:cxn ang="0">
                    <a:pos x="30" y="42"/>
                  </a:cxn>
                  <a:cxn ang="0">
                    <a:pos x="34" y="32"/>
                  </a:cxn>
                  <a:cxn ang="0">
                    <a:pos x="36" y="22"/>
                  </a:cxn>
                  <a:cxn ang="0">
                    <a:pos x="36" y="12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8" y="48"/>
                  </a:cxn>
                  <a:cxn ang="0">
                    <a:pos x="14" y="52"/>
                  </a:cxn>
                  <a:cxn ang="0">
                    <a:pos x="20" y="54"/>
                  </a:cxn>
                  <a:cxn ang="0">
                    <a:pos x="20" y="54"/>
                  </a:cxn>
                </a:cxnLst>
                <a:rect l="0" t="0" r="r" b="b"/>
                <a:pathLst>
                  <a:path w="36" h="54">
                    <a:moveTo>
                      <a:pt x="20" y="54"/>
                    </a:moveTo>
                    <a:lnTo>
                      <a:pt x="20" y="54"/>
                    </a:lnTo>
                    <a:lnTo>
                      <a:pt x="26" y="50"/>
                    </a:lnTo>
                    <a:lnTo>
                      <a:pt x="30" y="42"/>
                    </a:lnTo>
                    <a:lnTo>
                      <a:pt x="34" y="32"/>
                    </a:lnTo>
                    <a:lnTo>
                      <a:pt x="36" y="22"/>
                    </a:lnTo>
                    <a:lnTo>
                      <a:pt x="36" y="12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8" y="48"/>
                    </a:lnTo>
                    <a:lnTo>
                      <a:pt x="14" y="52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58" name="Полилиния 6094">
                <a:extLst>
                  <a:ext uri="{FF2B5EF4-FFF2-40B4-BE49-F238E27FC236}">
                    <a16:creationId xmlns:a16="http://schemas.microsoft.com/office/drawing/2014/main" xmlns="" id="{4EC61762-B853-4DFE-9614-6044FB8FFC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240" y="1463993"/>
                <a:ext cx="59690" cy="48260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8" y="26"/>
                  </a:cxn>
                  <a:cxn ang="0">
                    <a:pos x="4" y="36"/>
                  </a:cxn>
                  <a:cxn ang="0">
                    <a:pos x="0" y="46"/>
                  </a:cxn>
                  <a:cxn ang="0">
                    <a:pos x="0" y="56"/>
                  </a:cxn>
                  <a:cxn ang="0">
                    <a:pos x="2" y="64"/>
                  </a:cxn>
                  <a:cxn ang="0">
                    <a:pos x="8" y="70"/>
                  </a:cxn>
                  <a:cxn ang="0">
                    <a:pos x="18" y="74"/>
                  </a:cxn>
                  <a:cxn ang="0">
                    <a:pos x="34" y="76"/>
                  </a:cxn>
                  <a:cxn ang="0">
                    <a:pos x="54" y="76"/>
                  </a:cxn>
                  <a:cxn ang="0">
                    <a:pos x="54" y="76"/>
                  </a:cxn>
                  <a:cxn ang="0">
                    <a:pos x="72" y="74"/>
                  </a:cxn>
                  <a:cxn ang="0">
                    <a:pos x="84" y="70"/>
                  </a:cxn>
                  <a:cxn ang="0">
                    <a:pos x="90" y="64"/>
                  </a:cxn>
                  <a:cxn ang="0">
                    <a:pos x="94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92" y="22"/>
                  </a:cxn>
                  <a:cxn ang="0">
                    <a:pos x="92" y="22"/>
                  </a:cxn>
                  <a:cxn ang="0">
                    <a:pos x="92" y="18"/>
                  </a:cxn>
                  <a:cxn ang="0">
                    <a:pos x="90" y="14"/>
                  </a:cxn>
                  <a:cxn ang="0">
                    <a:pos x="88" y="10"/>
                  </a:cxn>
                  <a:cxn ang="0">
                    <a:pos x="84" y="6"/>
                  </a:cxn>
                  <a:cxn ang="0">
                    <a:pos x="74" y="2"/>
                  </a:cxn>
                  <a:cxn ang="0">
                    <a:pos x="60" y="0"/>
                  </a:cxn>
                  <a:cxn ang="0">
                    <a:pos x="46" y="2"/>
                  </a:cxn>
                  <a:cxn ang="0">
                    <a:pos x="32" y="6"/>
                  </a:cxn>
                  <a:cxn ang="0">
                    <a:pos x="18" y="14"/>
                  </a:cxn>
                  <a:cxn ang="0">
                    <a:pos x="14" y="2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94" h="76">
                    <a:moveTo>
                      <a:pt x="8" y="26"/>
                    </a:moveTo>
                    <a:lnTo>
                      <a:pt x="8" y="26"/>
                    </a:lnTo>
                    <a:lnTo>
                      <a:pt x="4" y="36"/>
                    </a:lnTo>
                    <a:lnTo>
                      <a:pt x="0" y="46"/>
                    </a:lnTo>
                    <a:lnTo>
                      <a:pt x="0" y="56"/>
                    </a:lnTo>
                    <a:lnTo>
                      <a:pt x="2" y="64"/>
                    </a:lnTo>
                    <a:lnTo>
                      <a:pt x="8" y="70"/>
                    </a:lnTo>
                    <a:lnTo>
                      <a:pt x="18" y="74"/>
                    </a:lnTo>
                    <a:lnTo>
                      <a:pt x="34" y="76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72" y="74"/>
                    </a:lnTo>
                    <a:lnTo>
                      <a:pt x="84" y="70"/>
                    </a:lnTo>
                    <a:lnTo>
                      <a:pt x="90" y="64"/>
                    </a:lnTo>
                    <a:lnTo>
                      <a:pt x="94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8" y="10"/>
                    </a:lnTo>
                    <a:lnTo>
                      <a:pt x="84" y="6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46" y="2"/>
                    </a:lnTo>
                    <a:lnTo>
                      <a:pt x="32" y="6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59" name="Полилиния 6098">
                <a:extLst>
                  <a:ext uri="{FF2B5EF4-FFF2-40B4-BE49-F238E27FC236}">
                    <a16:creationId xmlns:a16="http://schemas.microsoft.com/office/drawing/2014/main" xmlns="" id="{BD6B17A0-6852-4140-8339-7BED5380C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8780" y="1211263"/>
                <a:ext cx="63500" cy="43180"/>
              </a:xfrm>
              <a:custGeom>
                <a:avLst/>
                <a:gdLst/>
                <a:ahLst/>
                <a:cxnLst>
                  <a:cxn ang="0">
                    <a:pos x="46" y="2"/>
                  </a:cxn>
                  <a:cxn ang="0">
                    <a:pos x="46" y="2"/>
                  </a:cxn>
                  <a:cxn ang="0">
                    <a:pos x="32" y="4"/>
                  </a:cxn>
                  <a:cxn ang="0">
                    <a:pos x="20" y="6"/>
                  </a:cxn>
                  <a:cxn ang="0">
                    <a:pos x="10" y="10"/>
                  </a:cxn>
                  <a:cxn ang="0">
                    <a:pos x="4" y="12"/>
                  </a:cxn>
                  <a:cxn ang="0">
                    <a:pos x="0" y="16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20" y="28"/>
                  </a:cxn>
                  <a:cxn ang="0">
                    <a:pos x="28" y="32"/>
                  </a:cxn>
                  <a:cxn ang="0">
                    <a:pos x="32" y="36"/>
                  </a:cxn>
                  <a:cxn ang="0">
                    <a:pos x="34" y="40"/>
                  </a:cxn>
                  <a:cxn ang="0">
                    <a:pos x="34" y="40"/>
                  </a:cxn>
                  <a:cxn ang="0">
                    <a:pos x="38" y="46"/>
                  </a:cxn>
                  <a:cxn ang="0">
                    <a:pos x="44" y="50"/>
                  </a:cxn>
                  <a:cxn ang="0">
                    <a:pos x="54" y="56"/>
                  </a:cxn>
                  <a:cxn ang="0">
                    <a:pos x="64" y="66"/>
                  </a:cxn>
                  <a:cxn ang="0">
                    <a:pos x="64" y="66"/>
                  </a:cxn>
                  <a:cxn ang="0">
                    <a:pos x="68" y="68"/>
                  </a:cxn>
                  <a:cxn ang="0">
                    <a:pos x="70" y="68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70" y="62"/>
                  </a:cxn>
                  <a:cxn ang="0">
                    <a:pos x="74" y="60"/>
                  </a:cxn>
                  <a:cxn ang="0">
                    <a:pos x="80" y="56"/>
                  </a:cxn>
                  <a:cxn ang="0">
                    <a:pos x="86" y="48"/>
                  </a:cxn>
                  <a:cxn ang="0">
                    <a:pos x="86" y="48"/>
                  </a:cxn>
                  <a:cxn ang="0">
                    <a:pos x="100" y="26"/>
                  </a:cxn>
                  <a:cxn ang="0">
                    <a:pos x="100" y="20"/>
                  </a:cxn>
                  <a:cxn ang="0">
                    <a:pos x="100" y="16"/>
                  </a:cxn>
                  <a:cxn ang="0">
                    <a:pos x="98" y="14"/>
                  </a:cxn>
                  <a:cxn ang="0">
                    <a:pos x="94" y="10"/>
                  </a:cxn>
                  <a:cxn ang="0">
                    <a:pos x="94" y="10"/>
                  </a:cxn>
                  <a:cxn ang="0">
                    <a:pos x="86" y="6"/>
                  </a:cxn>
                  <a:cxn ang="0">
                    <a:pos x="80" y="2"/>
                  </a:cxn>
                  <a:cxn ang="0">
                    <a:pos x="70" y="0"/>
                  </a:cxn>
                  <a:cxn ang="0">
                    <a:pos x="46" y="2"/>
                  </a:cxn>
                  <a:cxn ang="0">
                    <a:pos x="46" y="2"/>
                  </a:cxn>
                </a:cxnLst>
                <a:rect l="0" t="0" r="r" b="b"/>
                <a:pathLst>
                  <a:path w="100" h="68">
                    <a:moveTo>
                      <a:pt x="46" y="2"/>
                    </a:moveTo>
                    <a:lnTo>
                      <a:pt x="46" y="2"/>
                    </a:lnTo>
                    <a:lnTo>
                      <a:pt x="32" y="4"/>
                    </a:lnTo>
                    <a:lnTo>
                      <a:pt x="20" y="6"/>
                    </a:lnTo>
                    <a:lnTo>
                      <a:pt x="10" y="10"/>
                    </a:lnTo>
                    <a:lnTo>
                      <a:pt x="4" y="12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20" y="28"/>
                    </a:lnTo>
                    <a:lnTo>
                      <a:pt x="28" y="32"/>
                    </a:lnTo>
                    <a:lnTo>
                      <a:pt x="32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6"/>
                    </a:lnTo>
                    <a:lnTo>
                      <a:pt x="44" y="50"/>
                    </a:lnTo>
                    <a:lnTo>
                      <a:pt x="54" y="5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8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2"/>
                    </a:lnTo>
                    <a:lnTo>
                      <a:pt x="74" y="60"/>
                    </a:lnTo>
                    <a:lnTo>
                      <a:pt x="80" y="56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100" y="26"/>
                    </a:lnTo>
                    <a:lnTo>
                      <a:pt x="100" y="20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86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46" y="2"/>
                    </a:lnTo>
                    <a:lnTo>
                      <a:pt x="4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60" name="Полилиния 6099">
                <a:extLst>
                  <a:ext uri="{FF2B5EF4-FFF2-40B4-BE49-F238E27FC236}">
                    <a16:creationId xmlns:a16="http://schemas.microsoft.com/office/drawing/2014/main" xmlns="" id="{2394ED83-74EB-4184-B07E-E7DCDD251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3550" y="1088073"/>
                <a:ext cx="48260" cy="10160"/>
              </a:xfrm>
              <a:custGeom>
                <a:avLst/>
                <a:gdLst/>
                <a:ahLst/>
                <a:cxnLst>
                  <a:cxn ang="0">
                    <a:pos x="76" y="2"/>
                  </a:cxn>
                  <a:cxn ang="0">
                    <a:pos x="76" y="2"/>
                  </a:cxn>
                  <a:cxn ang="0">
                    <a:pos x="68" y="0"/>
                  </a:cxn>
                  <a:cxn ang="0">
                    <a:pos x="56" y="0"/>
                  </a:cxn>
                  <a:cxn ang="0">
                    <a:pos x="30" y="2"/>
                  </a:cxn>
                  <a:cxn ang="0">
                    <a:pos x="16" y="6"/>
                  </a:cxn>
                  <a:cxn ang="0">
                    <a:pos x="6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20" y="16"/>
                  </a:cxn>
                  <a:cxn ang="0">
                    <a:pos x="48" y="14"/>
                  </a:cxn>
                  <a:cxn ang="0">
                    <a:pos x="70" y="8"/>
                  </a:cxn>
                  <a:cxn ang="0">
                    <a:pos x="76" y="4"/>
                  </a:cxn>
                  <a:cxn ang="0">
                    <a:pos x="76" y="2"/>
                  </a:cxn>
                  <a:cxn ang="0">
                    <a:pos x="76" y="2"/>
                  </a:cxn>
                  <a:cxn ang="0">
                    <a:pos x="76" y="2"/>
                  </a:cxn>
                </a:cxnLst>
                <a:rect l="0" t="0" r="r" b="b"/>
                <a:pathLst>
                  <a:path w="76" h="16">
                    <a:moveTo>
                      <a:pt x="76" y="2"/>
                    </a:moveTo>
                    <a:lnTo>
                      <a:pt x="76" y="2"/>
                    </a:lnTo>
                    <a:lnTo>
                      <a:pt x="68" y="0"/>
                    </a:lnTo>
                    <a:lnTo>
                      <a:pt x="56" y="0"/>
                    </a:lnTo>
                    <a:lnTo>
                      <a:pt x="30" y="2"/>
                    </a:lnTo>
                    <a:lnTo>
                      <a:pt x="16" y="6"/>
                    </a:lnTo>
                    <a:lnTo>
                      <a:pt x="6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16"/>
                    </a:lnTo>
                    <a:lnTo>
                      <a:pt x="20" y="16"/>
                    </a:lnTo>
                    <a:lnTo>
                      <a:pt x="48" y="14"/>
                    </a:lnTo>
                    <a:lnTo>
                      <a:pt x="70" y="8"/>
                    </a:lnTo>
                    <a:lnTo>
                      <a:pt x="76" y="4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61" name="Полилиния 6100">
                <a:extLst>
                  <a:ext uri="{FF2B5EF4-FFF2-40B4-BE49-F238E27FC236}">
                    <a16:creationId xmlns:a16="http://schemas.microsoft.com/office/drawing/2014/main" xmlns="" id="{2BA6CF96-2641-432A-8A0D-AB6AF1D9D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390" y="1129983"/>
                <a:ext cx="30480" cy="203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8" y="30"/>
                  </a:cxn>
                  <a:cxn ang="0">
                    <a:pos x="16" y="32"/>
                  </a:cxn>
                  <a:cxn ang="0">
                    <a:pos x="26" y="32"/>
                  </a:cxn>
                  <a:cxn ang="0">
                    <a:pos x="34" y="30"/>
                  </a:cxn>
                  <a:cxn ang="0">
                    <a:pos x="42" y="28"/>
                  </a:cxn>
                  <a:cxn ang="0">
                    <a:pos x="46" y="22"/>
                  </a:cxn>
                  <a:cxn ang="0">
                    <a:pos x="48" y="20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48" h="32">
                    <a:moveTo>
                      <a:pt x="0" y="20"/>
                    </a:moveTo>
                    <a:lnTo>
                      <a:pt x="0" y="20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6" y="32"/>
                    </a:lnTo>
                    <a:lnTo>
                      <a:pt x="34" y="30"/>
                    </a:lnTo>
                    <a:lnTo>
                      <a:pt x="42" y="28"/>
                    </a:lnTo>
                    <a:lnTo>
                      <a:pt x="46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62" name="Полилиния 6101">
                <a:extLst>
                  <a:ext uri="{FF2B5EF4-FFF2-40B4-BE49-F238E27FC236}">
                    <a16:creationId xmlns:a16="http://schemas.microsoft.com/office/drawing/2014/main" xmlns="" id="{58392AEF-BD72-447F-ADF6-3286F37FBB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8470" y="1065213"/>
                <a:ext cx="44450" cy="21590"/>
              </a:xfrm>
              <a:custGeom>
                <a:avLst/>
                <a:gdLst/>
                <a:ahLst/>
                <a:cxnLst>
                  <a:cxn ang="0">
                    <a:pos x="62" y="18"/>
                  </a:cxn>
                  <a:cxn ang="0">
                    <a:pos x="62" y="18"/>
                  </a:cxn>
                  <a:cxn ang="0">
                    <a:pos x="52" y="16"/>
                  </a:cxn>
                  <a:cxn ang="0">
                    <a:pos x="44" y="14"/>
                  </a:cxn>
                  <a:cxn ang="0">
                    <a:pos x="34" y="6"/>
                  </a:cxn>
                  <a:cxn ang="0">
                    <a:pos x="30" y="2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26" y="34"/>
                  </a:cxn>
                  <a:cxn ang="0">
                    <a:pos x="40" y="32"/>
                  </a:cxn>
                  <a:cxn ang="0">
                    <a:pos x="52" y="30"/>
                  </a:cxn>
                  <a:cxn ang="0">
                    <a:pos x="62" y="28"/>
                  </a:cxn>
                  <a:cxn ang="0">
                    <a:pos x="68" y="24"/>
                  </a:cxn>
                  <a:cxn ang="0">
                    <a:pos x="70" y="22"/>
                  </a:cxn>
                  <a:cxn ang="0">
                    <a:pos x="70" y="20"/>
                  </a:cxn>
                  <a:cxn ang="0">
                    <a:pos x="62" y="18"/>
                  </a:cxn>
                  <a:cxn ang="0">
                    <a:pos x="62" y="18"/>
                  </a:cxn>
                </a:cxnLst>
                <a:rect l="0" t="0" r="r" b="b"/>
                <a:pathLst>
                  <a:path w="70" h="34">
                    <a:moveTo>
                      <a:pt x="62" y="18"/>
                    </a:moveTo>
                    <a:lnTo>
                      <a:pt x="62" y="18"/>
                    </a:lnTo>
                    <a:lnTo>
                      <a:pt x="52" y="16"/>
                    </a:lnTo>
                    <a:lnTo>
                      <a:pt x="44" y="14"/>
                    </a:lnTo>
                    <a:lnTo>
                      <a:pt x="34" y="6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6" y="34"/>
                    </a:lnTo>
                    <a:lnTo>
                      <a:pt x="40" y="32"/>
                    </a:lnTo>
                    <a:lnTo>
                      <a:pt x="52" y="30"/>
                    </a:lnTo>
                    <a:lnTo>
                      <a:pt x="62" y="28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63" name="Полилиния 6102">
                <a:extLst>
                  <a:ext uri="{FF2B5EF4-FFF2-40B4-BE49-F238E27FC236}">
                    <a16:creationId xmlns:a16="http://schemas.microsoft.com/office/drawing/2014/main" xmlns="" id="{4D94BCDC-F190-4D8E-92A5-AAF1BB8A93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2780" y="1048703"/>
                <a:ext cx="449580" cy="129540"/>
              </a:xfrm>
              <a:custGeom>
                <a:avLst/>
                <a:gdLst/>
                <a:ahLst/>
                <a:cxnLst>
                  <a:cxn ang="0">
                    <a:pos x="342" y="198"/>
                  </a:cxn>
                  <a:cxn ang="0">
                    <a:pos x="406" y="202"/>
                  </a:cxn>
                  <a:cxn ang="0">
                    <a:pos x="530" y="198"/>
                  </a:cxn>
                  <a:cxn ang="0">
                    <a:pos x="560" y="176"/>
                  </a:cxn>
                  <a:cxn ang="0">
                    <a:pos x="566" y="188"/>
                  </a:cxn>
                  <a:cxn ang="0">
                    <a:pos x="624" y="200"/>
                  </a:cxn>
                  <a:cxn ang="0">
                    <a:pos x="680" y="190"/>
                  </a:cxn>
                  <a:cxn ang="0">
                    <a:pos x="688" y="174"/>
                  </a:cxn>
                  <a:cxn ang="0">
                    <a:pos x="708" y="168"/>
                  </a:cxn>
                  <a:cxn ang="0">
                    <a:pos x="694" y="158"/>
                  </a:cxn>
                  <a:cxn ang="0">
                    <a:pos x="700" y="144"/>
                  </a:cxn>
                  <a:cxn ang="0">
                    <a:pos x="700" y="126"/>
                  </a:cxn>
                  <a:cxn ang="0">
                    <a:pos x="672" y="110"/>
                  </a:cxn>
                  <a:cxn ang="0">
                    <a:pos x="642" y="104"/>
                  </a:cxn>
                  <a:cxn ang="0">
                    <a:pos x="600" y="96"/>
                  </a:cxn>
                  <a:cxn ang="0">
                    <a:pos x="480" y="110"/>
                  </a:cxn>
                  <a:cxn ang="0">
                    <a:pos x="442" y="126"/>
                  </a:cxn>
                  <a:cxn ang="0">
                    <a:pos x="416" y="122"/>
                  </a:cxn>
                  <a:cxn ang="0">
                    <a:pos x="374" y="120"/>
                  </a:cxn>
                  <a:cxn ang="0">
                    <a:pos x="346" y="114"/>
                  </a:cxn>
                  <a:cxn ang="0">
                    <a:pos x="330" y="110"/>
                  </a:cxn>
                  <a:cxn ang="0">
                    <a:pos x="324" y="124"/>
                  </a:cxn>
                  <a:cxn ang="0">
                    <a:pos x="310" y="116"/>
                  </a:cxn>
                  <a:cxn ang="0">
                    <a:pos x="310" y="102"/>
                  </a:cxn>
                  <a:cxn ang="0">
                    <a:pos x="294" y="84"/>
                  </a:cxn>
                  <a:cxn ang="0">
                    <a:pos x="268" y="84"/>
                  </a:cxn>
                  <a:cxn ang="0">
                    <a:pos x="262" y="76"/>
                  </a:cxn>
                  <a:cxn ang="0">
                    <a:pos x="308" y="74"/>
                  </a:cxn>
                  <a:cxn ang="0">
                    <a:pos x="316" y="66"/>
                  </a:cxn>
                  <a:cxn ang="0">
                    <a:pos x="278" y="52"/>
                  </a:cxn>
                  <a:cxn ang="0">
                    <a:pos x="240" y="34"/>
                  </a:cxn>
                  <a:cxn ang="0">
                    <a:pos x="182" y="36"/>
                  </a:cxn>
                  <a:cxn ang="0">
                    <a:pos x="154" y="30"/>
                  </a:cxn>
                  <a:cxn ang="0">
                    <a:pos x="124" y="10"/>
                  </a:cxn>
                  <a:cxn ang="0">
                    <a:pos x="78" y="6"/>
                  </a:cxn>
                  <a:cxn ang="0">
                    <a:pos x="10" y="0"/>
                  </a:cxn>
                  <a:cxn ang="0">
                    <a:pos x="2" y="12"/>
                  </a:cxn>
                  <a:cxn ang="0">
                    <a:pos x="18" y="32"/>
                  </a:cxn>
                  <a:cxn ang="0">
                    <a:pos x="58" y="52"/>
                  </a:cxn>
                  <a:cxn ang="0">
                    <a:pos x="66" y="66"/>
                  </a:cxn>
                  <a:cxn ang="0">
                    <a:pos x="112" y="66"/>
                  </a:cxn>
                  <a:cxn ang="0">
                    <a:pos x="160" y="60"/>
                  </a:cxn>
                  <a:cxn ang="0">
                    <a:pos x="186" y="84"/>
                  </a:cxn>
                  <a:cxn ang="0">
                    <a:pos x="202" y="98"/>
                  </a:cxn>
                  <a:cxn ang="0">
                    <a:pos x="194" y="120"/>
                  </a:cxn>
                  <a:cxn ang="0">
                    <a:pos x="186" y="142"/>
                  </a:cxn>
                  <a:cxn ang="0">
                    <a:pos x="198" y="154"/>
                  </a:cxn>
                  <a:cxn ang="0">
                    <a:pos x="206" y="182"/>
                  </a:cxn>
                  <a:cxn ang="0">
                    <a:pos x="232" y="190"/>
                  </a:cxn>
                  <a:cxn ang="0">
                    <a:pos x="250" y="186"/>
                  </a:cxn>
                  <a:cxn ang="0">
                    <a:pos x="282" y="198"/>
                  </a:cxn>
                  <a:cxn ang="0">
                    <a:pos x="326" y="188"/>
                  </a:cxn>
                  <a:cxn ang="0">
                    <a:pos x="342" y="188"/>
                  </a:cxn>
                </a:cxnLst>
                <a:rect l="0" t="0" r="r" b="b"/>
                <a:pathLst>
                  <a:path w="708" h="204">
                    <a:moveTo>
                      <a:pt x="342" y="188"/>
                    </a:moveTo>
                    <a:lnTo>
                      <a:pt x="342" y="188"/>
                    </a:lnTo>
                    <a:lnTo>
                      <a:pt x="342" y="196"/>
                    </a:lnTo>
                    <a:lnTo>
                      <a:pt x="342" y="198"/>
                    </a:lnTo>
                    <a:lnTo>
                      <a:pt x="344" y="200"/>
                    </a:lnTo>
                    <a:lnTo>
                      <a:pt x="352" y="202"/>
                    </a:lnTo>
                    <a:lnTo>
                      <a:pt x="364" y="204"/>
                    </a:lnTo>
                    <a:lnTo>
                      <a:pt x="406" y="202"/>
                    </a:lnTo>
                    <a:lnTo>
                      <a:pt x="472" y="202"/>
                    </a:lnTo>
                    <a:lnTo>
                      <a:pt x="472" y="202"/>
                    </a:lnTo>
                    <a:lnTo>
                      <a:pt x="506" y="202"/>
                    </a:lnTo>
                    <a:lnTo>
                      <a:pt x="530" y="198"/>
                    </a:lnTo>
                    <a:lnTo>
                      <a:pt x="546" y="192"/>
                    </a:lnTo>
                    <a:lnTo>
                      <a:pt x="554" y="186"/>
                    </a:lnTo>
                    <a:lnTo>
                      <a:pt x="558" y="180"/>
                    </a:lnTo>
                    <a:lnTo>
                      <a:pt x="560" y="176"/>
                    </a:lnTo>
                    <a:lnTo>
                      <a:pt x="562" y="178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66" y="188"/>
                    </a:lnTo>
                    <a:lnTo>
                      <a:pt x="570" y="190"/>
                    </a:lnTo>
                    <a:lnTo>
                      <a:pt x="584" y="196"/>
                    </a:lnTo>
                    <a:lnTo>
                      <a:pt x="604" y="200"/>
                    </a:lnTo>
                    <a:lnTo>
                      <a:pt x="624" y="200"/>
                    </a:lnTo>
                    <a:lnTo>
                      <a:pt x="646" y="200"/>
                    </a:lnTo>
                    <a:lnTo>
                      <a:pt x="664" y="198"/>
                    </a:lnTo>
                    <a:lnTo>
                      <a:pt x="676" y="192"/>
                    </a:lnTo>
                    <a:lnTo>
                      <a:pt x="680" y="190"/>
                    </a:lnTo>
                    <a:lnTo>
                      <a:pt x="682" y="186"/>
                    </a:lnTo>
                    <a:lnTo>
                      <a:pt x="682" y="186"/>
                    </a:lnTo>
                    <a:lnTo>
                      <a:pt x="684" y="178"/>
                    </a:lnTo>
                    <a:lnTo>
                      <a:pt x="688" y="174"/>
                    </a:lnTo>
                    <a:lnTo>
                      <a:pt x="694" y="172"/>
                    </a:lnTo>
                    <a:lnTo>
                      <a:pt x="700" y="170"/>
                    </a:lnTo>
                    <a:lnTo>
                      <a:pt x="706" y="168"/>
                    </a:lnTo>
                    <a:lnTo>
                      <a:pt x="708" y="168"/>
                    </a:lnTo>
                    <a:lnTo>
                      <a:pt x="708" y="166"/>
                    </a:lnTo>
                    <a:lnTo>
                      <a:pt x="700" y="162"/>
                    </a:lnTo>
                    <a:lnTo>
                      <a:pt x="700" y="162"/>
                    </a:lnTo>
                    <a:lnTo>
                      <a:pt x="694" y="158"/>
                    </a:lnTo>
                    <a:lnTo>
                      <a:pt x="690" y="154"/>
                    </a:lnTo>
                    <a:lnTo>
                      <a:pt x="692" y="152"/>
                    </a:lnTo>
                    <a:lnTo>
                      <a:pt x="696" y="148"/>
                    </a:lnTo>
                    <a:lnTo>
                      <a:pt x="700" y="144"/>
                    </a:lnTo>
                    <a:lnTo>
                      <a:pt x="702" y="140"/>
                    </a:lnTo>
                    <a:lnTo>
                      <a:pt x="704" y="134"/>
                    </a:lnTo>
                    <a:lnTo>
                      <a:pt x="700" y="126"/>
                    </a:lnTo>
                    <a:lnTo>
                      <a:pt x="700" y="126"/>
                    </a:lnTo>
                    <a:lnTo>
                      <a:pt x="694" y="118"/>
                    </a:lnTo>
                    <a:lnTo>
                      <a:pt x="688" y="114"/>
                    </a:lnTo>
                    <a:lnTo>
                      <a:pt x="680" y="112"/>
                    </a:lnTo>
                    <a:lnTo>
                      <a:pt x="672" y="110"/>
                    </a:lnTo>
                    <a:lnTo>
                      <a:pt x="654" y="110"/>
                    </a:lnTo>
                    <a:lnTo>
                      <a:pt x="648" y="108"/>
                    </a:lnTo>
                    <a:lnTo>
                      <a:pt x="642" y="104"/>
                    </a:lnTo>
                    <a:lnTo>
                      <a:pt x="642" y="104"/>
                    </a:lnTo>
                    <a:lnTo>
                      <a:pt x="636" y="98"/>
                    </a:lnTo>
                    <a:lnTo>
                      <a:pt x="626" y="96"/>
                    </a:lnTo>
                    <a:lnTo>
                      <a:pt x="614" y="94"/>
                    </a:lnTo>
                    <a:lnTo>
                      <a:pt x="600" y="96"/>
                    </a:lnTo>
                    <a:lnTo>
                      <a:pt x="560" y="98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480" y="110"/>
                    </a:lnTo>
                    <a:lnTo>
                      <a:pt x="464" y="114"/>
                    </a:lnTo>
                    <a:lnTo>
                      <a:pt x="454" y="120"/>
                    </a:lnTo>
                    <a:lnTo>
                      <a:pt x="446" y="124"/>
                    </a:lnTo>
                    <a:lnTo>
                      <a:pt x="442" y="126"/>
                    </a:lnTo>
                    <a:lnTo>
                      <a:pt x="438" y="128"/>
                    </a:lnTo>
                    <a:lnTo>
                      <a:pt x="430" y="126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02" y="118"/>
                    </a:lnTo>
                    <a:lnTo>
                      <a:pt x="390" y="118"/>
                    </a:lnTo>
                    <a:lnTo>
                      <a:pt x="382" y="118"/>
                    </a:lnTo>
                    <a:lnTo>
                      <a:pt x="374" y="120"/>
                    </a:lnTo>
                    <a:lnTo>
                      <a:pt x="368" y="122"/>
                    </a:lnTo>
                    <a:lnTo>
                      <a:pt x="362" y="122"/>
                    </a:lnTo>
                    <a:lnTo>
                      <a:pt x="354" y="120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38" y="110"/>
                    </a:lnTo>
                    <a:lnTo>
                      <a:pt x="332" y="108"/>
                    </a:lnTo>
                    <a:lnTo>
                      <a:pt x="330" y="110"/>
                    </a:lnTo>
                    <a:lnTo>
                      <a:pt x="328" y="114"/>
                    </a:lnTo>
                    <a:lnTo>
                      <a:pt x="328" y="118"/>
                    </a:lnTo>
                    <a:lnTo>
                      <a:pt x="326" y="122"/>
                    </a:lnTo>
                    <a:lnTo>
                      <a:pt x="324" y="124"/>
                    </a:lnTo>
                    <a:lnTo>
                      <a:pt x="318" y="122"/>
                    </a:lnTo>
                    <a:lnTo>
                      <a:pt x="318" y="122"/>
                    </a:lnTo>
                    <a:lnTo>
                      <a:pt x="312" y="118"/>
                    </a:lnTo>
                    <a:lnTo>
                      <a:pt x="310" y="116"/>
                    </a:lnTo>
                    <a:lnTo>
                      <a:pt x="310" y="112"/>
                    </a:lnTo>
                    <a:lnTo>
                      <a:pt x="310" y="110"/>
                    </a:lnTo>
                    <a:lnTo>
                      <a:pt x="312" y="106"/>
                    </a:lnTo>
                    <a:lnTo>
                      <a:pt x="310" y="102"/>
                    </a:lnTo>
                    <a:lnTo>
                      <a:pt x="308" y="96"/>
                    </a:lnTo>
                    <a:lnTo>
                      <a:pt x="300" y="90"/>
                    </a:lnTo>
                    <a:lnTo>
                      <a:pt x="300" y="90"/>
                    </a:lnTo>
                    <a:lnTo>
                      <a:pt x="294" y="84"/>
                    </a:lnTo>
                    <a:lnTo>
                      <a:pt x="286" y="82"/>
                    </a:lnTo>
                    <a:lnTo>
                      <a:pt x="280" y="82"/>
                    </a:lnTo>
                    <a:lnTo>
                      <a:pt x="276" y="82"/>
                    </a:lnTo>
                    <a:lnTo>
                      <a:pt x="268" y="84"/>
                    </a:lnTo>
                    <a:lnTo>
                      <a:pt x="266" y="82"/>
                    </a:lnTo>
                    <a:lnTo>
                      <a:pt x="264" y="78"/>
                    </a:lnTo>
                    <a:lnTo>
                      <a:pt x="264" y="78"/>
                    </a:lnTo>
                    <a:lnTo>
                      <a:pt x="262" y="76"/>
                    </a:lnTo>
                    <a:lnTo>
                      <a:pt x="264" y="74"/>
                    </a:lnTo>
                    <a:lnTo>
                      <a:pt x="270" y="72"/>
                    </a:lnTo>
                    <a:lnTo>
                      <a:pt x="290" y="72"/>
                    </a:lnTo>
                    <a:lnTo>
                      <a:pt x="308" y="74"/>
                    </a:lnTo>
                    <a:lnTo>
                      <a:pt x="314" y="72"/>
                    </a:lnTo>
                    <a:lnTo>
                      <a:pt x="316" y="70"/>
                    </a:lnTo>
                    <a:lnTo>
                      <a:pt x="316" y="66"/>
                    </a:lnTo>
                    <a:lnTo>
                      <a:pt x="316" y="66"/>
                    </a:lnTo>
                    <a:lnTo>
                      <a:pt x="314" y="62"/>
                    </a:lnTo>
                    <a:lnTo>
                      <a:pt x="308" y="58"/>
                    </a:lnTo>
                    <a:lnTo>
                      <a:pt x="296" y="56"/>
                    </a:lnTo>
                    <a:lnTo>
                      <a:pt x="278" y="52"/>
                    </a:lnTo>
                    <a:lnTo>
                      <a:pt x="268" y="48"/>
                    </a:lnTo>
                    <a:lnTo>
                      <a:pt x="258" y="44"/>
                    </a:lnTo>
                    <a:lnTo>
                      <a:pt x="258" y="44"/>
                    </a:lnTo>
                    <a:lnTo>
                      <a:pt x="240" y="34"/>
                    </a:lnTo>
                    <a:lnTo>
                      <a:pt x="232" y="32"/>
                    </a:lnTo>
                    <a:lnTo>
                      <a:pt x="224" y="30"/>
                    </a:lnTo>
                    <a:lnTo>
                      <a:pt x="204" y="32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70" y="36"/>
                    </a:lnTo>
                    <a:lnTo>
                      <a:pt x="162" y="34"/>
                    </a:lnTo>
                    <a:lnTo>
                      <a:pt x="154" y="30"/>
                    </a:lnTo>
                    <a:lnTo>
                      <a:pt x="148" y="24"/>
                    </a:lnTo>
                    <a:lnTo>
                      <a:pt x="136" y="14"/>
                    </a:lnTo>
                    <a:lnTo>
                      <a:pt x="130" y="10"/>
                    </a:lnTo>
                    <a:lnTo>
                      <a:pt x="124" y="10"/>
                    </a:lnTo>
                    <a:lnTo>
                      <a:pt x="124" y="10"/>
                    </a:lnTo>
                    <a:lnTo>
                      <a:pt x="114" y="10"/>
                    </a:lnTo>
                    <a:lnTo>
                      <a:pt x="104" y="10"/>
                    </a:lnTo>
                    <a:lnTo>
                      <a:pt x="78" y="6"/>
                    </a:lnTo>
                    <a:lnTo>
                      <a:pt x="4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0" y="2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6" y="38"/>
                    </a:lnTo>
                    <a:lnTo>
                      <a:pt x="36" y="42"/>
                    </a:lnTo>
                    <a:lnTo>
                      <a:pt x="50" y="48"/>
                    </a:lnTo>
                    <a:lnTo>
                      <a:pt x="58" y="52"/>
                    </a:lnTo>
                    <a:lnTo>
                      <a:pt x="62" y="56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6" y="66"/>
                    </a:lnTo>
                    <a:lnTo>
                      <a:pt x="70" y="68"/>
                    </a:lnTo>
                    <a:lnTo>
                      <a:pt x="78" y="70"/>
                    </a:lnTo>
                    <a:lnTo>
                      <a:pt x="88" y="70"/>
                    </a:lnTo>
                    <a:lnTo>
                      <a:pt x="112" y="66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60" y="60"/>
                    </a:lnTo>
                    <a:lnTo>
                      <a:pt x="166" y="62"/>
                    </a:lnTo>
                    <a:lnTo>
                      <a:pt x="170" y="66"/>
                    </a:lnTo>
                    <a:lnTo>
                      <a:pt x="180" y="78"/>
                    </a:lnTo>
                    <a:lnTo>
                      <a:pt x="186" y="84"/>
                    </a:lnTo>
                    <a:lnTo>
                      <a:pt x="194" y="90"/>
                    </a:lnTo>
                    <a:lnTo>
                      <a:pt x="194" y="90"/>
                    </a:lnTo>
                    <a:lnTo>
                      <a:pt x="198" y="94"/>
                    </a:lnTo>
                    <a:lnTo>
                      <a:pt x="202" y="98"/>
                    </a:lnTo>
                    <a:lnTo>
                      <a:pt x="202" y="102"/>
                    </a:lnTo>
                    <a:lnTo>
                      <a:pt x="202" y="106"/>
                    </a:lnTo>
                    <a:lnTo>
                      <a:pt x="200" y="114"/>
                    </a:lnTo>
                    <a:lnTo>
                      <a:pt x="194" y="120"/>
                    </a:lnTo>
                    <a:lnTo>
                      <a:pt x="190" y="128"/>
                    </a:lnTo>
                    <a:lnTo>
                      <a:pt x="186" y="134"/>
                    </a:lnTo>
                    <a:lnTo>
                      <a:pt x="184" y="140"/>
                    </a:lnTo>
                    <a:lnTo>
                      <a:pt x="186" y="142"/>
                    </a:lnTo>
                    <a:lnTo>
                      <a:pt x="190" y="144"/>
                    </a:lnTo>
                    <a:lnTo>
                      <a:pt x="190" y="144"/>
                    </a:lnTo>
                    <a:lnTo>
                      <a:pt x="196" y="150"/>
                    </a:lnTo>
                    <a:lnTo>
                      <a:pt x="198" y="154"/>
                    </a:lnTo>
                    <a:lnTo>
                      <a:pt x="200" y="164"/>
                    </a:lnTo>
                    <a:lnTo>
                      <a:pt x="200" y="170"/>
                    </a:lnTo>
                    <a:lnTo>
                      <a:pt x="202" y="176"/>
                    </a:lnTo>
                    <a:lnTo>
                      <a:pt x="206" y="182"/>
                    </a:lnTo>
                    <a:lnTo>
                      <a:pt x="216" y="186"/>
                    </a:lnTo>
                    <a:lnTo>
                      <a:pt x="216" y="186"/>
                    </a:lnTo>
                    <a:lnTo>
                      <a:pt x="224" y="190"/>
                    </a:lnTo>
                    <a:lnTo>
                      <a:pt x="232" y="190"/>
                    </a:lnTo>
                    <a:lnTo>
                      <a:pt x="236" y="190"/>
                    </a:lnTo>
                    <a:lnTo>
                      <a:pt x="240" y="188"/>
                    </a:lnTo>
                    <a:lnTo>
                      <a:pt x="244" y="186"/>
                    </a:lnTo>
                    <a:lnTo>
                      <a:pt x="250" y="186"/>
                    </a:lnTo>
                    <a:lnTo>
                      <a:pt x="260" y="188"/>
                    </a:lnTo>
                    <a:lnTo>
                      <a:pt x="274" y="194"/>
                    </a:lnTo>
                    <a:lnTo>
                      <a:pt x="274" y="194"/>
                    </a:lnTo>
                    <a:lnTo>
                      <a:pt x="282" y="198"/>
                    </a:lnTo>
                    <a:lnTo>
                      <a:pt x="290" y="198"/>
                    </a:lnTo>
                    <a:lnTo>
                      <a:pt x="304" y="198"/>
                    </a:lnTo>
                    <a:lnTo>
                      <a:pt x="316" y="194"/>
                    </a:lnTo>
                    <a:lnTo>
                      <a:pt x="326" y="188"/>
                    </a:lnTo>
                    <a:lnTo>
                      <a:pt x="340" y="180"/>
                    </a:lnTo>
                    <a:lnTo>
                      <a:pt x="342" y="180"/>
                    </a:lnTo>
                    <a:lnTo>
                      <a:pt x="342" y="180"/>
                    </a:lnTo>
                    <a:lnTo>
                      <a:pt x="342" y="188"/>
                    </a:lnTo>
                    <a:lnTo>
                      <a:pt x="342" y="18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64" name="Полилиния 6103">
                <a:extLst>
                  <a:ext uri="{FF2B5EF4-FFF2-40B4-BE49-F238E27FC236}">
                    <a16:creationId xmlns:a16="http://schemas.microsoft.com/office/drawing/2014/main" xmlns="" id="{08EF827A-EF16-4A46-B20C-3D6E94106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750" y="1119823"/>
                <a:ext cx="81280" cy="49530"/>
              </a:xfrm>
              <a:custGeom>
                <a:avLst/>
                <a:gdLst/>
                <a:ahLst/>
                <a:cxnLst>
                  <a:cxn ang="0">
                    <a:pos x="94" y="78"/>
                  </a:cxn>
                  <a:cxn ang="0">
                    <a:pos x="94" y="78"/>
                  </a:cxn>
                  <a:cxn ang="0">
                    <a:pos x="110" y="76"/>
                  </a:cxn>
                  <a:cxn ang="0">
                    <a:pos x="120" y="72"/>
                  </a:cxn>
                  <a:cxn ang="0">
                    <a:pos x="126" y="66"/>
                  </a:cxn>
                  <a:cxn ang="0">
                    <a:pos x="128" y="58"/>
                  </a:cxn>
                  <a:cxn ang="0">
                    <a:pos x="126" y="48"/>
                  </a:cxn>
                  <a:cxn ang="0">
                    <a:pos x="120" y="38"/>
                  </a:cxn>
                  <a:cxn ang="0">
                    <a:pos x="114" y="28"/>
                  </a:cxn>
                  <a:cxn ang="0">
                    <a:pos x="104" y="16"/>
                  </a:cxn>
                  <a:cxn ang="0">
                    <a:pos x="104" y="16"/>
                  </a:cxn>
                  <a:cxn ang="0">
                    <a:pos x="92" y="8"/>
                  </a:cxn>
                  <a:cxn ang="0">
                    <a:pos x="80" y="2"/>
                  </a:cxn>
                  <a:cxn ang="0">
                    <a:pos x="68" y="0"/>
                  </a:cxn>
                  <a:cxn ang="0">
                    <a:pos x="58" y="0"/>
                  </a:cxn>
                  <a:cxn ang="0">
                    <a:pos x="46" y="2"/>
                  </a:cxn>
                  <a:cxn ang="0">
                    <a:pos x="34" y="8"/>
                  </a:cxn>
                  <a:cxn ang="0">
                    <a:pos x="24" y="1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6" y="36"/>
                  </a:cxn>
                  <a:cxn ang="0">
                    <a:pos x="2" y="42"/>
                  </a:cxn>
                  <a:cxn ang="0">
                    <a:pos x="0" y="48"/>
                  </a:cxn>
                  <a:cxn ang="0">
                    <a:pos x="0" y="52"/>
                  </a:cxn>
                  <a:cxn ang="0">
                    <a:pos x="4" y="56"/>
                  </a:cxn>
                  <a:cxn ang="0">
                    <a:pos x="10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2" y="62"/>
                  </a:cxn>
                  <a:cxn ang="0">
                    <a:pos x="40" y="64"/>
                  </a:cxn>
                  <a:cxn ang="0">
                    <a:pos x="54" y="70"/>
                  </a:cxn>
                  <a:cxn ang="0">
                    <a:pos x="68" y="76"/>
                  </a:cxn>
                  <a:cxn ang="0">
                    <a:pos x="80" y="76"/>
                  </a:cxn>
                  <a:cxn ang="0">
                    <a:pos x="94" y="78"/>
                  </a:cxn>
                  <a:cxn ang="0">
                    <a:pos x="94" y="78"/>
                  </a:cxn>
                </a:cxnLst>
                <a:rect l="0" t="0" r="r" b="b"/>
                <a:pathLst>
                  <a:path w="128" h="78">
                    <a:moveTo>
                      <a:pt x="94" y="78"/>
                    </a:moveTo>
                    <a:lnTo>
                      <a:pt x="94" y="78"/>
                    </a:lnTo>
                    <a:lnTo>
                      <a:pt x="110" y="7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8" y="58"/>
                    </a:lnTo>
                    <a:lnTo>
                      <a:pt x="126" y="48"/>
                    </a:lnTo>
                    <a:lnTo>
                      <a:pt x="120" y="38"/>
                    </a:lnTo>
                    <a:lnTo>
                      <a:pt x="114" y="2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92" y="8"/>
                    </a:lnTo>
                    <a:lnTo>
                      <a:pt x="80" y="2"/>
                    </a:lnTo>
                    <a:lnTo>
                      <a:pt x="68" y="0"/>
                    </a:lnTo>
                    <a:lnTo>
                      <a:pt x="58" y="0"/>
                    </a:lnTo>
                    <a:lnTo>
                      <a:pt x="46" y="2"/>
                    </a:lnTo>
                    <a:lnTo>
                      <a:pt x="34" y="8"/>
                    </a:lnTo>
                    <a:lnTo>
                      <a:pt x="24" y="1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6" y="36"/>
                    </a:lnTo>
                    <a:lnTo>
                      <a:pt x="2" y="42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6"/>
                    </a:lnTo>
                    <a:lnTo>
                      <a:pt x="10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2" y="62"/>
                    </a:lnTo>
                    <a:lnTo>
                      <a:pt x="40" y="64"/>
                    </a:lnTo>
                    <a:lnTo>
                      <a:pt x="54" y="70"/>
                    </a:lnTo>
                    <a:lnTo>
                      <a:pt x="68" y="76"/>
                    </a:lnTo>
                    <a:lnTo>
                      <a:pt x="80" y="76"/>
                    </a:lnTo>
                    <a:lnTo>
                      <a:pt x="94" y="78"/>
                    </a:lnTo>
                    <a:lnTo>
                      <a:pt x="94" y="7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65" name="Полилиния 6104">
                <a:extLst>
                  <a:ext uri="{FF2B5EF4-FFF2-40B4-BE49-F238E27FC236}">
                    <a16:creationId xmlns:a16="http://schemas.microsoft.com/office/drawing/2014/main" xmlns="" id="{882845AC-636F-4550-AA3B-1FED6B549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0560" y="1010603"/>
                <a:ext cx="80010" cy="19050"/>
              </a:xfrm>
              <a:custGeom>
                <a:avLst/>
                <a:gdLst/>
                <a:ahLst/>
                <a:cxnLst>
                  <a:cxn ang="0">
                    <a:pos x="92" y="28"/>
                  </a:cxn>
                  <a:cxn ang="0">
                    <a:pos x="92" y="28"/>
                  </a:cxn>
                  <a:cxn ang="0">
                    <a:pos x="108" y="28"/>
                  </a:cxn>
                  <a:cxn ang="0">
                    <a:pos x="120" y="26"/>
                  </a:cxn>
                  <a:cxn ang="0">
                    <a:pos x="124" y="22"/>
                  </a:cxn>
                  <a:cxn ang="0">
                    <a:pos x="126" y="20"/>
                  </a:cxn>
                  <a:cxn ang="0">
                    <a:pos x="126" y="16"/>
                  </a:cxn>
                  <a:cxn ang="0">
                    <a:pos x="122" y="12"/>
                  </a:cxn>
                  <a:cxn ang="0">
                    <a:pos x="112" y="8"/>
                  </a:cxn>
                  <a:cxn ang="0">
                    <a:pos x="100" y="4"/>
                  </a:cxn>
                  <a:cxn ang="0">
                    <a:pos x="82" y="2"/>
                  </a:cxn>
                  <a:cxn ang="0">
                    <a:pos x="82" y="2"/>
                  </a:cxn>
                  <a:cxn ang="0">
                    <a:pos x="48" y="0"/>
                  </a:cxn>
                  <a:cxn ang="0">
                    <a:pos x="22" y="4"/>
                  </a:cxn>
                  <a:cxn ang="0">
                    <a:pos x="14" y="6"/>
                  </a:cxn>
                  <a:cxn ang="0">
                    <a:pos x="6" y="8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6" y="28"/>
                  </a:cxn>
                  <a:cxn ang="0">
                    <a:pos x="26" y="30"/>
                  </a:cxn>
                  <a:cxn ang="0">
                    <a:pos x="56" y="28"/>
                  </a:cxn>
                  <a:cxn ang="0">
                    <a:pos x="92" y="28"/>
                  </a:cxn>
                  <a:cxn ang="0">
                    <a:pos x="92" y="28"/>
                  </a:cxn>
                </a:cxnLst>
                <a:rect l="0" t="0" r="r" b="b"/>
                <a:pathLst>
                  <a:path w="126" h="30">
                    <a:moveTo>
                      <a:pt x="92" y="28"/>
                    </a:moveTo>
                    <a:lnTo>
                      <a:pt x="92" y="28"/>
                    </a:lnTo>
                    <a:lnTo>
                      <a:pt x="108" y="28"/>
                    </a:lnTo>
                    <a:lnTo>
                      <a:pt x="120" y="26"/>
                    </a:lnTo>
                    <a:lnTo>
                      <a:pt x="124" y="22"/>
                    </a:lnTo>
                    <a:lnTo>
                      <a:pt x="126" y="20"/>
                    </a:lnTo>
                    <a:lnTo>
                      <a:pt x="126" y="16"/>
                    </a:lnTo>
                    <a:lnTo>
                      <a:pt x="122" y="12"/>
                    </a:lnTo>
                    <a:lnTo>
                      <a:pt x="112" y="8"/>
                    </a:lnTo>
                    <a:lnTo>
                      <a:pt x="100" y="4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48" y="0"/>
                    </a:lnTo>
                    <a:lnTo>
                      <a:pt x="22" y="4"/>
                    </a:lnTo>
                    <a:lnTo>
                      <a:pt x="14" y="6"/>
                    </a:lnTo>
                    <a:lnTo>
                      <a:pt x="6" y="8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6" y="28"/>
                    </a:lnTo>
                    <a:lnTo>
                      <a:pt x="26" y="30"/>
                    </a:lnTo>
                    <a:lnTo>
                      <a:pt x="56" y="28"/>
                    </a:lnTo>
                    <a:lnTo>
                      <a:pt x="92" y="28"/>
                    </a:lnTo>
                    <a:lnTo>
                      <a:pt x="92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66" name="Полилиния 6105">
                <a:extLst>
                  <a:ext uri="{FF2B5EF4-FFF2-40B4-BE49-F238E27FC236}">
                    <a16:creationId xmlns:a16="http://schemas.microsoft.com/office/drawing/2014/main" xmlns="" id="{99DFDB14-0308-471C-93C6-DA79A0167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4560" y="944563"/>
                <a:ext cx="34290" cy="12700"/>
              </a:xfrm>
              <a:custGeom>
                <a:avLst/>
                <a:gdLst/>
                <a:ahLst/>
                <a:cxnLst>
                  <a:cxn ang="0">
                    <a:pos x="54" y="4"/>
                  </a:cxn>
                  <a:cxn ang="0">
                    <a:pos x="54" y="4"/>
                  </a:cxn>
                  <a:cxn ang="0">
                    <a:pos x="54" y="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18" y="6"/>
                  </a:cxn>
                  <a:cxn ang="0">
                    <a:pos x="8" y="10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20" y="18"/>
                  </a:cxn>
                  <a:cxn ang="0">
                    <a:pos x="42" y="12"/>
                  </a:cxn>
                  <a:cxn ang="0">
                    <a:pos x="50" y="8"/>
                  </a:cxn>
                  <a:cxn ang="0">
                    <a:pos x="54" y="4"/>
                  </a:cxn>
                  <a:cxn ang="0">
                    <a:pos x="54" y="4"/>
                  </a:cxn>
                </a:cxnLst>
                <a:rect l="0" t="0" r="r" b="b"/>
                <a:pathLst>
                  <a:path w="54" h="20">
                    <a:moveTo>
                      <a:pt x="54" y="4"/>
                    </a:moveTo>
                    <a:lnTo>
                      <a:pt x="54" y="4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18" y="6"/>
                    </a:lnTo>
                    <a:lnTo>
                      <a:pt x="8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20" y="18"/>
                    </a:lnTo>
                    <a:lnTo>
                      <a:pt x="42" y="12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67" name="Полилиния 6106">
                <a:extLst>
                  <a:ext uri="{FF2B5EF4-FFF2-40B4-BE49-F238E27FC236}">
                    <a16:creationId xmlns:a16="http://schemas.microsoft.com/office/drawing/2014/main" xmlns="" id="{0445270A-BA84-48FF-90B1-1AB3DFAC95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400" y="727393"/>
                <a:ext cx="784860" cy="367030"/>
              </a:xfrm>
              <a:custGeom>
                <a:avLst/>
                <a:gdLst/>
                <a:ahLst/>
                <a:cxnLst>
                  <a:cxn ang="0">
                    <a:pos x="68" y="162"/>
                  </a:cxn>
                  <a:cxn ang="0">
                    <a:pos x="122" y="204"/>
                  </a:cxn>
                  <a:cxn ang="0">
                    <a:pos x="246" y="182"/>
                  </a:cxn>
                  <a:cxn ang="0">
                    <a:pos x="202" y="210"/>
                  </a:cxn>
                  <a:cxn ang="0">
                    <a:pos x="334" y="210"/>
                  </a:cxn>
                  <a:cxn ang="0">
                    <a:pos x="494" y="186"/>
                  </a:cxn>
                  <a:cxn ang="0">
                    <a:pos x="540" y="190"/>
                  </a:cxn>
                  <a:cxn ang="0">
                    <a:pos x="450" y="222"/>
                  </a:cxn>
                  <a:cxn ang="0">
                    <a:pos x="402" y="274"/>
                  </a:cxn>
                  <a:cxn ang="0">
                    <a:pos x="402" y="298"/>
                  </a:cxn>
                  <a:cxn ang="0">
                    <a:pos x="246" y="240"/>
                  </a:cxn>
                  <a:cxn ang="0">
                    <a:pos x="226" y="284"/>
                  </a:cxn>
                  <a:cxn ang="0">
                    <a:pos x="296" y="336"/>
                  </a:cxn>
                  <a:cxn ang="0">
                    <a:pos x="336" y="356"/>
                  </a:cxn>
                  <a:cxn ang="0">
                    <a:pos x="298" y="364"/>
                  </a:cxn>
                  <a:cxn ang="0">
                    <a:pos x="168" y="410"/>
                  </a:cxn>
                  <a:cxn ang="0">
                    <a:pos x="226" y="422"/>
                  </a:cxn>
                  <a:cxn ang="0">
                    <a:pos x="256" y="440"/>
                  </a:cxn>
                  <a:cxn ang="0">
                    <a:pos x="330" y="460"/>
                  </a:cxn>
                  <a:cxn ang="0">
                    <a:pos x="342" y="464"/>
                  </a:cxn>
                  <a:cxn ang="0">
                    <a:pos x="238" y="460"/>
                  </a:cxn>
                  <a:cxn ang="0">
                    <a:pos x="140" y="450"/>
                  </a:cxn>
                  <a:cxn ang="0">
                    <a:pos x="160" y="502"/>
                  </a:cxn>
                  <a:cxn ang="0">
                    <a:pos x="92" y="546"/>
                  </a:cxn>
                  <a:cxn ang="0">
                    <a:pos x="146" y="562"/>
                  </a:cxn>
                  <a:cxn ang="0">
                    <a:pos x="244" y="562"/>
                  </a:cxn>
                  <a:cxn ang="0">
                    <a:pos x="322" y="552"/>
                  </a:cxn>
                  <a:cxn ang="0">
                    <a:pos x="438" y="548"/>
                  </a:cxn>
                  <a:cxn ang="0">
                    <a:pos x="462" y="578"/>
                  </a:cxn>
                  <a:cxn ang="0">
                    <a:pos x="560" y="538"/>
                  </a:cxn>
                  <a:cxn ang="0">
                    <a:pos x="518" y="514"/>
                  </a:cxn>
                  <a:cxn ang="0">
                    <a:pos x="550" y="472"/>
                  </a:cxn>
                  <a:cxn ang="0">
                    <a:pos x="550" y="432"/>
                  </a:cxn>
                  <a:cxn ang="0">
                    <a:pos x="668" y="402"/>
                  </a:cxn>
                  <a:cxn ang="0">
                    <a:pos x="684" y="372"/>
                  </a:cxn>
                  <a:cxn ang="0">
                    <a:pos x="686" y="348"/>
                  </a:cxn>
                  <a:cxn ang="0">
                    <a:pos x="658" y="326"/>
                  </a:cxn>
                  <a:cxn ang="0">
                    <a:pos x="588" y="318"/>
                  </a:cxn>
                  <a:cxn ang="0">
                    <a:pos x="752" y="284"/>
                  </a:cxn>
                  <a:cxn ang="0">
                    <a:pos x="832" y="278"/>
                  </a:cxn>
                  <a:cxn ang="0">
                    <a:pos x="1076" y="154"/>
                  </a:cxn>
                  <a:cxn ang="0">
                    <a:pos x="1000" y="142"/>
                  </a:cxn>
                  <a:cxn ang="0">
                    <a:pos x="1232" y="76"/>
                  </a:cxn>
                  <a:cxn ang="0">
                    <a:pos x="1168" y="54"/>
                  </a:cxn>
                  <a:cxn ang="0">
                    <a:pos x="1094" y="20"/>
                  </a:cxn>
                  <a:cxn ang="0">
                    <a:pos x="962" y="40"/>
                  </a:cxn>
                  <a:cxn ang="0">
                    <a:pos x="1006" y="20"/>
                  </a:cxn>
                  <a:cxn ang="0">
                    <a:pos x="858" y="2"/>
                  </a:cxn>
                  <a:cxn ang="0">
                    <a:pos x="690" y="10"/>
                  </a:cxn>
                  <a:cxn ang="0">
                    <a:pos x="500" y="14"/>
                  </a:cxn>
                  <a:cxn ang="0">
                    <a:pos x="412" y="24"/>
                  </a:cxn>
                  <a:cxn ang="0">
                    <a:pos x="392" y="42"/>
                  </a:cxn>
                  <a:cxn ang="0">
                    <a:pos x="340" y="70"/>
                  </a:cxn>
                  <a:cxn ang="0">
                    <a:pos x="264" y="52"/>
                  </a:cxn>
                  <a:cxn ang="0">
                    <a:pos x="224" y="76"/>
                  </a:cxn>
                  <a:cxn ang="0">
                    <a:pos x="248" y="98"/>
                  </a:cxn>
                  <a:cxn ang="0">
                    <a:pos x="130" y="92"/>
                  </a:cxn>
                  <a:cxn ang="0">
                    <a:pos x="50" y="104"/>
                  </a:cxn>
                  <a:cxn ang="0">
                    <a:pos x="12" y="144"/>
                  </a:cxn>
                </a:cxnLst>
                <a:rect l="0" t="0" r="r" b="b"/>
                <a:pathLst>
                  <a:path w="1236" h="578">
                    <a:moveTo>
                      <a:pt x="44" y="148"/>
                    </a:moveTo>
                    <a:lnTo>
                      <a:pt x="44" y="148"/>
                    </a:lnTo>
                    <a:lnTo>
                      <a:pt x="50" y="150"/>
                    </a:lnTo>
                    <a:lnTo>
                      <a:pt x="58" y="152"/>
                    </a:lnTo>
                    <a:lnTo>
                      <a:pt x="74" y="150"/>
                    </a:lnTo>
                    <a:lnTo>
                      <a:pt x="80" y="150"/>
                    </a:lnTo>
                    <a:lnTo>
                      <a:pt x="80" y="152"/>
                    </a:lnTo>
                    <a:lnTo>
                      <a:pt x="74" y="156"/>
                    </a:lnTo>
                    <a:lnTo>
                      <a:pt x="74" y="156"/>
                    </a:lnTo>
                    <a:lnTo>
                      <a:pt x="68" y="162"/>
                    </a:lnTo>
                    <a:lnTo>
                      <a:pt x="62" y="168"/>
                    </a:lnTo>
                    <a:lnTo>
                      <a:pt x="62" y="172"/>
                    </a:lnTo>
                    <a:lnTo>
                      <a:pt x="62" y="178"/>
                    </a:lnTo>
                    <a:lnTo>
                      <a:pt x="66" y="182"/>
                    </a:lnTo>
                    <a:lnTo>
                      <a:pt x="72" y="186"/>
                    </a:lnTo>
                    <a:lnTo>
                      <a:pt x="82" y="190"/>
                    </a:lnTo>
                    <a:lnTo>
                      <a:pt x="94" y="194"/>
                    </a:lnTo>
                    <a:lnTo>
                      <a:pt x="94" y="194"/>
                    </a:lnTo>
                    <a:lnTo>
                      <a:pt x="108" y="200"/>
                    </a:lnTo>
                    <a:lnTo>
                      <a:pt x="122" y="204"/>
                    </a:lnTo>
                    <a:lnTo>
                      <a:pt x="144" y="212"/>
                    </a:lnTo>
                    <a:lnTo>
                      <a:pt x="156" y="216"/>
                    </a:lnTo>
                    <a:lnTo>
                      <a:pt x="166" y="214"/>
                    </a:lnTo>
                    <a:lnTo>
                      <a:pt x="178" y="212"/>
                    </a:lnTo>
                    <a:lnTo>
                      <a:pt x="192" y="204"/>
                    </a:lnTo>
                    <a:lnTo>
                      <a:pt x="192" y="204"/>
                    </a:lnTo>
                    <a:lnTo>
                      <a:pt x="206" y="194"/>
                    </a:lnTo>
                    <a:lnTo>
                      <a:pt x="222" y="188"/>
                    </a:lnTo>
                    <a:lnTo>
                      <a:pt x="234" y="184"/>
                    </a:lnTo>
                    <a:lnTo>
                      <a:pt x="246" y="182"/>
                    </a:lnTo>
                    <a:lnTo>
                      <a:pt x="254" y="182"/>
                    </a:lnTo>
                    <a:lnTo>
                      <a:pt x="258" y="182"/>
                    </a:lnTo>
                    <a:lnTo>
                      <a:pt x="256" y="184"/>
                    </a:lnTo>
                    <a:lnTo>
                      <a:pt x="250" y="186"/>
                    </a:lnTo>
                    <a:lnTo>
                      <a:pt x="250" y="186"/>
                    </a:lnTo>
                    <a:lnTo>
                      <a:pt x="224" y="194"/>
                    </a:lnTo>
                    <a:lnTo>
                      <a:pt x="212" y="200"/>
                    </a:lnTo>
                    <a:lnTo>
                      <a:pt x="204" y="206"/>
                    </a:lnTo>
                    <a:lnTo>
                      <a:pt x="202" y="208"/>
                    </a:lnTo>
                    <a:lnTo>
                      <a:pt x="202" y="210"/>
                    </a:lnTo>
                    <a:lnTo>
                      <a:pt x="204" y="214"/>
                    </a:lnTo>
                    <a:lnTo>
                      <a:pt x="208" y="216"/>
                    </a:lnTo>
                    <a:lnTo>
                      <a:pt x="224" y="220"/>
                    </a:lnTo>
                    <a:lnTo>
                      <a:pt x="254" y="224"/>
                    </a:lnTo>
                    <a:lnTo>
                      <a:pt x="254" y="224"/>
                    </a:lnTo>
                    <a:lnTo>
                      <a:pt x="284" y="224"/>
                    </a:lnTo>
                    <a:lnTo>
                      <a:pt x="304" y="224"/>
                    </a:lnTo>
                    <a:lnTo>
                      <a:pt x="318" y="220"/>
                    </a:lnTo>
                    <a:lnTo>
                      <a:pt x="326" y="216"/>
                    </a:lnTo>
                    <a:lnTo>
                      <a:pt x="334" y="210"/>
                    </a:lnTo>
                    <a:lnTo>
                      <a:pt x="338" y="210"/>
                    </a:lnTo>
                    <a:lnTo>
                      <a:pt x="346" y="214"/>
                    </a:lnTo>
                    <a:lnTo>
                      <a:pt x="346" y="214"/>
                    </a:lnTo>
                    <a:lnTo>
                      <a:pt x="358" y="218"/>
                    </a:lnTo>
                    <a:lnTo>
                      <a:pt x="374" y="218"/>
                    </a:lnTo>
                    <a:lnTo>
                      <a:pt x="394" y="216"/>
                    </a:lnTo>
                    <a:lnTo>
                      <a:pt x="418" y="212"/>
                    </a:lnTo>
                    <a:lnTo>
                      <a:pt x="442" y="206"/>
                    </a:lnTo>
                    <a:lnTo>
                      <a:pt x="468" y="196"/>
                    </a:lnTo>
                    <a:lnTo>
                      <a:pt x="494" y="186"/>
                    </a:lnTo>
                    <a:lnTo>
                      <a:pt x="520" y="174"/>
                    </a:lnTo>
                    <a:lnTo>
                      <a:pt x="520" y="174"/>
                    </a:lnTo>
                    <a:lnTo>
                      <a:pt x="546" y="160"/>
                    </a:lnTo>
                    <a:lnTo>
                      <a:pt x="544" y="162"/>
                    </a:lnTo>
                    <a:lnTo>
                      <a:pt x="540" y="168"/>
                    </a:lnTo>
                    <a:lnTo>
                      <a:pt x="536" y="176"/>
                    </a:lnTo>
                    <a:lnTo>
                      <a:pt x="534" y="180"/>
                    </a:lnTo>
                    <a:lnTo>
                      <a:pt x="534" y="184"/>
                    </a:lnTo>
                    <a:lnTo>
                      <a:pt x="536" y="186"/>
                    </a:lnTo>
                    <a:lnTo>
                      <a:pt x="540" y="190"/>
                    </a:lnTo>
                    <a:lnTo>
                      <a:pt x="548" y="192"/>
                    </a:lnTo>
                    <a:lnTo>
                      <a:pt x="558" y="192"/>
                    </a:lnTo>
                    <a:lnTo>
                      <a:pt x="558" y="192"/>
                    </a:lnTo>
                    <a:lnTo>
                      <a:pt x="576" y="194"/>
                    </a:lnTo>
                    <a:lnTo>
                      <a:pt x="584" y="196"/>
                    </a:lnTo>
                    <a:lnTo>
                      <a:pt x="584" y="196"/>
                    </a:lnTo>
                    <a:lnTo>
                      <a:pt x="580" y="198"/>
                    </a:lnTo>
                    <a:lnTo>
                      <a:pt x="570" y="200"/>
                    </a:lnTo>
                    <a:lnTo>
                      <a:pt x="524" y="208"/>
                    </a:lnTo>
                    <a:lnTo>
                      <a:pt x="450" y="222"/>
                    </a:lnTo>
                    <a:lnTo>
                      <a:pt x="450" y="222"/>
                    </a:lnTo>
                    <a:lnTo>
                      <a:pt x="388" y="236"/>
                    </a:lnTo>
                    <a:lnTo>
                      <a:pt x="370" y="238"/>
                    </a:lnTo>
                    <a:lnTo>
                      <a:pt x="360" y="242"/>
                    </a:lnTo>
                    <a:lnTo>
                      <a:pt x="358" y="242"/>
                    </a:lnTo>
                    <a:lnTo>
                      <a:pt x="358" y="244"/>
                    </a:lnTo>
                    <a:lnTo>
                      <a:pt x="362" y="248"/>
                    </a:lnTo>
                    <a:lnTo>
                      <a:pt x="386" y="264"/>
                    </a:lnTo>
                    <a:lnTo>
                      <a:pt x="386" y="264"/>
                    </a:lnTo>
                    <a:lnTo>
                      <a:pt x="402" y="274"/>
                    </a:lnTo>
                    <a:lnTo>
                      <a:pt x="418" y="282"/>
                    </a:lnTo>
                    <a:lnTo>
                      <a:pt x="442" y="292"/>
                    </a:lnTo>
                    <a:lnTo>
                      <a:pt x="450" y="296"/>
                    </a:lnTo>
                    <a:lnTo>
                      <a:pt x="452" y="298"/>
                    </a:lnTo>
                    <a:lnTo>
                      <a:pt x="448" y="302"/>
                    </a:lnTo>
                    <a:lnTo>
                      <a:pt x="436" y="304"/>
                    </a:lnTo>
                    <a:lnTo>
                      <a:pt x="436" y="304"/>
                    </a:lnTo>
                    <a:lnTo>
                      <a:pt x="422" y="304"/>
                    </a:lnTo>
                    <a:lnTo>
                      <a:pt x="410" y="302"/>
                    </a:lnTo>
                    <a:lnTo>
                      <a:pt x="402" y="298"/>
                    </a:lnTo>
                    <a:lnTo>
                      <a:pt x="394" y="292"/>
                    </a:lnTo>
                    <a:lnTo>
                      <a:pt x="378" y="276"/>
                    </a:lnTo>
                    <a:lnTo>
                      <a:pt x="368" y="268"/>
                    </a:lnTo>
                    <a:lnTo>
                      <a:pt x="356" y="260"/>
                    </a:lnTo>
                    <a:lnTo>
                      <a:pt x="356" y="260"/>
                    </a:lnTo>
                    <a:lnTo>
                      <a:pt x="338" y="254"/>
                    </a:lnTo>
                    <a:lnTo>
                      <a:pt x="316" y="248"/>
                    </a:lnTo>
                    <a:lnTo>
                      <a:pt x="292" y="244"/>
                    </a:lnTo>
                    <a:lnTo>
                      <a:pt x="268" y="242"/>
                    </a:lnTo>
                    <a:lnTo>
                      <a:pt x="246" y="240"/>
                    </a:lnTo>
                    <a:lnTo>
                      <a:pt x="228" y="242"/>
                    </a:lnTo>
                    <a:lnTo>
                      <a:pt x="220" y="244"/>
                    </a:lnTo>
                    <a:lnTo>
                      <a:pt x="216" y="246"/>
                    </a:lnTo>
                    <a:lnTo>
                      <a:pt x="212" y="250"/>
                    </a:lnTo>
                    <a:lnTo>
                      <a:pt x="210" y="254"/>
                    </a:lnTo>
                    <a:lnTo>
                      <a:pt x="210" y="254"/>
                    </a:lnTo>
                    <a:lnTo>
                      <a:pt x="210" y="270"/>
                    </a:lnTo>
                    <a:lnTo>
                      <a:pt x="212" y="274"/>
                    </a:lnTo>
                    <a:lnTo>
                      <a:pt x="214" y="278"/>
                    </a:lnTo>
                    <a:lnTo>
                      <a:pt x="226" y="284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62" y="298"/>
                    </a:lnTo>
                    <a:lnTo>
                      <a:pt x="276" y="304"/>
                    </a:lnTo>
                    <a:lnTo>
                      <a:pt x="294" y="318"/>
                    </a:lnTo>
                    <a:lnTo>
                      <a:pt x="300" y="326"/>
                    </a:lnTo>
                    <a:lnTo>
                      <a:pt x="302" y="330"/>
                    </a:lnTo>
                    <a:lnTo>
                      <a:pt x="302" y="334"/>
                    </a:lnTo>
                    <a:lnTo>
                      <a:pt x="296" y="336"/>
                    </a:lnTo>
                    <a:lnTo>
                      <a:pt x="296" y="336"/>
                    </a:lnTo>
                    <a:lnTo>
                      <a:pt x="290" y="338"/>
                    </a:lnTo>
                    <a:lnTo>
                      <a:pt x="286" y="340"/>
                    </a:lnTo>
                    <a:lnTo>
                      <a:pt x="284" y="344"/>
                    </a:lnTo>
                    <a:lnTo>
                      <a:pt x="286" y="346"/>
                    </a:lnTo>
                    <a:lnTo>
                      <a:pt x="290" y="348"/>
                    </a:lnTo>
                    <a:lnTo>
                      <a:pt x="296" y="352"/>
                    </a:lnTo>
                    <a:lnTo>
                      <a:pt x="308" y="354"/>
                    </a:lnTo>
                    <a:lnTo>
                      <a:pt x="320" y="356"/>
                    </a:lnTo>
                    <a:lnTo>
                      <a:pt x="320" y="356"/>
                    </a:lnTo>
                    <a:lnTo>
                      <a:pt x="336" y="356"/>
                    </a:lnTo>
                    <a:lnTo>
                      <a:pt x="348" y="360"/>
                    </a:lnTo>
                    <a:lnTo>
                      <a:pt x="356" y="362"/>
                    </a:lnTo>
                    <a:lnTo>
                      <a:pt x="362" y="366"/>
                    </a:lnTo>
                    <a:lnTo>
                      <a:pt x="364" y="368"/>
                    </a:lnTo>
                    <a:lnTo>
                      <a:pt x="360" y="368"/>
                    </a:lnTo>
                    <a:lnTo>
                      <a:pt x="352" y="368"/>
                    </a:lnTo>
                    <a:lnTo>
                      <a:pt x="340" y="368"/>
                    </a:lnTo>
                    <a:lnTo>
                      <a:pt x="340" y="368"/>
                    </a:lnTo>
                    <a:lnTo>
                      <a:pt x="320" y="366"/>
                    </a:lnTo>
                    <a:lnTo>
                      <a:pt x="298" y="364"/>
                    </a:lnTo>
                    <a:lnTo>
                      <a:pt x="250" y="366"/>
                    </a:lnTo>
                    <a:lnTo>
                      <a:pt x="228" y="368"/>
                    </a:lnTo>
                    <a:lnTo>
                      <a:pt x="208" y="372"/>
                    </a:lnTo>
                    <a:lnTo>
                      <a:pt x="192" y="376"/>
                    </a:lnTo>
                    <a:lnTo>
                      <a:pt x="182" y="382"/>
                    </a:lnTo>
                    <a:lnTo>
                      <a:pt x="182" y="382"/>
                    </a:lnTo>
                    <a:lnTo>
                      <a:pt x="176" y="388"/>
                    </a:lnTo>
                    <a:lnTo>
                      <a:pt x="172" y="394"/>
                    </a:lnTo>
                    <a:lnTo>
                      <a:pt x="170" y="402"/>
                    </a:lnTo>
                    <a:lnTo>
                      <a:pt x="168" y="410"/>
                    </a:lnTo>
                    <a:lnTo>
                      <a:pt x="170" y="416"/>
                    </a:lnTo>
                    <a:lnTo>
                      <a:pt x="176" y="420"/>
                    </a:lnTo>
                    <a:lnTo>
                      <a:pt x="184" y="422"/>
                    </a:lnTo>
                    <a:lnTo>
                      <a:pt x="196" y="420"/>
                    </a:lnTo>
                    <a:lnTo>
                      <a:pt x="196" y="420"/>
                    </a:lnTo>
                    <a:lnTo>
                      <a:pt x="208" y="418"/>
                    </a:lnTo>
                    <a:lnTo>
                      <a:pt x="216" y="418"/>
                    </a:lnTo>
                    <a:lnTo>
                      <a:pt x="220" y="418"/>
                    </a:lnTo>
                    <a:lnTo>
                      <a:pt x="224" y="420"/>
                    </a:lnTo>
                    <a:lnTo>
                      <a:pt x="226" y="422"/>
                    </a:lnTo>
                    <a:lnTo>
                      <a:pt x="230" y="424"/>
                    </a:lnTo>
                    <a:lnTo>
                      <a:pt x="236" y="424"/>
                    </a:lnTo>
                    <a:lnTo>
                      <a:pt x="246" y="424"/>
                    </a:lnTo>
                    <a:lnTo>
                      <a:pt x="246" y="424"/>
                    </a:lnTo>
                    <a:lnTo>
                      <a:pt x="256" y="422"/>
                    </a:lnTo>
                    <a:lnTo>
                      <a:pt x="260" y="422"/>
                    </a:lnTo>
                    <a:lnTo>
                      <a:pt x="260" y="424"/>
                    </a:lnTo>
                    <a:lnTo>
                      <a:pt x="260" y="428"/>
                    </a:lnTo>
                    <a:lnTo>
                      <a:pt x="258" y="434"/>
                    </a:lnTo>
                    <a:lnTo>
                      <a:pt x="256" y="440"/>
                    </a:lnTo>
                    <a:lnTo>
                      <a:pt x="258" y="450"/>
                    </a:lnTo>
                    <a:lnTo>
                      <a:pt x="266" y="460"/>
                    </a:lnTo>
                    <a:lnTo>
                      <a:pt x="266" y="460"/>
                    </a:lnTo>
                    <a:lnTo>
                      <a:pt x="270" y="464"/>
                    </a:lnTo>
                    <a:lnTo>
                      <a:pt x="276" y="468"/>
                    </a:lnTo>
                    <a:lnTo>
                      <a:pt x="282" y="470"/>
                    </a:lnTo>
                    <a:lnTo>
                      <a:pt x="288" y="472"/>
                    </a:lnTo>
                    <a:lnTo>
                      <a:pt x="302" y="470"/>
                    </a:lnTo>
                    <a:lnTo>
                      <a:pt x="316" y="466"/>
                    </a:lnTo>
                    <a:lnTo>
                      <a:pt x="330" y="460"/>
                    </a:lnTo>
                    <a:lnTo>
                      <a:pt x="342" y="450"/>
                    </a:lnTo>
                    <a:lnTo>
                      <a:pt x="354" y="442"/>
                    </a:lnTo>
                    <a:lnTo>
                      <a:pt x="366" y="432"/>
                    </a:lnTo>
                    <a:lnTo>
                      <a:pt x="366" y="432"/>
                    </a:lnTo>
                    <a:lnTo>
                      <a:pt x="372" y="426"/>
                    </a:lnTo>
                    <a:lnTo>
                      <a:pt x="372" y="428"/>
                    </a:lnTo>
                    <a:lnTo>
                      <a:pt x="372" y="430"/>
                    </a:lnTo>
                    <a:lnTo>
                      <a:pt x="366" y="440"/>
                    </a:lnTo>
                    <a:lnTo>
                      <a:pt x="356" y="452"/>
                    </a:lnTo>
                    <a:lnTo>
                      <a:pt x="342" y="464"/>
                    </a:lnTo>
                    <a:lnTo>
                      <a:pt x="326" y="476"/>
                    </a:lnTo>
                    <a:lnTo>
                      <a:pt x="316" y="482"/>
                    </a:lnTo>
                    <a:lnTo>
                      <a:pt x="306" y="484"/>
                    </a:lnTo>
                    <a:lnTo>
                      <a:pt x="296" y="486"/>
                    </a:lnTo>
                    <a:lnTo>
                      <a:pt x="286" y="486"/>
                    </a:lnTo>
                    <a:lnTo>
                      <a:pt x="286" y="486"/>
                    </a:lnTo>
                    <a:lnTo>
                      <a:pt x="270" y="482"/>
                    </a:lnTo>
                    <a:lnTo>
                      <a:pt x="256" y="476"/>
                    </a:lnTo>
                    <a:lnTo>
                      <a:pt x="246" y="468"/>
                    </a:lnTo>
                    <a:lnTo>
                      <a:pt x="238" y="460"/>
                    </a:lnTo>
                    <a:lnTo>
                      <a:pt x="228" y="452"/>
                    </a:lnTo>
                    <a:lnTo>
                      <a:pt x="218" y="446"/>
                    </a:lnTo>
                    <a:lnTo>
                      <a:pt x="206" y="440"/>
                    </a:lnTo>
                    <a:lnTo>
                      <a:pt x="190" y="438"/>
                    </a:lnTo>
                    <a:lnTo>
                      <a:pt x="190" y="438"/>
                    </a:lnTo>
                    <a:lnTo>
                      <a:pt x="160" y="440"/>
                    </a:lnTo>
                    <a:lnTo>
                      <a:pt x="150" y="440"/>
                    </a:lnTo>
                    <a:lnTo>
                      <a:pt x="144" y="444"/>
                    </a:lnTo>
                    <a:lnTo>
                      <a:pt x="140" y="446"/>
                    </a:lnTo>
                    <a:lnTo>
                      <a:pt x="140" y="450"/>
                    </a:lnTo>
                    <a:lnTo>
                      <a:pt x="144" y="456"/>
                    </a:lnTo>
                    <a:lnTo>
                      <a:pt x="150" y="462"/>
                    </a:lnTo>
                    <a:lnTo>
                      <a:pt x="150" y="462"/>
                    </a:lnTo>
                    <a:lnTo>
                      <a:pt x="166" y="476"/>
                    </a:lnTo>
                    <a:lnTo>
                      <a:pt x="182" y="490"/>
                    </a:lnTo>
                    <a:lnTo>
                      <a:pt x="184" y="494"/>
                    </a:lnTo>
                    <a:lnTo>
                      <a:pt x="184" y="496"/>
                    </a:lnTo>
                    <a:lnTo>
                      <a:pt x="182" y="498"/>
                    </a:lnTo>
                    <a:lnTo>
                      <a:pt x="174" y="500"/>
                    </a:lnTo>
                    <a:lnTo>
                      <a:pt x="160" y="502"/>
                    </a:lnTo>
                    <a:lnTo>
                      <a:pt x="160" y="502"/>
                    </a:lnTo>
                    <a:lnTo>
                      <a:pt x="142" y="502"/>
                    </a:lnTo>
                    <a:lnTo>
                      <a:pt x="124" y="506"/>
                    </a:lnTo>
                    <a:lnTo>
                      <a:pt x="110" y="512"/>
                    </a:lnTo>
                    <a:lnTo>
                      <a:pt x="98" y="518"/>
                    </a:lnTo>
                    <a:lnTo>
                      <a:pt x="90" y="526"/>
                    </a:lnTo>
                    <a:lnTo>
                      <a:pt x="88" y="534"/>
                    </a:lnTo>
                    <a:lnTo>
                      <a:pt x="88" y="538"/>
                    </a:lnTo>
                    <a:lnTo>
                      <a:pt x="88" y="542"/>
                    </a:lnTo>
                    <a:lnTo>
                      <a:pt x="92" y="546"/>
                    </a:lnTo>
                    <a:lnTo>
                      <a:pt x="96" y="550"/>
                    </a:lnTo>
                    <a:lnTo>
                      <a:pt x="96" y="550"/>
                    </a:lnTo>
                    <a:lnTo>
                      <a:pt x="100" y="552"/>
                    </a:lnTo>
                    <a:lnTo>
                      <a:pt x="104" y="552"/>
                    </a:lnTo>
                    <a:lnTo>
                      <a:pt x="114" y="552"/>
                    </a:lnTo>
                    <a:lnTo>
                      <a:pt x="124" y="552"/>
                    </a:lnTo>
                    <a:lnTo>
                      <a:pt x="130" y="554"/>
                    </a:lnTo>
                    <a:lnTo>
                      <a:pt x="138" y="558"/>
                    </a:lnTo>
                    <a:lnTo>
                      <a:pt x="138" y="558"/>
                    </a:lnTo>
                    <a:lnTo>
                      <a:pt x="146" y="562"/>
                    </a:lnTo>
                    <a:lnTo>
                      <a:pt x="154" y="566"/>
                    </a:lnTo>
                    <a:lnTo>
                      <a:pt x="162" y="566"/>
                    </a:lnTo>
                    <a:lnTo>
                      <a:pt x="170" y="564"/>
                    </a:lnTo>
                    <a:lnTo>
                      <a:pt x="186" y="560"/>
                    </a:lnTo>
                    <a:lnTo>
                      <a:pt x="200" y="552"/>
                    </a:lnTo>
                    <a:lnTo>
                      <a:pt x="200" y="552"/>
                    </a:lnTo>
                    <a:lnTo>
                      <a:pt x="206" y="552"/>
                    </a:lnTo>
                    <a:lnTo>
                      <a:pt x="212" y="552"/>
                    </a:lnTo>
                    <a:lnTo>
                      <a:pt x="226" y="556"/>
                    </a:lnTo>
                    <a:lnTo>
                      <a:pt x="244" y="562"/>
                    </a:lnTo>
                    <a:lnTo>
                      <a:pt x="256" y="566"/>
                    </a:lnTo>
                    <a:lnTo>
                      <a:pt x="272" y="566"/>
                    </a:lnTo>
                    <a:lnTo>
                      <a:pt x="272" y="566"/>
                    </a:lnTo>
                    <a:lnTo>
                      <a:pt x="286" y="566"/>
                    </a:lnTo>
                    <a:lnTo>
                      <a:pt x="294" y="564"/>
                    </a:lnTo>
                    <a:lnTo>
                      <a:pt x="298" y="560"/>
                    </a:lnTo>
                    <a:lnTo>
                      <a:pt x="302" y="556"/>
                    </a:lnTo>
                    <a:lnTo>
                      <a:pt x="306" y="554"/>
                    </a:lnTo>
                    <a:lnTo>
                      <a:pt x="312" y="552"/>
                    </a:lnTo>
                    <a:lnTo>
                      <a:pt x="322" y="552"/>
                    </a:lnTo>
                    <a:lnTo>
                      <a:pt x="336" y="558"/>
                    </a:lnTo>
                    <a:lnTo>
                      <a:pt x="336" y="558"/>
                    </a:lnTo>
                    <a:lnTo>
                      <a:pt x="346" y="560"/>
                    </a:lnTo>
                    <a:lnTo>
                      <a:pt x="356" y="560"/>
                    </a:lnTo>
                    <a:lnTo>
                      <a:pt x="376" y="560"/>
                    </a:lnTo>
                    <a:lnTo>
                      <a:pt x="394" y="556"/>
                    </a:lnTo>
                    <a:lnTo>
                      <a:pt x="412" y="552"/>
                    </a:lnTo>
                    <a:lnTo>
                      <a:pt x="426" y="548"/>
                    </a:lnTo>
                    <a:lnTo>
                      <a:pt x="436" y="548"/>
                    </a:lnTo>
                    <a:lnTo>
                      <a:pt x="438" y="548"/>
                    </a:lnTo>
                    <a:lnTo>
                      <a:pt x="440" y="550"/>
                    </a:lnTo>
                    <a:lnTo>
                      <a:pt x="442" y="554"/>
                    </a:lnTo>
                    <a:lnTo>
                      <a:pt x="440" y="560"/>
                    </a:lnTo>
                    <a:lnTo>
                      <a:pt x="440" y="560"/>
                    </a:lnTo>
                    <a:lnTo>
                      <a:pt x="438" y="564"/>
                    </a:lnTo>
                    <a:lnTo>
                      <a:pt x="438" y="570"/>
                    </a:lnTo>
                    <a:lnTo>
                      <a:pt x="440" y="572"/>
                    </a:lnTo>
                    <a:lnTo>
                      <a:pt x="442" y="576"/>
                    </a:lnTo>
                    <a:lnTo>
                      <a:pt x="450" y="578"/>
                    </a:lnTo>
                    <a:lnTo>
                      <a:pt x="462" y="578"/>
                    </a:lnTo>
                    <a:lnTo>
                      <a:pt x="474" y="574"/>
                    </a:lnTo>
                    <a:lnTo>
                      <a:pt x="486" y="570"/>
                    </a:lnTo>
                    <a:lnTo>
                      <a:pt x="510" y="558"/>
                    </a:lnTo>
                    <a:lnTo>
                      <a:pt x="510" y="558"/>
                    </a:lnTo>
                    <a:lnTo>
                      <a:pt x="518" y="552"/>
                    </a:lnTo>
                    <a:lnTo>
                      <a:pt x="528" y="552"/>
                    </a:lnTo>
                    <a:lnTo>
                      <a:pt x="544" y="550"/>
                    </a:lnTo>
                    <a:lnTo>
                      <a:pt x="550" y="550"/>
                    </a:lnTo>
                    <a:lnTo>
                      <a:pt x="556" y="546"/>
                    </a:lnTo>
                    <a:lnTo>
                      <a:pt x="560" y="538"/>
                    </a:lnTo>
                    <a:lnTo>
                      <a:pt x="562" y="526"/>
                    </a:lnTo>
                    <a:lnTo>
                      <a:pt x="562" y="526"/>
                    </a:lnTo>
                    <a:lnTo>
                      <a:pt x="562" y="520"/>
                    </a:lnTo>
                    <a:lnTo>
                      <a:pt x="560" y="518"/>
                    </a:lnTo>
                    <a:lnTo>
                      <a:pt x="558" y="514"/>
                    </a:lnTo>
                    <a:lnTo>
                      <a:pt x="556" y="514"/>
                    </a:lnTo>
                    <a:lnTo>
                      <a:pt x="546" y="512"/>
                    </a:lnTo>
                    <a:lnTo>
                      <a:pt x="536" y="512"/>
                    </a:lnTo>
                    <a:lnTo>
                      <a:pt x="526" y="514"/>
                    </a:lnTo>
                    <a:lnTo>
                      <a:pt x="518" y="514"/>
                    </a:lnTo>
                    <a:lnTo>
                      <a:pt x="512" y="512"/>
                    </a:lnTo>
                    <a:lnTo>
                      <a:pt x="510" y="510"/>
                    </a:lnTo>
                    <a:lnTo>
                      <a:pt x="508" y="506"/>
                    </a:lnTo>
                    <a:lnTo>
                      <a:pt x="508" y="506"/>
                    </a:lnTo>
                    <a:lnTo>
                      <a:pt x="510" y="500"/>
                    </a:lnTo>
                    <a:lnTo>
                      <a:pt x="512" y="494"/>
                    </a:lnTo>
                    <a:lnTo>
                      <a:pt x="514" y="490"/>
                    </a:lnTo>
                    <a:lnTo>
                      <a:pt x="520" y="488"/>
                    </a:lnTo>
                    <a:lnTo>
                      <a:pt x="532" y="482"/>
                    </a:lnTo>
                    <a:lnTo>
                      <a:pt x="550" y="472"/>
                    </a:lnTo>
                    <a:lnTo>
                      <a:pt x="550" y="472"/>
                    </a:lnTo>
                    <a:lnTo>
                      <a:pt x="554" y="468"/>
                    </a:lnTo>
                    <a:lnTo>
                      <a:pt x="556" y="464"/>
                    </a:lnTo>
                    <a:lnTo>
                      <a:pt x="556" y="460"/>
                    </a:lnTo>
                    <a:lnTo>
                      <a:pt x="556" y="456"/>
                    </a:lnTo>
                    <a:lnTo>
                      <a:pt x="552" y="448"/>
                    </a:lnTo>
                    <a:lnTo>
                      <a:pt x="548" y="442"/>
                    </a:lnTo>
                    <a:lnTo>
                      <a:pt x="546" y="436"/>
                    </a:lnTo>
                    <a:lnTo>
                      <a:pt x="548" y="434"/>
                    </a:lnTo>
                    <a:lnTo>
                      <a:pt x="550" y="432"/>
                    </a:lnTo>
                    <a:lnTo>
                      <a:pt x="560" y="430"/>
                    </a:lnTo>
                    <a:lnTo>
                      <a:pt x="582" y="434"/>
                    </a:lnTo>
                    <a:lnTo>
                      <a:pt x="582" y="434"/>
                    </a:lnTo>
                    <a:lnTo>
                      <a:pt x="602" y="436"/>
                    </a:lnTo>
                    <a:lnTo>
                      <a:pt x="620" y="434"/>
                    </a:lnTo>
                    <a:lnTo>
                      <a:pt x="636" y="430"/>
                    </a:lnTo>
                    <a:lnTo>
                      <a:pt x="650" y="424"/>
                    </a:lnTo>
                    <a:lnTo>
                      <a:pt x="660" y="418"/>
                    </a:lnTo>
                    <a:lnTo>
                      <a:pt x="666" y="410"/>
                    </a:lnTo>
                    <a:lnTo>
                      <a:pt x="668" y="402"/>
                    </a:lnTo>
                    <a:lnTo>
                      <a:pt x="668" y="400"/>
                    </a:lnTo>
                    <a:lnTo>
                      <a:pt x="666" y="396"/>
                    </a:lnTo>
                    <a:lnTo>
                      <a:pt x="666" y="396"/>
                    </a:lnTo>
                    <a:lnTo>
                      <a:pt x="664" y="394"/>
                    </a:lnTo>
                    <a:lnTo>
                      <a:pt x="664" y="392"/>
                    </a:lnTo>
                    <a:lnTo>
                      <a:pt x="666" y="388"/>
                    </a:lnTo>
                    <a:lnTo>
                      <a:pt x="680" y="382"/>
                    </a:lnTo>
                    <a:lnTo>
                      <a:pt x="684" y="378"/>
                    </a:lnTo>
                    <a:lnTo>
                      <a:pt x="684" y="376"/>
                    </a:lnTo>
                    <a:lnTo>
                      <a:pt x="684" y="372"/>
                    </a:lnTo>
                    <a:lnTo>
                      <a:pt x="678" y="36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48" y="350"/>
                    </a:lnTo>
                    <a:lnTo>
                      <a:pt x="644" y="348"/>
                    </a:lnTo>
                    <a:lnTo>
                      <a:pt x="644" y="346"/>
                    </a:lnTo>
                    <a:lnTo>
                      <a:pt x="650" y="346"/>
                    </a:lnTo>
                    <a:lnTo>
                      <a:pt x="662" y="348"/>
                    </a:lnTo>
                    <a:lnTo>
                      <a:pt x="674" y="348"/>
                    </a:lnTo>
                    <a:lnTo>
                      <a:pt x="686" y="348"/>
                    </a:lnTo>
                    <a:lnTo>
                      <a:pt x="690" y="348"/>
                    </a:lnTo>
                    <a:lnTo>
                      <a:pt x="694" y="346"/>
                    </a:lnTo>
                    <a:lnTo>
                      <a:pt x="696" y="344"/>
                    </a:lnTo>
                    <a:lnTo>
                      <a:pt x="694" y="340"/>
                    </a:lnTo>
                    <a:lnTo>
                      <a:pt x="694" y="340"/>
                    </a:lnTo>
                    <a:lnTo>
                      <a:pt x="690" y="332"/>
                    </a:lnTo>
                    <a:lnTo>
                      <a:pt x="684" y="328"/>
                    </a:lnTo>
                    <a:lnTo>
                      <a:pt x="680" y="324"/>
                    </a:lnTo>
                    <a:lnTo>
                      <a:pt x="674" y="324"/>
                    </a:lnTo>
                    <a:lnTo>
                      <a:pt x="658" y="326"/>
                    </a:lnTo>
                    <a:lnTo>
                      <a:pt x="638" y="328"/>
                    </a:lnTo>
                    <a:lnTo>
                      <a:pt x="638" y="328"/>
                    </a:lnTo>
                    <a:lnTo>
                      <a:pt x="614" y="328"/>
                    </a:lnTo>
                    <a:lnTo>
                      <a:pt x="592" y="328"/>
                    </a:lnTo>
                    <a:lnTo>
                      <a:pt x="584" y="328"/>
                    </a:lnTo>
                    <a:lnTo>
                      <a:pt x="578" y="326"/>
                    </a:lnTo>
                    <a:lnTo>
                      <a:pt x="576" y="324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8" y="318"/>
                    </a:lnTo>
                    <a:lnTo>
                      <a:pt x="602" y="314"/>
                    </a:lnTo>
                    <a:lnTo>
                      <a:pt x="644" y="312"/>
                    </a:lnTo>
                    <a:lnTo>
                      <a:pt x="692" y="310"/>
                    </a:lnTo>
                    <a:lnTo>
                      <a:pt x="730" y="306"/>
                    </a:lnTo>
                    <a:lnTo>
                      <a:pt x="730" y="306"/>
                    </a:lnTo>
                    <a:lnTo>
                      <a:pt x="742" y="304"/>
                    </a:lnTo>
                    <a:lnTo>
                      <a:pt x="750" y="300"/>
                    </a:lnTo>
                    <a:lnTo>
                      <a:pt x="752" y="296"/>
                    </a:lnTo>
                    <a:lnTo>
                      <a:pt x="752" y="290"/>
                    </a:lnTo>
                    <a:lnTo>
                      <a:pt x="752" y="284"/>
                    </a:lnTo>
                    <a:lnTo>
                      <a:pt x="754" y="284"/>
                    </a:lnTo>
                    <a:lnTo>
                      <a:pt x="762" y="286"/>
                    </a:lnTo>
                    <a:lnTo>
                      <a:pt x="762" y="286"/>
                    </a:lnTo>
                    <a:lnTo>
                      <a:pt x="770" y="290"/>
                    </a:lnTo>
                    <a:lnTo>
                      <a:pt x="780" y="292"/>
                    </a:lnTo>
                    <a:lnTo>
                      <a:pt x="790" y="294"/>
                    </a:lnTo>
                    <a:lnTo>
                      <a:pt x="800" y="292"/>
                    </a:lnTo>
                    <a:lnTo>
                      <a:pt x="812" y="290"/>
                    </a:lnTo>
                    <a:lnTo>
                      <a:pt x="822" y="286"/>
                    </a:lnTo>
                    <a:lnTo>
                      <a:pt x="832" y="278"/>
                    </a:lnTo>
                    <a:lnTo>
                      <a:pt x="842" y="270"/>
                    </a:lnTo>
                    <a:lnTo>
                      <a:pt x="842" y="270"/>
                    </a:lnTo>
                    <a:lnTo>
                      <a:pt x="852" y="260"/>
                    </a:lnTo>
                    <a:lnTo>
                      <a:pt x="866" y="248"/>
                    </a:lnTo>
                    <a:lnTo>
                      <a:pt x="882" y="238"/>
                    </a:lnTo>
                    <a:lnTo>
                      <a:pt x="902" y="228"/>
                    </a:lnTo>
                    <a:lnTo>
                      <a:pt x="954" y="204"/>
                    </a:lnTo>
                    <a:lnTo>
                      <a:pt x="1020" y="178"/>
                    </a:lnTo>
                    <a:lnTo>
                      <a:pt x="1020" y="178"/>
                    </a:lnTo>
                    <a:lnTo>
                      <a:pt x="1076" y="154"/>
                    </a:lnTo>
                    <a:lnTo>
                      <a:pt x="1092" y="146"/>
                    </a:lnTo>
                    <a:lnTo>
                      <a:pt x="1098" y="142"/>
                    </a:lnTo>
                    <a:lnTo>
                      <a:pt x="1098" y="140"/>
                    </a:lnTo>
                    <a:lnTo>
                      <a:pt x="1094" y="140"/>
                    </a:lnTo>
                    <a:lnTo>
                      <a:pt x="1084" y="140"/>
                    </a:lnTo>
                    <a:lnTo>
                      <a:pt x="1038" y="142"/>
                    </a:lnTo>
                    <a:lnTo>
                      <a:pt x="1038" y="142"/>
                    </a:lnTo>
                    <a:lnTo>
                      <a:pt x="1014" y="144"/>
                    </a:lnTo>
                    <a:lnTo>
                      <a:pt x="1002" y="144"/>
                    </a:lnTo>
                    <a:lnTo>
                      <a:pt x="1000" y="142"/>
                    </a:lnTo>
                    <a:lnTo>
                      <a:pt x="1000" y="142"/>
                    </a:lnTo>
                    <a:lnTo>
                      <a:pt x="1006" y="138"/>
                    </a:lnTo>
                    <a:lnTo>
                      <a:pt x="1034" y="130"/>
                    </a:lnTo>
                    <a:lnTo>
                      <a:pt x="1072" y="122"/>
                    </a:lnTo>
                    <a:lnTo>
                      <a:pt x="1072" y="122"/>
                    </a:lnTo>
                    <a:lnTo>
                      <a:pt x="1118" y="112"/>
                    </a:lnTo>
                    <a:lnTo>
                      <a:pt x="1172" y="100"/>
                    </a:lnTo>
                    <a:lnTo>
                      <a:pt x="1198" y="92"/>
                    </a:lnTo>
                    <a:lnTo>
                      <a:pt x="1218" y="84"/>
                    </a:lnTo>
                    <a:lnTo>
                      <a:pt x="1232" y="76"/>
                    </a:lnTo>
                    <a:lnTo>
                      <a:pt x="1236" y="72"/>
                    </a:lnTo>
                    <a:lnTo>
                      <a:pt x="1236" y="68"/>
                    </a:lnTo>
                    <a:lnTo>
                      <a:pt x="1236" y="68"/>
                    </a:lnTo>
                    <a:lnTo>
                      <a:pt x="1236" y="64"/>
                    </a:lnTo>
                    <a:lnTo>
                      <a:pt x="1234" y="62"/>
                    </a:lnTo>
                    <a:lnTo>
                      <a:pt x="1224" y="58"/>
                    </a:lnTo>
                    <a:lnTo>
                      <a:pt x="1210" y="58"/>
                    </a:lnTo>
                    <a:lnTo>
                      <a:pt x="1196" y="56"/>
                    </a:lnTo>
                    <a:lnTo>
                      <a:pt x="1182" y="56"/>
                    </a:lnTo>
                    <a:lnTo>
                      <a:pt x="1168" y="54"/>
                    </a:lnTo>
                    <a:lnTo>
                      <a:pt x="1160" y="50"/>
                    </a:lnTo>
                    <a:lnTo>
                      <a:pt x="1158" y="48"/>
                    </a:lnTo>
                    <a:lnTo>
                      <a:pt x="1156" y="44"/>
                    </a:lnTo>
                    <a:lnTo>
                      <a:pt x="1156" y="44"/>
                    </a:lnTo>
                    <a:lnTo>
                      <a:pt x="1156" y="40"/>
                    </a:lnTo>
                    <a:lnTo>
                      <a:pt x="1154" y="36"/>
                    </a:lnTo>
                    <a:lnTo>
                      <a:pt x="1146" y="30"/>
                    </a:lnTo>
                    <a:lnTo>
                      <a:pt x="1136" y="26"/>
                    </a:lnTo>
                    <a:lnTo>
                      <a:pt x="1122" y="24"/>
                    </a:lnTo>
                    <a:lnTo>
                      <a:pt x="1094" y="20"/>
                    </a:lnTo>
                    <a:lnTo>
                      <a:pt x="1078" y="20"/>
                    </a:lnTo>
                    <a:lnTo>
                      <a:pt x="1078" y="20"/>
                    </a:lnTo>
                    <a:lnTo>
                      <a:pt x="1062" y="22"/>
                    </a:lnTo>
                    <a:lnTo>
                      <a:pt x="1050" y="22"/>
                    </a:lnTo>
                    <a:lnTo>
                      <a:pt x="1038" y="22"/>
                    </a:lnTo>
                    <a:lnTo>
                      <a:pt x="1018" y="30"/>
                    </a:lnTo>
                    <a:lnTo>
                      <a:pt x="1018" y="30"/>
                    </a:lnTo>
                    <a:lnTo>
                      <a:pt x="1004" y="34"/>
                    </a:lnTo>
                    <a:lnTo>
                      <a:pt x="990" y="38"/>
                    </a:lnTo>
                    <a:lnTo>
                      <a:pt x="962" y="40"/>
                    </a:lnTo>
                    <a:lnTo>
                      <a:pt x="948" y="40"/>
                    </a:lnTo>
                    <a:lnTo>
                      <a:pt x="948" y="40"/>
                    </a:lnTo>
                    <a:lnTo>
                      <a:pt x="948" y="38"/>
                    </a:lnTo>
                    <a:lnTo>
                      <a:pt x="958" y="36"/>
                    </a:lnTo>
                    <a:lnTo>
                      <a:pt x="958" y="36"/>
                    </a:lnTo>
                    <a:lnTo>
                      <a:pt x="986" y="30"/>
                    </a:lnTo>
                    <a:lnTo>
                      <a:pt x="1004" y="24"/>
                    </a:lnTo>
                    <a:lnTo>
                      <a:pt x="1008" y="22"/>
                    </a:lnTo>
                    <a:lnTo>
                      <a:pt x="1008" y="20"/>
                    </a:lnTo>
                    <a:lnTo>
                      <a:pt x="1006" y="20"/>
                    </a:lnTo>
                    <a:lnTo>
                      <a:pt x="998" y="18"/>
                    </a:lnTo>
                    <a:lnTo>
                      <a:pt x="980" y="16"/>
                    </a:lnTo>
                    <a:lnTo>
                      <a:pt x="980" y="16"/>
                    </a:lnTo>
                    <a:lnTo>
                      <a:pt x="958" y="16"/>
                    </a:lnTo>
                    <a:lnTo>
                      <a:pt x="942" y="14"/>
                    </a:lnTo>
                    <a:lnTo>
                      <a:pt x="912" y="6"/>
                    </a:lnTo>
                    <a:lnTo>
                      <a:pt x="900" y="2"/>
                    </a:lnTo>
                    <a:lnTo>
                      <a:pt x="888" y="0"/>
                    </a:lnTo>
                    <a:lnTo>
                      <a:pt x="874" y="0"/>
                    </a:lnTo>
                    <a:lnTo>
                      <a:pt x="858" y="2"/>
                    </a:lnTo>
                    <a:lnTo>
                      <a:pt x="858" y="2"/>
                    </a:lnTo>
                    <a:lnTo>
                      <a:pt x="830" y="4"/>
                    </a:lnTo>
                    <a:lnTo>
                      <a:pt x="808" y="4"/>
                    </a:lnTo>
                    <a:lnTo>
                      <a:pt x="788" y="4"/>
                    </a:lnTo>
                    <a:lnTo>
                      <a:pt x="776" y="6"/>
                    </a:lnTo>
                    <a:lnTo>
                      <a:pt x="762" y="10"/>
                    </a:lnTo>
                    <a:lnTo>
                      <a:pt x="762" y="10"/>
                    </a:lnTo>
                    <a:lnTo>
                      <a:pt x="746" y="14"/>
                    </a:lnTo>
                    <a:lnTo>
                      <a:pt x="728" y="14"/>
                    </a:lnTo>
                    <a:lnTo>
                      <a:pt x="690" y="10"/>
                    </a:lnTo>
                    <a:lnTo>
                      <a:pt x="666" y="10"/>
                    </a:lnTo>
                    <a:lnTo>
                      <a:pt x="640" y="10"/>
                    </a:lnTo>
                    <a:lnTo>
                      <a:pt x="608" y="12"/>
                    </a:lnTo>
                    <a:lnTo>
                      <a:pt x="574" y="20"/>
                    </a:lnTo>
                    <a:lnTo>
                      <a:pt x="574" y="20"/>
                    </a:lnTo>
                    <a:lnTo>
                      <a:pt x="556" y="22"/>
                    </a:lnTo>
                    <a:lnTo>
                      <a:pt x="540" y="22"/>
                    </a:lnTo>
                    <a:lnTo>
                      <a:pt x="526" y="20"/>
                    </a:lnTo>
                    <a:lnTo>
                      <a:pt x="514" y="16"/>
                    </a:lnTo>
                    <a:lnTo>
                      <a:pt x="500" y="14"/>
                    </a:lnTo>
                    <a:lnTo>
                      <a:pt x="490" y="12"/>
                    </a:lnTo>
                    <a:lnTo>
                      <a:pt x="478" y="14"/>
                    </a:lnTo>
                    <a:lnTo>
                      <a:pt x="466" y="18"/>
                    </a:lnTo>
                    <a:lnTo>
                      <a:pt x="466" y="18"/>
                    </a:lnTo>
                    <a:lnTo>
                      <a:pt x="454" y="22"/>
                    </a:lnTo>
                    <a:lnTo>
                      <a:pt x="442" y="24"/>
                    </a:lnTo>
                    <a:lnTo>
                      <a:pt x="432" y="24"/>
                    </a:lnTo>
                    <a:lnTo>
                      <a:pt x="422" y="24"/>
                    </a:lnTo>
                    <a:lnTo>
                      <a:pt x="416" y="22"/>
                    </a:lnTo>
                    <a:lnTo>
                      <a:pt x="412" y="24"/>
                    </a:lnTo>
                    <a:lnTo>
                      <a:pt x="416" y="28"/>
                    </a:lnTo>
                    <a:lnTo>
                      <a:pt x="424" y="36"/>
                    </a:lnTo>
                    <a:lnTo>
                      <a:pt x="424" y="36"/>
                    </a:lnTo>
                    <a:lnTo>
                      <a:pt x="430" y="44"/>
                    </a:lnTo>
                    <a:lnTo>
                      <a:pt x="430" y="46"/>
                    </a:lnTo>
                    <a:lnTo>
                      <a:pt x="430" y="48"/>
                    </a:lnTo>
                    <a:lnTo>
                      <a:pt x="424" y="48"/>
                    </a:lnTo>
                    <a:lnTo>
                      <a:pt x="414" y="46"/>
                    </a:lnTo>
                    <a:lnTo>
                      <a:pt x="404" y="44"/>
                    </a:lnTo>
                    <a:lnTo>
                      <a:pt x="392" y="42"/>
                    </a:lnTo>
                    <a:lnTo>
                      <a:pt x="384" y="44"/>
                    </a:lnTo>
                    <a:lnTo>
                      <a:pt x="380" y="46"/>
                    </a:lnTo>
                    <a:lnTo>
                      <a:pt x="378" y="50"/>
                    </a:lnTo>
                    <a:lnTo>
                      <a:pt x="378" y="50"/>
                    </a:lnTo>
                    <a:lnTo>
                      <a:pt x="376" y="58"/>
                    </a:lnTo>
                    <a:lnTo>
                      <a:pt x="372" y="62"/>
                    </a:lnTo>
                    <a:lnTo>
                      <a:pt x="366" y="66"/>
                    </a:lnTo>
                    <a:lnTo>
                      <a:pt x="360" y="68"/>
                    </a:lnTo>
                    <a:lnTo>
                      <a:pt x="352" y="70"/>
                    </a:lnTo>
                    <a:lnTo>
                      <a:pt x="340" y="70"/>
                    </a:lnTo>
                    <a:lnTo>
                      <a:pt x="312" y="68"/>
                    </a:lnTo>
                    <a:lnTo>
                      <a:pt x="312" y="68"/>
                    </a:lnTo>
                    <a:lnTo>
                      <a:pt x="300" y="66"/>
                    </a:lnTo>
                    <a:lnTo>
                      <a:pt x="292" y="64"/>
                    </a:lnTo>
                    <a:lnTo>
                      <a:pt x="290" y="60"/>
                    </a:lnTo>
                    <a:lnTo>
                      <a:pt x="290" y="58"/>
                    </a:lnTo>
                    <a:lnTo>
                      <a:pt x="290" y="56"/>
                    </a:lnTo>
                    <a:lnTo>
                      <a:pt x="288" y="54"/>
                    </a:lnTo>
                    <a:lnTo>
                      <a:pt x="280" y="52"/>
                    </a:lnTo>
                    <a:lnTo>
                      <a:pt x="264" y="52"/>
                    </a:lnTo>
                    <a:lnTo>
                      <a:pt x="264" y="52"/>
                    </a:lnTo>
                    <a:lnTo>
                      <a:pt x="250" y="52"/>
                    </a:lnTo>
                    <a:lnTo>
                      <a:pt x="244" y="52"/>
                    </a:lnTo>
                    <a:lnTo>
                      <a:pt x="244" y="56"/>
                    </a:lnTo>
                    <a:lnTo>
                      <a:pt x="246" y="60"/>
                    </a:lnTo>
                    <a:lnTo>
                      <a:pt x="248" y="64"/>
                    </a:lnTo>
                    <a:lnTo>
                      <a:pt x="248" y="66"/>
                    </a:lnTo>
                    <a:lnTo>
                      <a:pt x="248" y="68"/>
                    </a:lnTo>
                    <a:lnTo>
                      <a:pt x="240" y="72"/>
                    </a:lnTo>
                    <a:lnTo>
                      <a:pt x="224" y="76"/>
                    </a:lnTo>
                    <a:lnTo>
                      <a:pt x="224" y="76"/>
                    </a:lnTo>
                    <a:lnTo>
                      <a:pt x="208" y="78"/>
                    </a:lnTo>
                    <a:lnTo>
                      <a:pt x="206" y="78"/>
                    </a:lnTo>
                    <a:lnTo>
                      <a:pt x="206" y="80"/>
                    </a:lnTo>
                    <a:lnTo>
                      <a:pt x="212" y="82"/>
                    </a:lnTo>
                    <a:lnTo>
                      <a:pt x="224" y="86"/>
                    </a:lnTo>
                    <a:lnTo>
                      <a:pt x="248" y="92"/>
                    </a:lnTo>
                    <a:lnTo>
                      <a:pt x="254" y="94"/>
                    </a:lnTo>
                    <a:lnTo>
                      <a:pt x="252" y="96"/>
                    </a:lnTo>
                    <a:lnTo>
                      <a:pt x="248" y="98"/>
                    </a:lnTo>
                    <a:lnTo>
                      <a:pt x="248" y="98"/>
                    </a:lnTo>
                    <a:lnTo>
                      <a:pt x="238" y="98"/>
                    </a:lnTo>
                    <a:lnTo>
                      <a:pt x="228" y="98"/>
                    </a:lnTo>
                    <a:lnTo>
                      <a:pt x="206" y="92"/>
                    </a:lnTo>
                    <a:lnTo>
                      <a:pt x="194" y="90"/>
                    </a:lnTo>
                    <a:lnTo>
                      <a:pt x="180" y="88"/>
                    </a:lnTo>
                    <a:lnTo>
                      <a:pt x="166" y="86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130" y="92"/>
                    </a:lnTo>
                    <a:lnTo>
                      <a:pt x="120" y="94"/>
                    </a:lnTo>
                    <a:lnTo>
                      <a:pt x="112" y="98"/>
                    </a:lnTo>
                    <a:lnTo>
                      <a:pt x="108" y="102"/>
                    </a:lnTo>
                    <a:lnTo>
                      <a:pt x="104" y="106"/>
                    </a:lnTo>
                    <a:lnTo>
                      <a:pt x="100" y="106"/>
                    </a:lnTo>
                    <a:lnTo>
                      <a:pt x="92" y="108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66" y="104"/>
                    </a:lnTo>
                    <a:lnTo>
                      <a:pt x="50" y="104"/>
                    </a:lnTo>
                    <a:lnTo>
                      <a:pt x="36" y="108"/>
                    </a:lnTo>
                    <a:lnTo>
                      <a:pt x="22" y="112"/>
                    </a:lnTo>
                    <a:lnTo>
                      <a:pt x="12" y="118"/>
                    </a:lnTo>
                    <a:lnTo>
                      <a:pt x="4" y="124"/>
                    </a:lnTo>
                    <a:lnTo>
                      <a:pt x="0" y="130"/>
                    </a:lnTo>
                    <a:lnTo>
                      <a:pt x="2" y="134"/>
                    </a:lnTo>
                    <a:lnTo>
                      <a:pt x="4" y="138"/>
                    </a:lnTo>
                    <a:lnTo>
                      <a:pt x="4" y="138"/>
                    </a:lnTo>
                    <a:lnTo>
                      <a:pt x="8" y="142"/>
                    </a:lnTo>
                    <a:lnTo>
                      <a:pt x="12" y="144"/>
                    </a:lnTo>
                    <a:lnTo>
                      <a:pt x="16" y="144"/>
                    </a:lnTo>
                    <a:lnTo>
                      <a:pt x="22" y="144"/>
                    </a:lnTo>
                    <a:lnTo>
                      <a:pt x="32" y="144"/>
                    </a:lnTo>
                    <a:lnTo>
                      <a:pt x="36" y="144"/>
                    </a:lnTo>
                    <a:lnTo>
                      <a:pt x="44" y="148"/>
                    </a:lnTo>
                    <a:lnTo>
                      <a:pt x="44" y="14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68" name="Полилиния 6107">
                <a:extLst>
                  <a:ext uri="{FF2B5EF4-FFF2-40B4-BE49-F238E27FC236}">
                    <a16:creationId xmlns:a16="http://schemas.microsoft.com/office/drawing/2014/main" xmlns="" id="{E1C13B64-1C9B-4BD0-8269-FC7C0FA8BC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5530" y="1211263"/>
                <a:ext cx="121920" cy="48260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42"/>
                  </a:cxn>
                  <a:cxn ang="0">
                    <a:pos x="26" y="46"/>
                  </a:cxn>
                  <a:cxn ang="0">
                    <a:pos x="26" y="52"/>
                  </a:cxn>
                  <a:cxn ang="0">
                    <a:pos x="28" y="56"/>
                  </a:cxn>
                  <a:cxn ang="0">
                    <a:pos x="30" y="62"/>
                  </a:cxn>
                  <a:cxn ang="0">
                    <a:pos x="36" y="66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6" y="76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80" y="74"/>
                  </a:cxn>
                  <a:cxn ang="0">
                    <a:pos x="94" y="68"/>
                  </a:cxn>
                  <a:cxn ang="0">
                    <a:pos x="104" y="66"/>
                  </a:cxn>
                  <a:cxn ang="0">
                    <a:pos x="118" y="68"/>
                  </a:cxn>
                  <a:cxn ang="0">
                    <a:pos x="118" y="68"/>
                  </a:cxn>
                  <a:cxn ang="0">
                    <a:pos x="148" y="70"/>
                  </a:cxn>
                  <a:cxn ang="0">
                    <a:pos x="176" y="72"/>
                  </a:cxn>
                  <a:cxn ang="0">
                    <a:pos x="184" y="70"/>
                  </a:cxn>
                  <a:cxn ang="0">
                    <a:pos x="192" y="68"/>
                  </a:cxn>
                  <a:cxn ang="0">
                    <a:pos x="192" y="66"/>
                  </a:cxn>
                  <a:cxn ang="0">
                    <a:pos x="192" y="62"/>
                  </a:cxn>
                  <a:cxn ang="0">
                    <a:pos x="188" y="58"/>
                  </a:cxn>
                  <a:cxn ang="0">
                    <a:pos x="188" y="58"/>
                  </a:cxn>
                  <a:cxn ang="0">
                    <a:pos x="174" y="42"/>
                  </a:cxn>
                  <a:cxn ang="0">
                    <a:pos x="166" y="34"/>
                  </a:cxn>
                  <a:cxn ang="0">
                    <a:pos x="156" y="26"/>
                  </a:cxn>
                  <a:cxn ang="0">
                    <a:pos x="144" y="18"/>
                  </a:cxn>
                  <a:cxn ang="0">
                    <a:pos x="130" y="12"/>
                  </a:cxn>
                  <a:cxn ang="0">
                    <a:pos x="114" y="10"/>
                  </a:cxn>
                  <a:cxn ang="0">
                    <a:pos x="96" y="10"/>
                  </a:cxn>
                  <a:cxn ang="0">
                    <a:pos x="96" y="10"/>
                  </a:cxn>
                  <a:cxn ang="0">
                    <a:pos x="76" y="8"/>
                  </a:cxn>
                  <a:cxn ang="0">
                    <a:pos x="58" y="6"/>
                  </a:cxn>
                  <a:cxn ang="0">
                    <a:pos x="30" y="2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8" y="4"/>
                  </a:cxn>
                  <a:cxn ang="0">
                    <a:pos x="4" y="6"/>
                  </a:cxn>
                  <a:cxn ang="0">
                    <a:pos x="2" y="16"/>
                  </a:cxn>
                  <a:cxn ang="0">
                    <a:pos x="2" y="16"/>
                  </a:cxn>
                </a:cxnLst>
                <a:rect l="0" t="0" r="r" b="b"/>
                <a:pathLst>
                  <a:path w="192" h="76">
                    <a:moveTo>
                      <a:pt x="2" y="16"/>
                    </a:moveTo>
                    <a:lnTo>
                      <a:pt x="2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42"/>
                    </a:lnTo>
                    <a:lnTo>
                      <a:pt x="26" y="46"/>
                    </a:lnTo>
                    <a:lnTo>
                      <a:pt x="26" y="52"/>
                    </a:lnTo>
                    <a:lnTo>
                      <a:pt x="28" y="56"/>
                    </a:lnTo>
                    <a:lnTo>
                      <a:pt x="30" y="62"/>
                    </a:lnTo>
                    <a:lnTo>
                      <a:pt x="36" y="66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6" y="76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80" y="74"/>
                    </a:lnTo>
                    <a:lnTo>
                      <a:pt x="94" y="68"/>
                    </a:lnTo>
                    <a:lnTo>
                      <a:pt x="104" y="66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48" y="70"/>
                    </a:lnTo>
                    <a:lnTo>
                      <a:pt x="176" y="72"/>
                    </a:lnTo>
                    <a:lnTo>
                      <a:pt x="184" y="70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2" y="62"/>
                    </a:lnTo>
                    <a:lnTo>
                      <a:pt x="188" y="58"/>
                    </a:lnTo>
                    <a:lnTo>
                      <a:pt x="188" y="58"/>
                    </a:lnTo>
                    <a:lnTo>
                      <a:pt x="174" y="42"/>
                    </a:lnTo>
                    <a:lnTo>
                      <a:pt x="166" y="34"/>
                    </a:lnTo>
                    <a:lnTo>
                      <a:pt x="156" y="26"/>
                    </a:lnTo>
                    <a:lnTo>
                      <a:pt x="144" y="18"/>
                    </a:lnTo>
                    <a:lnTo>
                      <a:pt x="130" y="12"/>
                    </a:lnTo>
                    <a:lnTo>
                      <a:pt x="114" y="10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76" y="8"/>
                    </a:lnTo>
                    <a:lnTo>
                      <a:pt x="58" y="6"/>
                    </a:lnTo>
                    <a:lnTo>
                      <a:pt x="30" y="2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2" y="16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69" name="Полилиния 6108">
                <a:extLst>
                  <a:ext uri="{FF2B5EF4-FFF2-40B4-BE49-F238E27FC236}">
                    <a16:creationId xmlns:a16="http://schemas.microsoft.com/office/drawing/2014/main" xmlns="" id="{AE34FBDD-7042-44AC-90B3-EC37B5E76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760" y="1103313"/>
                <a:ext cx="29210" cy="11430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8" y="18"/>
                  </a:cxn>
                  <a:cxn ang="0">
                    <a:pos x="14" y="18"/>
                  </a:cxn>
                  <a:cxn ang="0">
                    <a:pos x="30" y="12"/>
                  </a:cxn>
                  <a:cxn ang="0">
                    <a:pos x="42" y="4"/>
                  </a:cxn>
                  <a:cxn ang="0">
                    <a:pos x="46" y="2"/>
                  </a:cxn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16" y="6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2" y="18"/>
                  </a:cxn>
                </a:cxnLst>
                <a:rect l="0" t="0" r="r" b="b"/>
                <a:pathLst>
                  <a:path w="46" h="18">
                    <a:moveTo>
                      <a:pt x="2" y="18"/>
                    </a:moveTo>
                    <a:lnTo>
                      <a:pt x="2" y="18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30" y="12"/>
                    </a:lnTo>
                    <a:lnTo>
                      <a:pt x="42" y="4"/>
                    </a:lnTo>
                    <a:lnTo>
                      <a:pt x="46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32" y="2"/>
                    </a:lnTo>
                    <a:lnTo>
                      <a:pt x="16" y="6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70" name="Полилиния 6109">
                <a:extLst>
                  <a:ext uri="{FF2B5EF4-FFF2-40B4-BE49-F238E27FC236}">
                    <a16:creationId xmlns:a16="http://schemas.microsoft.com/office/drawing/2014/main" xmlns="" id="{AFECA511-DE09-4AA9-A967-99AA19EE6F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4530" y="1190943"/>
                <a:ext cx="138430" cy="102870"/>
              </a:xfrm>
              <a:custGeom>
                <a:avLst/>
                <a:gdLst/>
                <a:ahLst/>
                <a:cxnLst>
                  <a:cxn ang="0">
                    <a:pos x="166" y="92"/>
                  </a:cxn>
                  <a:cxn ang="0">
                    <a:pos x="186" y="66"/>
                  </a:cxn>
                  <a:cxn ang="0">
                    <a:pos x="216" y="36"/>
                  </a:cxn>
                  <a:cxn ang="0">
                    <a:pos x="218" y="28"/>
                  </a:cxn>
                  <a:cxn ang="0">
                    <a:pos x="216" y="22"/>
                  </a:cxn>
                  <a:cxn ang="0">
                    <a:pos x="204" y="16"/>
                  </a:cxn>
                  <a:cxn ang="0">
                    <a:pos x="190" y="12"/>
                  </a:cxn>
                  <a:cxn ang="0">
                    <a:pos x="172" y="12"/>
                  </a:cxn>
                  <a:cxn ang="0">
                    <a:pos x="156" y="16"/>
                  </a:cxn>
                  <a:cxn ang="0">
                    <a:pos x="140" y="12"/>
                  </a:cxn>
                  <a:cxn ang="0">
                    <a:pos x="122" y="4"/>
                  </a:cxn>
                  <a:cxn ang="0">
                    <a:pos x="106" y="0"/>
                  </a:cxn>
                  <a:cxn ang="0">
                    <a:pos x="84" y="0"/>
                  </a:cxn>
                  <a:cxn ang="0">
                    <a:pos x="48" y="6"/>
                  </a:cxn>
                  <a:cxn ang="0">
                    <a:pos x="20" y="16"/>
                  </a:cxn>
                  <a:cxn ang="0">
                    <a:pos x="16" y="24"/>
                  </a:cxn>
                  <a:cxn ang="0">
                    <a:pos x="22" y="30"/>
                  </a:cxn>
                  <a:cxn ang="0">
                    <a:pos x="18" y="32"/>
                  </a:cxn>
                  <a:cxn ang="0">
                    <a:pos x="6" y="32"/>
                  </a:cxn>
                  <a:cxn ang="0">
                    <a:pos x="0" y="48"/>
                  </a:cxn>
                  <a:cxn ang="0">
                    <a:pos x="0" y="74"/>
                  </a:cxn>
                  <a:cxn ang="0">
                    <a:pos x="2" y="98"/>
                  </a:cxn>
                  <a:cxn ang="0">
                    <a:pos x="10" y="114"/>
                  </a:cxn>
                  <a:cxn ang="0">
                    <a:pos x="20" y="134"/>
                  </a:cxn>
                  <a:cxn ang="0">
                    <a:pos x="20" y="142"/>
                  </a:cxn>
                  <a:cxn ang="0">
                    <a:pos x="22" y="154"/>
                  </a:cxn>
                  <a:cxn ang="0">
                    <a:pos x="30" y="156"/>
                  </a:cxn>
                  <a:cxn ang="0">
                    <a:pos x="54" y="156"/>
                  </a:cxn>
                  <a:cxn ang="0">
                    <a:pos x="62" y="160"/>
                  </a:cxn>
                  <a:cxn ang="0">
                    <a:pos x="70" y="160"/>
                  </a:cxn>
                  <a:cxn ang="0">
                    <a:pos x="76" y="146"/>
                  </a:cxn>
                  <a:cxn ang="0">
                    <a:pos x="82" y="138"/>
                  </a:cxn>
                  <a:cxn ang="0">
                    <a:pos x="90" y="132"/>
                  </a:cxn>
                  <a:cxn ang="0">
                    <a:pos x="90" y="122"/>
                  </a:cxn>
                  <a:cxn ang="0">
                    <a:pos x="86" y="114"/>
                  </a:cxn>
                  <a:cxn ang="0">
                    <a:pos x="84" y="106"/>
                  </a:cxn>
                  <a:cxn ang="0">
                    <a:pos x="88" y="104"/>
                  </a:cxn>
                  <a:cxn ang="0">
                    <a:pos x="112" y="106"/>
                  </a:cxn>
                  <a:cxn ang="0">
                    <a:pos x="142" y="106"/>
                  </a:cxn>
                  <a:cxn ang="0">
                    <a:pos x="156" y="102"/>
                  </a:cxn>
                  <a:cxn ang="0">
                    <a:pos x="166" y="92"/>
                  </a:cxn>
                </a:cxnLst>
                <a:rect l="0" t="0" r="r" b="b"/>
                <a:pathLst>
                  <a:path w="218" h="162">
                    <a:moveTo>
                      <a:pt x="166" y="92"/>
                    </a:moveTo>
                    <a:lnTo>
                      <a:pt x="166" y="92"/>
                    </a:lnTo>
                    <a:lnTo>
                      <a:pt x="176" y="80"/>
                    </a:lnTo>
                    <a:lnTo>
                      <a:pt x="186" y="66"/>
                    </a:lnTo>
                    <a:lnTo>
                      <a:pt x="208" y="46"/>
                    </a:lnTo>
                    <a:lnTo>
                      <a:pt x="216" y="36"/>
                    </a:lnTo>
                    <a:lnTo>
                      <a:pt x="218" y="32"/>
                    </a:lnTo>
                    <a:lnTo>
                      <a:pt x="218" y="28"/>
                    </a:lnTo>
                    <a:lnTo>
                      <a:pt x="218" y="24"/>
                    </a:lnTo>
                    <a:lnTo>
                      <a:pt x="216" y="22"/>
                    </a:lnTo>
                    <a:lnTo>
                      <a:pt x="210" y="18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190" y="12"/>
                    </a:lnTo>
                    <a:lnTo>
                      <a:pt x="180" y="12"/>
                    </a:lnTo>
                    <a:lnTo>
                      <a:pt x="172" y="12"/>
                    </a:lnTo>
                    <a:lnTo>
                      <a:pt x="166" y="14"/>
                    </a:lnTo>
                    <a:lnTo>
                      <a:pt x="156" y="16"/>
                    </a:lnTo>
                    <a:lnTo>
                      <a:pt x="148" y="16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22" y="4"/>
                    </a:lnTo>
                    <a:lnTo>
                      <a:pt x="114" y="2"/>
                    </a:lnTo>
                    <a:lnTo>
                      <a:pt x="106" y="0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30" y="10"/>
                    </a:lnTo>
                    <a:lnTo>
                      <a:pt x="20" y="16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6"/>
                    </a:lnTo>
                    <a:lnTo>
                      <a:pt x="0" y="4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0" y="114"/>
                    </a:lnTo>
                    <a:lnTo>
                      <a:pt x="18" y="126"/>
                    </a:lnTo>
                    <a:lnTo>
                      <a:pt x="20" y="134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20" y="150"/>
                    </a:lnTo>
                    <a:lnTo>
                      <a:pt x="22" y="154"/>
                    </a:lnTo>
                    <a:lnTo>
                      <a:pt x="26" y="156"/>
                    </a:lnTo>
                    <a:lnTo>
                      <a:pt x="30" y="156"/>
                    </a:lnTo>
                    <a:lnTo>
                      <a:pt x="46" y="156"/>
                    </a:lnTo>
                    <a:lnTo>
                      <a:pt x="54" y="156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8" y="162"/>
                    </a:lnTo>
                    <a:lnTo>
                      <a:pt x="70" y="160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8" y="140"/>
                    </a:lnTo>
                    <a:lnTo>
                      <a:pt x="82" y="138"/>
                    </a:lnTo>
                    <a:lnTo>
                      <a:pt x="88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90" y="122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6" y="104"/>
                    </a:lnTo>
                    <a:lnTo>
                      <a:pt x="88" y="104"/>
                    </a:lnTo>
                    <a:lnTo>
                      <a:pt x="98" y="104"/>
                    </a:lnTo>
                    <a:lnTo>
                      <a:pt x="112" y="106"/>
                    </a:lnTo>
                    <a:lnTo>
                      <a:pt x="128" y="108"/>
                    </a:lnTo>
                    <a:lnTo>
                      <a:pt x="142" y="106"/>
                    </a:lnTo>
                    <a:lnTo>
                      <a:pt x="150" y="106"/>
                    </a:lnTo>
                    <a:lnTo>
                      <a:pt x="156" y="102"/>
                    </a:lnTo>
                    <a:lnTo>
                      <a:pt x="162" y="98"/>
                    </a:lnTo>
                    <a:lnTo>
                      <a:pt x="166" y="92"/>
                    </a:lnTo>
                    <a:lnTo>
                      <a:pt x="166" y="9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71" name="Полилиния 6110">
                <a:extLst>
                  <a:ext uri="{FF2B5EF4-FFF2-40B4-BE49-F238E27FC236}">
                    <a16:creationId xmlns:a16="http://schemas.microsoft.com/office/drawing/2014/main" xmlns="" id="{0788F913-6E7F-46F5-9610-270AD1D9A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2970" y="1573213"/>
                <a:ext cx="176530" cy="121920"/>
              </a:xfrm>
              <a:custGeom>
                <a:avLst/>
                <a:gdLst/>
                <a:ahLst/>
                <a:cxnLst>
                  <a:cxn ang="0">
                    <a:pos x="272" y="132"/>
                  </a:cxn>
                  <a:cxn ang="0">
                    <a:pos x="258" y="122"/>
                  </a:cxn>
                  <a:cxn ang="0">
                    <a:pos x="250" y="126"/>
                  </a:cxn>
                  <a:cxn ang="0">
                    <a:pos x="236" y="124"/>
                  </a:cxn>
                  <a:cxn ang="0">
                    <a:pos x="228" y="120"/>
                  </a:cxn>
                  <a:cxn ang="0">
                    <a:pos x="220" y="102"/>
                  </a:cxn>
                  <a:cxn ang="0">
                    <a:pos x="212" y="88"/>
                  </a:cxn>
                  <a:cxn ang="0">
                    <a:pos x="192" y="78"/>
                  </a:cxn>
                  <a:cxn ang="0">
                    <a:pos x="178" y="72"/>
                  </a:cxn>
                  <a:cxn ang="0">
                    <a:pos x="140" y="46"/>
                  </a:cxn>
                  <a:cxn ang="0">
                    <a:pos x="122" y="34"/>
                  </a:cxn>
                  <a:cxn ang="0">
                    <a:pos x="110" y="34"/>
                  </a:cxn>
                  <a:cxn ang="0">
                    <a:pos x="106" y="36"/>
                  </a:cxn>
                  <a:cxn ang="0">
                    <a:pos x="100" y="40"/>
                  </a:cxn>
                  <a:cxn ang="0">
                    <a:pos x="96" y="38"/>
                  </a:cxn>
                  <a:cxn ang="0">
                    <a:pos x="86" y="24"/>
                  </a:cxn>
                  <a:cxn ang="0">
                    <a:pos x="76" y="8"/>
                  </a:cxn>
                  <a:cxn ang="0">
                    <a:pos x="66" y="0"/>
                  </a:cxn>
                  <a:cxn ang="0">
                    <a:pos x="62" y="2"/>
                  </a:cxn>
                  <a:cxn ang="0">
                    <a:pos x="54" y="6"/>
                  </a:cxn>
                  <a:cxn ang="0">
                    <a:pos x="42" y="26"/>
                  </a:cxn>
                  <a:cxn ang="0">
                    <a:pos x="36" y="58"/>
                  </a:cxn>
                  <a:cxn ang="0">
                    <a:pos x="34" y="90"/>
                  </a:cxn>
                  <a:cxn ang="0">
                    <a:pos x="38" y="106"/>
                  </a:cxn>
                  <a:cxn ang="0">
                    <a:pos x="38" y="116"/>
                  </a:cxn>
                  <a:cxn ang="0">
                    <a:pos x="34" y="124"/>
                  </a:cxn>
                  <a:cxn ang="0">
                    <a:pos x="18" y="134"/>
                  </a:cxn>
                  <a:cxn ang="0">
                    <a:pos x="4" y="142"/>
                  </a:cxn>
                  <a:cxn ang="0">
                    <a:pos x="0" y="150"/>
                  </a:cxn>
                  <a:cxn ang="0">
                    <a:pos x="4" y="158"/>
                  </a:cxn>
                  <a:cxn ang="0">
                    <a:pos x="4" y="160"/>
                  </a:cxn>
                  <a:cxn ang="0">
                    <a:pos x="16" y="162"/>
                  </a:cxn>
                  <a:cxn ang="0">
                    <a:pos x="50" y="156"/>
                  </a:cxn>
                  <a:cxn ang="0">
                    <a:pos x="64" y="156"/>
                  </a:cxn>
                  <a:cxn ang="0">
                    <a:pos x="66" y="162"/>
                  </a:cxn>
                  <a:cxn ang="0">
                    <a:pos x="66" y="166"/>
                  </a:cxn>
                  <a:cxn ang="0">
                    <a:pos x="70" y="182"/>
                  </a:cxn>
                  <a:cxn ang="0">
                    <a:pos x="82" y="190"/>
                  </a:cxn>
                  <a:cxn ang="0">
                    <a:pos x="96" y="190"/>
                  </a:cxn>
                  <a:cxn ang="0">
                    <a:pos x="110" y="176"/>
                  </a:cxn>
                  <a:cxn ang="0">
                    <a:pos x="114" y="166"/>
                  </a:cxn>
                  <a:cxn ang="0">
                    <a:pos x="124" y="160"/>
                  </a:cxn>
                  <a:cxn ang="0">
                    <a:pos x="134" y="158"/>
                  </a:cxn>
                  <a:cxn ang="0">
                    <a:pos x="142" y="150"/>
                  </a:cxn>
                  <a:cxn ang="0">
                    <a:pos x="144" y="142"/>
                  </a:cxn>
                  <a:cxn ang="0">
                    <a:pos x="154" y="128"/>
                  </a:cxn>
                  <a:cxn ang="0">
                    <a:pos x="170" y="124"/>
                  </a:cxn>
                  <a:cxn ang="0">
                    <a:pos x="184" y="130"/>
                  </a:cxn>
                  <a:cxn ang="0">
                    <a:pos x="192" y="142"/>
                  </a:cxn>
                  <a:cxn ang="0">
                    <a:pos x="194" y="148"/>
                  </a:cxn>
                  <a:cxn ang="0">
                    <a:pos x="198" y="154"/>
                  </a:cxn>
                  <a:cxn ang="0">
                    <a:pos x="214" y="156"/>
                  </a:cxn>
                  <a:cxn ang="0">
                    <a:pos x="232" y="160"/>
                  </a:cxn>
                  <a:cxn ang="0">
                    <a:pos x="254" y="162"/>
                  </a:cxn>
                  <a:cxn ang="0">
                    <a:pos x="272" y="158"/>
                  </a:cxn>
                  <a:cxn ang="0">
                    <a:pos x="278" y="148"/>
                  </a:cxn>
                  <a:cxn ang="0">
                    <a:pos x="272" y="132"/>
                  </a:cxn>
                </a:cxnLst>
                <a:rect l="0" t="0" r="r" b="b"/>
                <a:pathLst>
                  <a:path w="278" h="192">
                    <a:moveTo>
                      <a:pt x="272" y="132"/>
                    </a:moveTo>
                    <a:lnTo>
                      <a:pt x="272" y="13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6" y="122"/>
                    </a:lnTo>
                    <a:lnTo>
                      <a:pt x="250" y="126"/>
                    </a:lnTo>
                    <a:lnTo>
                      <a:pt x="244" y="126"/>
                    </a:lnTo>
                    <a:lnTo>
                      <a:pt x="236" y="124"/>
                    </a:lnTo>
                    <a:lnTo>
                      <a:pt x="236" y="124"/>
                    </a:lnTo>
                    <a:lnTo>
                      <a:pt x="228" y="120"/>
                    </a:lnTo>
                    <a:lnTo>
                      <a:pt x="224" y="114"/>
                    </a:lnTo>
                    <a:lnTo>
                      <a:pt x="220" y="102"/>
                    </a:lnTo>
                    <a:lnTo>
                      <a:pt x="218" y="96"/>
                    </a:lnTo>
                    <a:lnTo>
                      <a:pt x="212" y="88"/>
                    </a:lnTo>
                    <a:lnTo>
                      <a:pt x="204" y="82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78" y="72"/>
                    </a:lnTo>
                    <a:lnTo>
                      <a:pt x="164" y="64"/>
                    </a:lnTo>
                    <a:lnTo>
                      <a:pt x="140" y="46"/>
                    </a:lnTo>
                    <a:lnTo>
                      <a:pt x="130" y="38"/>
                    </a:lnTo>
                    <a:lnTo>
                      <a:pt x="122" y="34"/>
                    </a:lnTo>
                    <a:lnTo>
                      <a:pt x="114" y="32"/>
                    </a:lnTo>
                    <a:lnTo>
                      <a:pt x="110" y="34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70" y="2"/>
                    </a:lnTo>
                    <a:lnTo>
                      <a:pt x="66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4" y="6"/>
                    </a:lnTo>
                    <a:lnTo>
                      <a:pt x="48" y="14"/>
                    </a:lnTo>
                    <a:lnTo>
                      <a:pt x="42" y="26"/>
                    </a:lnTo>
                    <a:lnTo>
                      <a:pt x="38" y="42"/>
                    </a:lnTo>
                    <a:lnTo>
                      <a:pt x="36" y="58"/>
                    </a:lnTo>
                    <a:lnTo>
                      <a:pt x="34" y="74"/>
                    </a:lnTo>
                    <a:lnTo>
                      <a:pt x="34" y="90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36" y="122"/>
                    </a:lnTo>
                    <a:lnTo>
                      <a:pt x="34" y="124"/>
                    </a:lnTo>
                    <a:lnTo>
                      <a:pt x="26" y="130"/>
                    </a:lnTo>
                    <a:lnTo>
                      <a:pt x="18" y="134"/>
                    </a:lnTo>
                    <a:lnTo>
                      <a:pt x="10" y="138"/>
                    </a:lnTo>
                    <a:lnTo>
                      <a:pt x="4" y="142"/>
                    </a:lnTo>
                    <a:lnTo>
                      <a:pt x="2" y="146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4" y="158"/>
                    </a:lnTo>
                    <a:lnTo>
                      <a:pt x="4" y="158"/>
                    </a:lnTo>
                    <a:lnTo>
                      <a:pt x="4" y="160"/>
                    </a:lnTo>
                    <a:lnTo>
                      <a:pt x="8" y="162"/>
                    </a:lnTo>
                    <a:lnTo>
                      <a:pt x="16" y="162"/>
                    </a:lnTo>
                    <a:lnTo>
                      <a:pt x="38" y="158"/>
                    </a:lnTo>
                    <a:lnTo>
                      <a:pt x="50" y="156"/>
                    </a:lnTo>
                    <a:lnTo>
                      <a:pt x="60" y="156"/>
                    </a:lnTo>
                    <a:lnTo>
                      <a:pt x="64" y="156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6" y="166"/>
                    </a:lnTo>
                    <a:lnTo>
                      <a:pt x="66" y="166"/>
                    </a:lnTo>
                    <a:lnTo>
                      <a:pt x="66" y="174"/>
                    </a:lnTo>
                    <a:lnTo>
                      <a:pt x="70" y="182"/>
                    </a:lnTo>
                    <a:lnTo>
                      <a:pt x="74" y="188"/>
                    </a:lnTo>
                    <a:lnTo>
                      <a:pt x="82" y="190"/>
                    </a:lnTo>
                    <a:lnTo>
                      <a:pt x="88" y="192"/>
                    </a:lnTo>
                    <a:lnTo>
                      <a:pt x="96" y="190"/>
                    </a:lnTo>
                    <a:lnTo>
                      <a:pt x="104" y="184"/>
                    </a:lnTo>
                    <a:lnTo>
                      <a:pt x="110" y="176"/>
                    </a:lnTo>
                    <a:lnTo>
                      <a:pt x="110" y="176"/>
                    </a:lnTo>
                    <a:lnTo>
                      <a:pt x="114" y="166"/>
                    </a:lnTo>
                    <a:lnTo>
                      <a:pt x="120" y="162"/>
                    </a:lnTo>
                    <a:lnTo>
                      <a:pt x="124" y="160"/>
                    </a:lnTo>
                    <a:lnTo>
                      <a:pt x="130" y="158"/>
                    </a:lnTo>
                    <a:lnTo>
                      <a:pt x="134" y="158"/>
                    </a:lnTo>
                    <a:lnTo>
                      <a:pt x="138" y="156"/>
                    </a:lnTo>
                    <a:lnTo>
                      <a:pt x="142" y="150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8" y="134"/>
                    </a:lnTo>
                    <a:lnTo>
                      <a:pt x="154" y="128"/>
                    </a:lnTo>
                    <a:lnTo>
                      <a:pt x="162" y="124"/>
                    </a:lnTo>
                    <a:lnTo>
                      <a:pt x="170" y="124"/>
                    </a:lnTo>
                    <a:lnTo>
                      <a:pt x="178" y="126"/>
                    </a:lnTo>
                    <a:lnTo>
                      <a:pt x="184" y="130"/>
                    </a:lnTo>
                    <a:lnTo>
                      <a:pt x="190" y="136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4" y="148"/>
                    </a:lnTo>
                    <a:lnTo>
                      <a:pt x="196" y="152"/>
                    </a:lnTo>
                    <a:lnTo>
                      <a:pt x="198" y="154"/>
                    </a:lnTo>
                    <a:lnTo>
                      <a:pt x="202" y="156"/>
                    </a:lnTo>
                    <a:lnTo>
                      <a:pt x="214" y="156"/>
                    </a:lnTo>
                    <a:lnTo>
                      <a:pt x="232" y="160"/>
                    </a:lnTo>
                    <a:lnTo>
                      <a:pt x="232" y="160"/>
                    </a:lnTo>
                    <a:lnTo>
                      <a:pt x="244" y="162"/>
                    </a:lnTo>
                    <a:lnTo>
                      <a:pt x="254" y="162"/>
                    </a:lnTo>
                    <a:lnTo>
                      <a:pt x="264" y="160"/>
                    </a:lnTo>
                    <a:lnTo>
                      <a:pt x="272" y="158"/>
                    </a:lnTo>
                    <a:lnTo>
                      <a:pt x="276" y="154"/>
                    </a:lnTo>
                    <a:lnTo>
                      <a:pt x="278" y="148"/>
                    </a:lnTo>
                    <a:lnTo>
                      <a:pt x="278" y="140"/>
                    </a:lnTo>
                    <a:lnTo>
                      <a:pt x="272" y="132"/>
                    </a:lnTo>
                    <a:lnTo>
                      <a:pt x="272" y="1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72" name="Полилиния 6111">
                <a:extLst>
                  <a:ext uri="{FF2B5EF4-FFF2-40B4-BE49-F238E27FC236}">
                    <a16:creationId xmlns:a16="http://schemas.microsoft.com/office/drawing/2014/main" xmlns="" id="{E5AC1360-3AA8-422E-BD82-4007E4B576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50" y="1465263"/>
                <a:ext cx="15240" cy="24130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8"/>
                  </a:cxn>
                  <a:cxn ang="0">
                    <a:pos x="12" y="36"/>
                  </a:cxn>
                  <a:cxn ang="0">
                    <a:pos x="16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4" y="30"/>
                  </a:cxn>
                  <a:cxn ang="0">
                    <a:pos x="24" y="1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6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8"/>
                  </a:cxn>
                  <a:cxn ang="0">
                    <a:pos x="4" y="28"/>
                  </a:cxn>
                </a:cxnLst>
                <a:rect l="0" t="0" r="r" b="b"/>
                <a:pathLst>
                  <a:path w="24" h="38">
                    <a:moveTo>
                      <a:pt x="4" y="28"/>
                    </a:moveTo>
                    <a:lnTo>
                      <a:pt x="4" y="28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4" y="30"/>
                    </a:lnTo>
                    <a:lnTo>
                      <a:pt x="24" y="1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8"/>
                    </a:lnTo>
                    <a:lnTo>
                      <a:pt x="4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73" name="Полилиния 6112">
                <a:extLst>
                  <a:ext uri="{FF2B5EF4-FFF2-40B4-BE49-F238E27FC236}">
                    <a16:creationId xmlns:a16="http://schemas.microsoft.com/office/drawing/2014/main" xmlns="" id="{77AA563D-B745-4E32-ADF8-FDB9FD1559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060" y="1697673"/>
                <a:ext cx="52070" cy="36830"/>
              </a:xfrm>
              <a:custGeom>
                <a:avLst/>
                <a:gdLst/>
                <a:ahLst/>
                <a:cxnLst>
                  <a:cxn ang="0">
                    <a:pos x="78" y="4"/>
                  </a:cxn>
                  <a:cxn ang="0">
                    <a:pos x="78" y="4"/>
                  </a:cxn>
                  <a:cxn ang="0">
                    <a:pos x="72" y="2"/>
                  </a:cxn>
                  <a:cxn ang="0">
                    <a:pos x="68" y="0"/>
                  </a:cxn>
                  <a:cxn ang="0">
                    <a:pos x="54" y="2"/>
                  </a:cxn>
                  <a:cxn ang="0">
                    <a:pos x="38" y="6"/>
                  </a:cxn>
                  <a:cxn ang="0">
                    <a:pos x="24" y="14"/>
                  </a:cxn>
                  <a:cxn ang="0">
                    <a:pos x="12" y="22"/>
                  </a:cxn>
                  <a:cxn ang="0">
                    <a:pos x="4" y="32"/>
                  </a:cxn>
                  <a:cxn ang="0">
                    <a:pos x="0" y="38"/>
                  </a:cxn>
                  <a:cxn ang="0">
                    <a:pos x="0" y="42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6" y="58"/>
                  </a:cxn>
                  <a:cxn ang="0">
                    <a:pos x="22" y="58"/>
                  </a:cxn>
                  <a:cxn ang="0">
                    <a:pos x="28" y="56"/>
                  </a:cxn>
                  <a:cxn ang="0">
                    <a:pos x="42" y="50"/>
                  </a:cxn>
                  <a:cxn ang="0">
                    <a:pos x="58" y="42"/>
                  </a:cxn>
                  <a:cxn ang="0">
                    <a:pos x="70" y="32"/>
                  </a:cxn>
                  <a:cxn ang="0">
                    <a:pos x="78" y="20"/>
                  </a:cxn>
                  <a:cxn ang="0">
                    <a:pos x="80" y="16"/>
                  </a:cxn>
                  <a:cxn ang="0">
                    <a:pos x="82" y="10"/>
                  </a:cxn>
                  <a:cxn ang="0">
                    <a:pos x="80" y="6"/>
                  </a:cxn>
                  <a:cxn ang="0">
                    <a:pos x="78" y="4"/>
                  </a:cxn>
                  <a:cxn ang="0">
                    <a:pos x="78" y="4"/>
                  </a:cxn>
                </a:cxnLst>
                <a:rect l="0" t="0" r="r" b="b"/>
                <a:pathLst>
                  <a:path w="82" h="58">
                    <a:moveTo>
                      <a:pt x="78" y="4"/>
                    </a:moveTo>
                    <a:lnTo>
                      <a:pt x="78" y="4"/>
                    </a:lnTo>
                    <a:lnTo>
                      <a:pt x="72" y="2"/>
                    </a:lnTo>
                    <a:lnTo>
                      <a:pt x="68" y="0"/>
                    </a:lnTo>
                    <a:lnTo>
                      <a:pt x="54" y="2"/>
                    </a:lnTo>
                    <a:lnTo>
                      <a:pt x="38" y="6"/>
                    </a:lnTo>
                    <a:lnTo>
                      <a:pt x="24" y="14"/>
                    </a:lnTo>
                    <a:lnTo>
                      <a:pt x="12" y="22"/>
                    </a:lnTo>
                    <a:lnTo>
                      <a:pt x="4" y="3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6" y="58"/>
                    </a:lnTo>
                    <a:lnTo>
                      <a:pt x="22" y="58"/>
                    </a:lnTo>
                    <a:lnTo>
                      <a:pt x="28" y="56"/>
                    </a:lnTo>
                    <a:lnTo>
                      <a:pt x="42" y="50"/>
                    </a:lnTo>
                    <a:lnTo>
                      <a:pt x="58" y="42"/>
                    </a:lnTo>
                    <a:lnTo>
                      <a:pt x="70" y="32"/>
                    </a:lnTo>
                    <a:lnTo>
                      <a:pt x="78" y="20"/>
                    </a:lnTo>
                    <a:lnTo>
                      <a:pt x="80" y="16"/>
                    </a:lnTo>
                    <a:lnTo>
                      <a:pt x="82" y="10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74" name="Полилиния 6113">
                <a:extLst>
                  <a:ext uri="{FF2B5EF4-FFF2-40B4-BE49-F238E27FC236}">
                    <a16:creationId xmlns:a16="http://schemas.microsoft.com/office/drawing/2014/main" xmlns="" id="{DB188D03-458F-426A-9F60-B7980D343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7630" y="1230313"/>
                <a:ext cx="467360" cy="227330"/>
              </a:xfrm>
              <a:custGeom>
                <a:avLst/>
                <a:gdLst/>
                <a:ahLst/>
                <a:cxnLst>
                  <a:cxn ang="0">
                    <a:pos x="700" y="272"/>
                  </a:cxn>
                  <a:cxn ang="0">
                    <a:pos x="720" y="274"/>
                  </a:cxn>
                  <a:cxn ang="0">
                    <a:pos x="736" y="254"/>
                  </a:cxn>
                  <a:cxn ang="0">
                    <a:pos x="708" y="238"/>
                  </a:cxn>
                  <a:cxn ang="0">
                    <a:pos x="684" y="224"/>
                  </a:cxn>
                  <a:cxn ang="0">
                    <a:pos x="646" y="206"/>
                  </a:cxn>
                  <a:cxn ang="0">
                    <a:pos x="608" y="190"/>
                  </a:cxn>
                  <a:cxn ang="0">
                    <a:pos x="586" y="166"/>
                  </a:cxn>
                  <a:cxn ang="0">
                    <a:pos x="592" y="128"/>
                  </a:cxn>
                  <a:cxn ang="0">
                    <a:pos x="560" y="58"/>
                  </a:cxn>
                  <a:cxn ang="0">
                    <a:pos x="506" y="10"/>
                  </a:cxn>
                  <a:cxn ang="0">
                    <a:pos x="482" y="10"/>
                  </a:cxn>
                  <a:cxn ang="0">
                    <a:pos x="438" y="8"/>
                  </a:cxn>
                  <a:cxn ang="0">
                    <a:pos x="450" y="68"/>
                  </a:cxn>
                  <a:cxn ang="0">
                    <a:pos x="478" y="114"/>
                  </a:cxn>
                  <a:cxn ang="0">
                    <a:pos x="456" y="132"/>
                  </a:cxn>
                  <a:cxn ang="0">
                    <a:pos x="420" y="68"/>
                  </a:cxn>
                  <a:cxn ang="0">
                    <a:pos x="382" y="40"/>
                  </a:cxn>
                  <a:cxn ang="0">
                    <a:pos x="354" y="26"/>
                  </a:cxn>
                  <a:cxn ang="0">
                    <a:pos x="352" y="40"/>
                  </a:cxn>
                  <a:cxn ang="0">
                    <a:pos x="372" y="58"/>
                  </a:cxn>
                  <a:cxn ang="0">
                    <a:pos x="336" y="62"/>
                  </a:cxn>
                  <a:cxn ang="0">
                    <a:pos x="318" y="74"/>
                  </a:cxn>
                  <a:cxn ang="0">
                    <a:pos x="296" y="40"/>
                  </a:cxn>
                  <a:cxn ang="0">
                    <a:pos x="224" y="38"/>
                  </a:cxn>
                  <a:cxn ang="0">
                    <a:pos x="190" y="60"/>
                  </a:cxn>
                  <a:cxn ang="0">
                    <a:pos x="206" y="32"/>
                  </a:cxn>
                  <a:cxn ang="0">
                    <a:pos x="196" y="2"/>
                  </a:cxn>
                  <a:cxn ang="0">
                    <a:pos x="100" y="26"/>
                  </a:cxn>
                  <a:cxn ang="0">
                    <a:pos x="22" y="72"/>
                  </a:cxn>
                  <a:cxn ang="0">
                    <a:pos x="40" y="86"/>
                  </a:cxn>
                  <a:cxn ang="0">
                    <a:pos x="2" y="116"/>
                  </a:cxn>
                  <a:cxn ang="0">
                    <a:pos x="14" y="130"/>
                  </a:cxn>
                  <a:cxn ang="0">
                    <a:pos x="34" y="146"/>
                  </a:cxn>
                  <a:cxn ang="0">
                    <a:pos x="116" y="140"/>
                  </a:cxn>
                  <a:cxn ang="0">
                    <a:pos x="76" y="160"/>
                  </a:cxn>
                  <a:cxn ang="0">
                    <a:pos x="44" y="192"/>
                  </a:cxn>
                  <a:cxn ang="0">
                    <a:pos x="110" y="204"/>
                  </a:cxn>
                  <a:cxn ang="0">
                    <a:pos x="210" y="202"/>
                  </a:cxn>
                  <a:cxn ang="0">
                    <a:pos x="276" y="214"/>
                  </a:cxn>
                  <a:cxn ang="0">
                    <a:pos x="294" y="230"/>
                  </a:cxn>
                  <a:cxn ang="0">
                    <a:pos x="168" y="230"/>
                  </a:cxn>
                  <a:cxn ang="0">
                    <a:pos x="70" y="254"/>
                  </a:cxn>
                  <a:cxn ang="0">
                    <a:pos x="122" y="300"/>
                  </a:cxn>
                  <a:cxn ang="0">
                    <a:pos x="222" y="308"/>
                  </a:cxn>
                  <a:cxn ang="0">
                    <a:pos x="232" y="350"/>
                  </a:cxn>
                  <a:cxn ang="0">
                    <a:pos x="314" y="358"/>
                  </a:cxn>
                  <a:cxn ang="0">
                    <a:pos x="420" y="332"/>
                  </a:cxn>
                  <a:cxn ang="0">
                    <a:pos x="478" y="318"/>
                  </a:cxn>
                  <a:cxn ang="0">
                    <a:pos x="490" y="296"/>
                  </a:cxn>
                  <a:cxn ang="0">
                    <a:pos x="516" y="294"/>
                  </a:cxn>
                  <a:cxn ang="0">
                    <a:pos x="540" y="312"/>
                  </a:cxn>
                  <a:cxn ang="0">
                    <a:pos x="560" y="324"/>
                  </a:cxn>
                  <a:cxn ang="0">
                    <a:pos x="592" y="328"/>
                  </a:cxn>
                  <a:cxn ang="0">
                    <a:pos x="640" y="334"/>
                  </a:cxn>
                  <a:cxn ang="0">
                    <a:pos x="680" y="324"/>
                  </a:cxn>
                  <a:cxn ang="0">
                    <a:pos x="700" y="306"/>
                  </a:cxn>
                  <a:cxn ang="0">
                    <a:pos x="692" y="288"/>
                  </a:cxn>
                  <a:cxn ang="0">
                    <a:pos x="648" y="300"/>
                  </a:cxn>
                  <a:cxn ang="0">
                    <a:pos x="632" y="278"/>
                  </a:cxn>
                  <a:cxn ang="0">
                    <a:pos x="660" y="282"/>
                  </a:cxn>
                  <a:cxn ang="0">
                    <a:pos x="668" y="272"/>
                  </a:cxn>
                </a:cxnLst>
                <a:rect l="0" t="0" r="r" b="b"/>
                <a:pathLst>
                  <a:path w="736" h="358">
                    <a:moveTo>
                      <a:pt x="674" y="264"/>
                    </a:moveTo>
                    <a:lnTo>
                      <a:pt x="674" y="264"/>
                    </a:lnTo>
                    <a:lnTo>
                      <a:pt x="682" y="262"/>
                    </a:lnTo>
                    <a:lnTo>
                      <a:pt x="686" y="262"/>
                    </a:lnTo>
                    <a:lnTo>
                      <a:pt x="690" y="264"/>
                    </a:lnTo>
                    <a:lnTo>
                      <a:pt x="694" y="268"/>
                    </a:lnTo>
                    <a:lnTo>
                      <a:pt x="700" y="272"/>
                    </a:lnTo>
                    <a:lnTo>
                      <a:pt x="702" y="274"/>
                    </a:lnTo>
                    <a:lnTo>
                      <a:pt x="704" y="272"/>
                    </a:lnTo>
                    <a:lnTo>
                      <a:pt x="704" y="272"/>
                    </a:lnTo>
                    <a:lnTo>
                      <a:pt x="710" y="268"/>
                    </a:lnTo>
                    <a:lnTo>
                      <a:pt x="714" y="268"/>
                    </a:lnTo>
                    <a:lnTo>
                      <a:pt x="718" y="272"/>
                    </a:lnTo>
                    <a:lnTo>
                      <a:pt x="720" y="274"/>
                    </a:lnTo>
                    <a:lnTo>
                      <a:pt x="726" y="274"/>
                    </a:lnTo>
                    <a:lnTo>
                      <a:pt x="726" y="274"/>
                    </a:lnTo>
                    <a:lnTo>
                      <a:pt x="730" y="274"/>
                    </a:lnTo>
                    <a:lnTo>
                      <a:pt x="734" y="272"/>
                    </a:lnTo>
                    <a:lnTo>
                      <a:pt x="736" y="268"/>
                    </a:lnTo>
                    <a:lnTo>
                      <a:pt x="736" y="264"/>
                    </a:lnTo>
                    <a:lnTo>
                      <a:pt x="736" y="254"/>
                    </a:lnTo>
                    <a:lnTo>
                      <a:pt x="734" y="244"/>
                    </a:lnTo>
                    <a:lnTo>
                      <a:pt x="734" y="244"/>
                    </a:lnTo>
                    <a:lnTo>
                      <a:pt x="732" y="240"/>
                    </a:lnTo>
                    <a:lnTo>
                      <a:pt x="728" y="238"/>
                    </a:lnTo>
                    <a:lnTo>
                      <a:pt x="720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8" y="234"/>
                    </a:lnTo>
                    <a:lnTo>
                      <a:pt x="708" y="234"/>
                    </a:lnTo>
                    <a:lnTo>
                      <a:pt x="706" y="230"/>
                    </a:lnTo>
                    <a:lnTo>
                      <a:pt x="704" y="230"/>
                    </a:lnTo>
                    <a:lnTo>
                      <a:pt x="698" y="228"/>
                    </a:lnTo>
                    <a:lnTo>
                      <a:pt x="692" y="228"/>
                    </a:lnTo>
                    <a:lnTo>
                      <a:pt x="684" y="224"/>
                    </a:lnTo>
                    <a:lnTo>
                      <a:pt x="674" y="218"/>
                    </a:lnTo>
                    <a:lnTo>
                      <a:pt x="660" y="210"/>
                    </a:lnTo>
                    <a:lnTo>
                      <a:pt x="660" y="210"/>
                    </a:lnTo>
                    <a:lnTo>
                      <a:pt x="652" y="204"/>
                    </a:lnTo>
                    <a:lnTo>
                      <a:pt x="648" y="200"/>
                    </a:lnTo>
                    <a:lnTo>
                      <a:pt x="644" y="202"/>
                    </a:lnTo>
                    <a:lnTo>
                      <a:pt x="646" y="206"/>
                    </a:lnTo>
                    <a:lnTo>
                      <a:pt x="646" y="206"/>
                    </a:lnTo>
                    <a:lnTo>
                      <a:pt x="646" y="208"/>
                    </a:lnTo>
                    <a:lnTo>
                      <a:pt x="642" y="210"/>
                    </a:lnTo>
                    <a:lnTo>
                      <a:pt x="632" y="208"/>
                    </a:lnTo>
                    <a:lnTo>
                      <a:pt x="618" y="200"/>
                    </a:lnTo>
                    <a:lnTo>
                      <a:pt x="612" y="196"/>
                    </a:lnTo>
                    <a:lnTo>
                      <a:pt x="608" y="190"/>
                    </a:lnTo>
                    <a:lnTo>
                      <a:pt x="608" y="190"/>
                    </a:lnTo>
                    <a:lnTo>
                      <a:pt x="602" y="184"/>
                    </a:lnTo>
                    <a:lnTo>
                      <a:pt x="598" y="180"/>
                    </a:lnTo>
                    <a:lnTo>
                      <a:pt x="590" y="174"/>
                    </a:lnTo>
                    <a:lnTo>
                      <a:pt x="586" y="172"/>
                    </a:lnTo>
                    <a:lnTo>
                      <a:pt x="584" y="168"/>
                    </a:lnTo>
                    <a:lnTo>
                      <a:pt x="586" y="166"/>
                    </a:lnTo>
                    <a:lnTo>
                      <a:pt x="588" y="162"/>
                    </a:lnTo>
                    <a:lnTo>
                      <a:pt x="588" y="162"/>
                    </a:lnTo>
                    <a:lnTo>
                      <a:pt x="594" y="152"/>
                    </a:lnTo>
                    <a:lnTo>
                      <a:pt x="596" y="146"/>
                    </a:lnTo>
                    <a:lnTo>
                      <a:pt x="596" y="140"/>
                    </a:lnTo>
                    <a:lnTo>
                      <a:pt x="594" y="134"/>
                    </a:lnTo>
                    <a:lnTo>
                      <a:pt x="592" y="128"/>
                    </a:lnTo>
                    <a:lnTo>
                      <a:pt x="588" y="124"/>
                    </a:lnTo>
                    <a:lnTo>
                      <a:pt x="582" y="118"/>
                    </a:lnTo>
                    <a:lnTo>
                      <a:pt x="582" y="118"/>
                    </a:lnTo>
                    <a:lnTo>
                      <a:pt x="576" y="112"/>
                    </a:lnTo>
                    <a:lnTo>
                      <a:pt x="572" y="102"/>
                    </a:lnTo>
                    <a:lnTo>
                      <a:pt x="566" y="82"/>
                    </a:lnTo>
                    <a:lnTo>
                      <a:pt x="560" y="58"/>
                    </a:lnTo>
                    <a:lnTo>
                      <a:pt x="554" y="48"/>
                    </a:lnTo>
                    <a:lnTo>
                      <a:pt x="548" y="38"/>
                    </a:lnTo>
                    <a:lnTo>
                      <a:pt x="548" y="38"/>
                    </a:lnTo>
                    <a:lnTo>
                      <a:pt x="540" y="28"/>
                    </a:lnTo>
                    <a:lnTo>
                      <a:pt x="532" y="24"/>
                    </a:lnTo>
                    <a:lnTo>
                      <a:pt x="522" y="20"/>
                    </a:lnTo>
                    <a:lnTo>
                      <a:pt x="506" y="10"/>
                    </a:lnTo>
                    <a:lnTo>
                      <a:pt x="506" y="10"/>
                    </a:lnTo>
                    <a:lnTo>
                      <a:pt x="498" y="6"/>
                    </a:lnTo>
                    <a:lnTo>
                      <a:pt x="492" y="4"/>
                    </a:lnTo>
                    <a:lnTo>
                      <a:pt x="490" y="4"/>
                    </a:lnTo>
                    <a:lnTo>
                      <a:pt x="488" y="6"/>
                    </a:lnTo>
                    <a:lnTo>
                      <a:pt x="486" y="8"/>
                    </a:lnTo>
                    <a:lnTo>
                      <a:pt x="482" y="10"/>
                    </a:lnTo>
                    <a:lnTo>
                      <a:pt x="476" y="10"/>
                    </a:lnTo>
                    <a:lnTo>
                      <a:pt x="464" y="6"/>
                    </a:lnTo>
                    <a:lnTo>
                      <a:pt x="464" y="6"/>
                    </a:lnTo>
                    <a:lnTo>
                      <a:pt x="450" y="2"/>
                    </a:lnTo>
                    <a:lnTo>
                      <a:pt x="446" y="2"/>
                    </a:lnTo>
                    <a:lnTo>
                      <a:pt x="440" y="4"/>
                    </a:lnTo>
                    <a:lnTo>
                      <a:pt x="438" y="8"/>
                    </a:lnTo>
                    <a:lnTo>
                      <a:pt x="436" y="12"/>
                    </a:lnTo>
                    <a:lnTo>
                      <a:pt x="436" y="20"/>
                    </a:lnTo>
                    <a:lnTo>
                      <a:pt x="440" y="28"/>
                    </a:lnTo>
                    <a:lnTo>
                      <a:pt x="440" y="28"/>
                    </a:lnTo>
                    <a:lnTo>
                      <a:pt x="444" y="38"/>
                    </a:lnTo>
                    <a:lnTo>
                      <a:pt x="446" y="48"/>
                    </a:lnTo>
                    <a:lnTo>
                      <a:pt x="450" y="68"/>
                    </a:lnTo>
                    <a:lnTo>
                      <a:pt x="454" y="78"/>
                    </a:lnTo>
                    <a:lnTo>
                      <a:pt x="458" y="88"/>
                    </a:lnTo>
                    <a:lnTo>
                      <a:pt x="464" y="98"/>
                    </a:lnTo>
                    <a:lnTo>
                      <a:pt x="472" y="106"/>
                    </a:lnTo>
                    <a:lnTo>
                      <a:pt x="472" y="106"/>
                    </a:lnTo>
                    <a:lnTo>
                      <a:pt x="476" y="110"/>
                    </a:lnTo>
                    <a:lnTo>
                      <a:pt x="478" y="114"/>
                    </a:lnTo>
                    <a:lnTo>
                      <a:pt x="478" y="116"/>
                    </a:lnTo>
                    <a:lnTo>
                      <a:pt x="474" y="118"/>
                    </a:lnTo>
                    <a:lnTo>
                      <a:pt x="468" y="122"/>
                    </a:lnTo>
                    <a:lnTo>
                      <a:pt x="462" y="128"/>
                    </a:lnTo>
                    <a:lnTo>
                      <a:pt x="462" y="128"/>
                    </a:lnTo>
                    <a:lnTo>
                      <a:pt x="458" y="130"/>
                    </a:lnTo>
                    <a:lnTo>
                      <a:pt x="456" y="132"/>
                    </a:lnTo>
                    <a:lnTo>
                      <a:pt x="452" y="130"/>
                    </a:lnTo>
                    <a:lnTo>
                      <a:pt x="446" y="122"/>
                    </a:lnTo>
                    <a:lnTo>
                      <a:pt x="434" y="104"/>
                    </a:lnTo>
                    <a:lnTo>
                      <a:pt x="434" y="104"/>
                    </a:lnTo>
                    <a:lnTo>
                      <a:pt x="430" y="94"/>
                    </a:lnTo>
                    <a:lnTo>
                      <a:pt x="426" y="84"/>
                    </a:lnTo>
                    <a:lnTo>
                      <a:pt x="420" y="68"/>
                    </a:lnTo>
                    <a:lnTo>
                      <a:pt x="418" y="62"/>
                    </a:lnTo>
                    <a:lnTo>
                      <a:pt x="412" y="56"/>
                    </a:lnTo>
                    <a:lnTo>
                      <a:pt x="406" y="50"/>
                    </a:lnTo>
                    <a:lnTo>
                      <a:pt x="396" y="46"/>
                    </a:lnTo>
                    <a:lnTo>
                      <a:pt x="396" y="46"/>
                    </a:lnTo>
                    <a:lnTo>
                      <a:pt x="384" y="42"/>
                    </a:lnTo>
                    <a:lnTo>
                      <a:pt x="382" y="40"/>
                    </a:lnTo>
                    <a:lnTo>
                      <a:pt x="384" y="38"/>
                    </a:lnTo>
                    <a:lnTo>
                      <a:pt x="384" y="36"/>
                    </a:lnTo>
                    <a:lnTo>
                      <a:pt x="384" y="34"/>
                    </a:lnTo>
                    <a:lnTo>
                      <a:pt x="380" y="32"/>
                    </a:lnTo>
                    <a:lnTo>
                      <a:pt x="372" y="30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40" y="26"/>
                    </a:lnTo>
                    <a:lnTo>
                      <a:pt x="338" y="28"/>
                    </a:lnTo>
                    <a:lnTo>
                      <a:pt x="338" y="30"/>
                    </a:lnTo>
                    <a:lnTo>
                      <a:pt x="340" y="32"/>
                    </a:lnTo>
                    <a:lnTo>
                      <a:pt x="346" y="36"/>
                    </a:lnTo>
                    <a:lnTo>
                      <a:pt x="346" y="36"/>
                    </a:lnTo>
                    <a:lnTo>
                      <a:pt x="352" y="40"/>
                    </a:lnTo>
                    <a:lnTo>
                      <a:pt x="356" y="44"/>
                    </a:lnTo>
                    <a:lnTo>
                      <a:pt x="358" y="46"/>
                    </a:lnTo>
                    <a:lnTo>
                      <a:pt x="356" y="48"/>
                    </a:lnTo>
                    <a:lnTo>
                      <a:pt x="356" y="52"/>
                    </a:lnTo>
                    <a:lnTo>
                      <a:pt x="362" y="54"/>
                    </a:lnTo>
                    <a:lnTo>
                      <a:pt x="362" y="54"/>
                    </a:lnTo>
                    <a:lnTo>
                      <a:pt x="372" y="58"/>
                    </a:lnTo>
                    <a:lnTo>
                      <a:pt x="376" y="62"/>
                    </a:lnTo>
                    <a:lnTo>
                      <a:pt x="376" y="64"/>
                    </a:lnTo>
                    <a:lnTo>
                      <a:pt x="372" y="64"/>
                    </a:lnTo>
                    <a:lnTo>
                      <a:pt x="354" y="60"/>
                    </a:lnTo>
                    <a:lnTo>
                      <a:pt x="354" y="60"/>
                    </a:lnTo>
                    <a:lnTo>
                      <a:pt x="344" y="60"/>
                    </a:lnTo>
                    <a:lnTo>
                      <a:pt x="336" y="62"/>
                    </a:lnTo>
                    <a:lnTo>
                      <a:pt x="332" y="66"/>
                    </a:lnTo>
                    <a:lnTo>
                      <a:pt x="330" y="70"/>
                    </a:lnTo>
                    <a:lnTo>
                      <a:pt x="328" y="76"/>
                    </a:lnTo>
                    <a:lnTo>
                      <a:pt x="326" y="78"/>
                    </a:lnTo>
                    <a:lnTo>
                      <a:pt x="322" y="78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4" y="68"/>
                    </a:lnTo>
                    <a:lnTo>
                      <a:pt x="314" y="64"/>
                    </a:lnTo>
                    <a:lnTo>
                      <a:pt x="318" y="56"/>
                    </a:lnTo>
                    <a:lnTo>
                      <a:pt x="318" y="52"/>
                    </a:lnTo>
                    <a:lnTo>
                      <a:pt x="316" y="48"/>
                    </a:lnTo>
                    <a:lnTo>
                      <a:pt x="310" y="44"/>
                    </a:lnTo>
                    <a:lnTo>
                      <a:pt x="296" y="40"/>
                    </a:lnTo>
                    <a:lnTo>
                      <a:pt x="296" y="40"/>
                    </a:lnTo>
                    <a:lnTo>
                      <a:pt x="268" y="34"/>
                    </a:lnTo>
                    <a:lnTo>
                      <a:pt x="250" y="30"/>
                    </a:lnTo>
                    <a:lnTo>
                      <a:pt x="238" y="32"/>
                    </a:lnTo>
                    <a:lnTo>
                      <a:pt x="230" y="36"/>
                    </a:lnTo>
                    <a:lnTo>
                      <a:pt x="230" y="36"/>
                    </a:lnTo>
                    <a:lnTo>
                      <a:pt x="224" y="38"/>
                    </a:lnTo>
                    <a:lnTo>
                      <a:pt x="224" y="42"/>
                    </a:lnTo>
                    <a:lnTo>
                      <a:pt x="226" y="46"/>
                    </a:lnTo>
                    <a:lnTo>
                      <a:pt x="224" y="48"/>
                    </a:lnTo>
                    <a:lnTo>
                      <a:pt x="220" y="50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190" y="60"/>
                    </a:lnTo>
                    <a:lnTo>
                      <a:pt x="186" y="60"/>
                    </a:lnTo>
                    <a:lnTo>
                      <a:pt x="192" y="54"/>
                    </a:lnTo>
                    <a:lnTo>
                      <a:pt x="204" y="44"/>
                    </a:lnTo>
                    <a:lnTo>
                      <a:pt x="206" y="40"/>
                    </a:lnTo>
                    <a:lnTo>
                      <a:pt x="206" y="36"/>
                    </a:lnTo>
                    <a:lnTo>
                      <a:pt x="206" y="36"/>
                    </a:lnTo>
                    <a:lnTo>
                      <a:pt x="206" y="32"/>
                    </a:lnTo>
                    <a:lnTo>
                      <a:pt x="206" y="28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08" y="12"/>
                    </a:lnTo>
                    <a:lnTo>
                      <a:pt x="204" y="8"/>
                    </a:lnTo>
                    <a:lnTo>
                      <a:pt x="196" y="2"/>
                    </a:lnTo>
                    <a:lnTo>
                      <a:pt x="196" y="2"/>
                    </a:lnTo>
                    <a:lnTo>
                      <a:pt x="186" y="0"/>
                    </a:lnTo>
                    <a:lnTo>
                      <a:pt x="176" y="0"/>
                    </a:lnTo>
                    <a:lnTo>
                      <a:pt x="162" y="4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82" y="32"/>
                    </a:lnTo>
                    <a:lnTo>
                      <a:pt x="66" y="4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4" y="66"/>
                    </a:lnTo>
                    <a:lnTo>
                      <a:pt x="22" y="70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36" y="78"/>
                    </a:lnTo>
                    <a:lnTo>
                      <a:pt x="40" y="80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0" y="86"/>
                    </a:lnTo>
                    <a:lnTo>
                      <a:pt x="32" y="90"/>
                    </a:lnTo>
                    <a:lnTo>
                      <a:pt x="20" y="94"/>
                    </a:lnTo>
                    <a:lnTo>
                      <a:pt x="16" y="98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4" y="110"/>
                    </a:lnTo>
                    <a:lnTo>
                      <a:pt x="2" y="116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2" y="130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4" y="130"/>
                    </a:lnTo>
                    <a:lnTo>
                      <a:pt x="14" y="130"/>
                    </a:lnTo>
                    <a:lnTo>
                      <a:pt x="20" y="128"/>
                    </a:lnTo>
                    <a:lnTo>
                      <a:pt x="24" y="126"/>
                    </a:lnTo>
                    <a:lnTo>
                      <a:pt x="26" y="128"/>
                    </a:lnTo>
                    <a:lnTo>
                      <a:pt x="28" y="130"/>
                    </a:lnTo>
                    <a:lnTo>
                      <a:pt x="30" y="138"/>
                    </a:lnTo>
                    <a:lnTo>
                      <a:pt x="34" y="146"/>
                    </a:lnTo>
                    <a:lnTo>
                      <a:pt x="34" y="146"/>
                    </a:lnTo>
                    <a:lnTo>
                      <a:pt x="38" y="150"/>
                    </a:lnTo>
                    <a:lnTo>
                      <a:pt x="44" y="150"/>
                    </a:lnTo>
                    <a:lnTo>
                      <a:pt x="64" y="150"/>
                    </a:lnTo>
                    <a:lnTo>
                      <a:pt x="88" y="144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16" y="140"/>
                    </a:lnTo>
                    <a:lnTo>
                      <a:pt x="120" y="142"/>
                    </a:lnTo>
                    <a:lnTo>
                      <a:pt x="122" y="144"/>
                    </a:lnTo>
                    <a:lnTo>
                      <a:pt x="120" y="146"/>
                    </a:lnTo>
                    <a:lnTo>
                      <a:pt x="114" y="150"/>
                    </a:lnTo>
                    <a:lnTo>
                      <a:pt x="98" y="156"/>
                    </a:lnTo>
                    <a:lnTo>
                      <a:pt x="76" y="160"/>
                    </a:lnTo>
                    <a:lnTo>
                      <a:pt x="76" y="160"/>
                    </a:lnTo>
                    <a:lnTo>
                      <a:pt x="46" y="168"/>
                    </a:lnTo>
                    <a:lnTo>
                      <a:pt x="38" y="170"/>
                    </a:lnTo>
                    <a:lnTo>
                      <a:pt x="34" y="174"/>
                    </a:lnTo>
                    <a:lnTo>
                      <a:pt x="32" y="178"/>
                    </a:lnTo>
                    <a:lnTo>
                      <a:pt x="34" y="182"/>
                    </a:lnTo>
                    <a:lnTo>
                      <a:pt x="38" y="188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56" y="202"/>
                    </a:lnTo>
                    <a:lnTo>
                      <a:pt x="66" y="206"/>
                    </a:lnTo>
                    <a:lnTo>
                      <a:pt x="76" y="206"/>
                    </a:lnTo>
                    <a:lnTo>
                      <a:pt x="94" y="204"/>
                    </a:lnTo>
                    <a:lnTo>
                      <a:pt x="94" y="204"/>
                    </a:lnTo>
                    <a:lnTo>
                      <a:pt x="110" y="204"/>
                    </a:lnTo>
                    <a:lnTo>
                      <a:pt x="120" y="206"/>
                    </a:lnTo>
                    <a:lnTo>
                      <a:pt x="132" y="208"/>
                    </a:lnTo>
                    <a:lnTo>
                      <a:pt x="152" y="208"/>
                    </a:lnTo>
                    <a:lnTo>
                      <a:pt x="152" y="208"/>
                    </a:lnTo>
                    <a:lnTo>
                      <a:pt x="176" y="206"/>
                    </a:lnTo>
                    <a:lnTo>
                      <a:pt x="194" y="202"/>
                    </a:lnTo>
                    <a:lnTo>
                      <a:pt x="210" y="202"/>
                    </a:lnTo>
                    <a:lnTo>
                      <a:pt x="220" y="202"/>
                    </a:lnTo>
                    <a:lnTo>
                      <a:pt x="232" y="204"/>
                    </a:lnTo>
                    <a:lnTo>
                      <a:pt x="232" y="204"/>
                    </a:lnTo>
                    <a:lnTo>
                      <a:pt x="250" y="208"/>
                    </a:lnTo>
                    <a:lnTo>
                      <a:pt x="262" y="210"/>
                    </a:lnTo>
                    <a:lnTo>
                      <a:pt x="268" y="210"/>
                    </a:lnTo>
                    <a:lnTo>
                      <a:pt x="276" y="214"/>
                    </a:lnTo>
                    <a:lnTo>
                      <a:pt x="276" y="214"/>
                    </a:lnTo>
                    <a:lnTo>
                      <a:pt x="290" y="220"/>
                    </a:lnTo>
                    <a:lnTo>
                      <a:pt x="302" y="226"/>
                    </a:lnTo>
                    <a:lnTo>
                      <a:pt x="306" y="228"/>
                    </a:lnTo>
                    <a:lnTo>
                      <a:pt x="306" y="230"/>
                    </a:lnTo>
                    <a:lnTo>
                      <a:pt x="294" y="230"/>
                    </a:lnTo>
                    <a:lnTo>
                      <a:pt x="294" y="230"/>
                    </a:lnTo>
                    <a:lnTo>
                      <a:pt x="280" y="230"/>
                    </a:lnTo>
                    <a:lnTo>
                      <a:pt x="276" y="232"/>
                    </a:lnTo>
                    <a:lnTo>
                      <a:pt x="268" y="232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10" y="228"/>
                    </a:lnTo>
                    <a:lnTo>
                      <a:pt x="168" y="230"/>
                    </a:lnTo>
                    <a:lnTo>
                      <a:pt x="126" y="234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76" y="244"/>
                    </a:lnTo>
                    <a:lnTo>
                      <a:pt x="70" y="250"/>
                    </a:lnTo>
                    <a:lnTo>
                      <a:pt x="70" y="252"/>
                    </a:lnTo>
                    <a:lnTo>
                      <a:pt x="70" y="254"/>
                    </a:lnTo>
                    <a:lnTo>
                      <a:pt x="72" y="262"/>
                    </a:lnTo>
                    <a:lnTo>
                      <a:pt x="78" y="268"/>
                    </a:lnTo>
                    <a:lnTo>
                      <a:pt x="86" y="274"/>
                    </a:lnTo>
                    <a:lnTo>
                      <a:pt x="100" y="290"/>
                    </a:lnTo>
                    <a:lnTo>
                      <a:pt x="100" y="290"/>
                    </a:lnTo>
                    <a:lnTo>
                      <a:pt x="110" y="296"/>
                    </a:lnTo>
                    <a:lnTo>
                      <a:pt x="122" y="300"/>
                    </a:lnTo>
                    <a:lnTo>
                      <a:pt x="138" y="302"/>
                    </a:lnTo>
                    <a:lnTo>
                      <a:pt x="156" y="304"/>
                    </a:lnTo>
                    <a:lnTo>
                      <a:pt x="190" y="304"/>
                    </a:lnTo>
                    <a:lnTo>
                      <a:pt x="214" y="304"/>
                    </a:lnTo>
                    <a:lnTo>
                      <a:pt x="214" y="304"/>
                    </a:lnTo>
                    <a:lnTo>
                      <a:pt x="220" y="306"/>
                    </a:lnTo>
                    <a:lnTo>
                      <a:pt x="222" y="308"/>
                    </a:lnTo>
                    <a:lnTo>
                      <a:pt x="224" y="314"/>
                    </a:lnTo>
                    <a:lnTo>
                      <a:pt x="224" y="320"/>
                    </a:lnTo>
                    <a:lnTo>
                      <a:pt x="222" y="332"/>
                    </a:lnTo>
                    <a:lnTo>
                      <a:pt x="222" y="338"/>
                    </a:lnTo>
                    <a:lnTo>
                      <a:pt x="224" y="342"/>
                    </a:lnTo>
                    <a:lnTo>
                      <a:pt x="224" y="342"/>
                    </a:lnTo>
                    <a:lnTo>
                      <a:pt x="232" y="350"/>
                    </a:lnTo>
                    <a:lnTo>
                      <a:pt x="238" y="356"/>
                    </a:lnTo>
                    <a:lnTo>
                      <a:pt x="246" y="358"/>
                    </a:lnTo>
                    <a:lnTo>
                      <a:pt x="260" y="358"/>
                    </a:lnTo>
                    <a:lnTo>
                      <a:pt x="260" y="358"/>
                    </a:lnTo>
                    <a:lnTo>
                      <a:pt x="282" y="358"/>
                    </a:lnTo>
                    <a:lnTo>
                      <a:pt x="300" y="358"/>
                    </a:lnTo>
                    <a:lnTo>
                      <a:pt x="314" y="358"/>
                    </a:lnTo>
                    <a:lnTo>
                      <a:pt x="324" y="356"/>
                    </a:lnTo>
                    <a:lnTo>
                      <a:pt x="324" y="356"/>
                    </a:lnTo>
                    <a:lnTo>
                      <a:pt x="342" y="352"/>
                    </a:lnTo>
                    <a:lnTo>
                      <a:pt x="370" y="348"/>
                    </a:lnTo>
                    <a:lnTo>
                      <a:pt x="398" y="342"/>
                    </a:lnTo>
                    <a:lnTo>
                      <a:pt x="412" y="338"/>
                    </a:lnTo>
                    <a:lnTo>
                      <a:pt x="420" y="332"/>
                    </a:lnTo>
                    <a:lnTo>
                      <a:pt x="420" y="332"/>
                    </a:lnTo>
                    <a:lnTo>
                      <a:pt x="428" y="328"/>
                    </a:lnTo>
                    <a:lnTo>
                      <a:pt x="436" y="326"/>
                    </a:lnTo>
                    <a:lnTo>
                      <a:pt x="450" y="326"/>
                    </a:lnTo>
                    <a:lnTo>
                      <a:pt x="462" y="324"/>
                    </a:lnTo>
                    <a:lnTo>
                      <a:pt x="470" y="322"/>
                    </a:lnTo>
                    <a:lnTo>
                      <a:pt x="478" y="318"/>
                    </a:lnTo>
                    <a:lnTo>
                      <a:pt x="478" y="318"/>
                    </a:lnTo>
                    <a:lnTo>
                      <a:pt x="486" y="312"/>
                    </a:lnTo>
                    <a:lnTo>
                      <a:pt x="488" y="308"/>
                    </a:lnTo>
                    <a:lnTo>
                      <a:pt x="490" y="304"/>
                    </a:lnTo>
                    <a:lnTo>
                      <a:pt x="490" y="302"/>
                    </a:lnTo>
                    <a:lnTo>
                      <a:pt x="490" y="300"/>
                    </a:lnTo>
                    <a:lnTo>
                      <a:pt x="490" y="296"/>
                    </a:lnTo>
                    <a:lnTo>
                      <a:pt x="494" y="294"/>
                    </a:lnTo>
                    <a:lnTo>
                      <a:pt x="500" y="290"/>
                    </a:lnTo>
                    <a:lnTo>
                      <a:pt x="500" y="290"/>
                    </a:lnTo>
                    <a:lnTo>
                      <a:pt x="506" y="288"/>
                    </a:lnTo>
                    <a:lnTo>
                      <a:pt x="512" y="290"/>
                    </a:lnTo>
                    <a:lnTo>
                      <a:pt x="514" y="292"/>
                    </a:lnTo>
                    <a:lnTo>
                      <a:pt x="516" y="294"/>
                    </a:lnTo>
                    <a:lnTo>
                      <a:pt x="514" y="304"/>
                    </a:lnTo>
                    <a:lnTo>
                      <a:pt x="514" y="304"/>
                    </a:lnTo>
                    <a:lnTo>
                      <a:pt x="514" y="312"/>
                    </a:lnTo>
                    <a:lnTo>
                      <a:pt x="514" y="312"/>
                    </a:lnTo>
                    <a:lnTo>
                      <a:pt x="518" y="312"/>
                    </a:lnTo>
                    <a:lnTo>
                      <a:pt x="530" y="310"/>
                    </a:lnTo>
                    <a:lnTo>
                      <a:pt x="540" y="312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64" y="318"/>
                    </a:lnTo>
                    <a:lnTo>
                      <a:pt x="568" y="320"/>
                    </a:lnTo>
                    <a:lnTo>
                      <a:pt x="568" y="322"/>
                    </a:lnTo>
                    <a:lnTo>
                      <a:pt x="566" y="322"/>
                    </a:lnTo>
                    <a:lnTo>
                      <a:pt x="560" y="324"/>
                    </a:lnTo>
                    <a:lnTo>
                      <a:pt x="562" y="326"/>
                    </a:lnTo>
                    <a:lnTo>
                      <a:pt x="568" y="330"/>
                    </a:lnTo>
                    <a:lnTo>
                      <a:pt x="568" y="330"/>
                    </a:lnTo>
                    <a:lnTo>
                      <a:pt x="576" y="332"/>
                    </a:lnTo>
                    <a:lnTo>
                      <a:pt x="582" y="332"/>
                    </a:lnTo>
                    <a:lnTo>
                      <a:pt x="588" y="330"/>
                    </a:lnTo>
                    <a:lnTo>
                      <a:pt x="592" y="328"/>
                    </a:lnTo>
                    <a:lnTo>
                      <a:pt x="596" y="328"/>
                    </a:lnTo>
                    <a:lnTo>
                      <a:pt x="602" y="328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28" y="336"/>
                    </a:lnTo>
                    <a:lnTo>
                      <a:pt x="636" y="336"/>
                    </a:lnTo>
                    <a:lnTo>
                      <a:pt x="640" y="334"/>
                    </a:lnTo>
                    <a:lnTo>
                      <a:pt x="648" y="336"/>
                    </a:lnTo>
                    <a:lnTo>
                      <a:pt x="648" y="336"/>
                    </a:lnTo>
                    <a:lnTo>
                      <a:pt x="654" y="336"/>
                    </a:lnTo>
                    <a:lnTo>
                      <a:pt x="658" y="336"/>
                    </a:lnTo>
                    <a:lnTo>
                      <a:pt x="668" y="332"/>
                    </a:lnTo>
                    <a:lnTo>
                      <a:pt x="676" y="326"/>
                    </a:lnTo>
                    <a:lnTo>
                      <a:pt x="680" y="324"/>
                    </a:lnTo>
                    <a:lnTo>
                      <a:pt x="686" y="324"/>
                    </a:lnTo>
                    <a:lnTo>
                      <a:pt x="686" y="324"/>
                    </a:lnTo>
                    <a:lnTo>
                      <a:pt x="694" y="322"/>
                    </a:lnTo>
                    <a:lnTo>
                      <a:pt x="700" y="316"/>
                    </a:lnTo>
                    <a:lnTo>
                      <a:pt x="702" y="314"/>
                    </a:lnTo>
                    <a:lnTo>
                      <a:pt x="702" y="310"/>
                    </a:lnTo>
                    <a:lnTo>
                      <a:pt x="700" y="306"/>
                    </a:lnTo>
                    <a:lnTo>
                      <a:pt x="696" y="304"/>
                    </a:lnTo>
                    <a:lnTo>
                      <a:pt x="696" y="304"/>
                    </a:lnTo>
                    <a:lnTo>
                      <a:pt x="692" y="300"/>
                    </a:lnTo>
                    <a:lnTo>
                      <a:pt x="690" y="298"/>
                    </a:lnTo>
                    <a:lnTo>
                      <a:pt x="692" y="294"/>
                    </a:lnTo>
                    <a:lnTo>
                      <a:pt x="694" y="290"/>
                    </a:lnTo>
                    <a:lnTo>
                      <a:pt x="692" y="288"/>
                    </a:lnTo>
                    <a:lnTo>
                      <a:pt x="688" y="286"/>
                    </a:lnTo>
                    <a:lnTo>
                      <a:pt x="688" y="286"/>
                    </a:lnTo>
                    <a:lnTo>
                      <a:pt x="682" y="286"/>
                    </a:lnTo>
                    <a:lnTo>
                      <a:pt x="674" y="288"/>
                    </a:lnTo>
                    <a:lnTo>
                      <a:pt x="660" y="296"/>
                    </a:lnTo>
                    <a:lnTo>
                      <a:pt x="648" y="300"/>
                    </a:lnTo>
                    <a:lnTo>
                      <a:pt x="648" y="300"/>
                    </a:lnTo>
                    <a:lnTo>
                      <a:pt x="650" y="296"/>
                    </a:lnTo>
                    <a:lnTo>
                      <a:pt x="650" y="296"/>
                    </a:lnTo>
                    <a:lnTo>
                      <a:pt x="652" y="290"/>
                    </a:lnTo>
                    <a:lnTo>
                      <a:pt x="650" y="286"/>
                    </a:lnTo>
                    <a:lnTo>
                      <a:pt x="646" y="284"/>
                    </a:lnTo>
                    <a:lnTo>
                      <a:pt x="642" y="280"/>
                    </a:lnTo>
                    <a:lnTo>
                      <a:pt x="632" y="278"/>
                    </a:lnTo>
                    <a:lnTo>
                      <a:pt x="630" y="276"/>
                    </a:lnTo>
                    <a:lnTo>
                      <a:pt x="632" y="274"/>
                    </a:lnTo>
                    <a:lnTo>
                      <a:pt x="632" y="274"/>
                    </a:lnTo>
                    <a:lnTo>
                      <a:pt x="634" y="272"/>
                    </a:lnTo>
                    <a:lnTo>
                      <a:pt x="638" y="272"/>
                    </a:lnTo>
                    <a:lnTo>
                      <a:pt x="650" y="278"/>
                    </a:lnTo>
                    <a:lnTo>
                      <a:pt x="660" y="282"/>
                    </a:lnTo>
                    <a:lnTo>
                      <a:pt x="666" y="282"/>
                    </a:lnTo>
                    <a:lnTo>
                      <a:pt x="670" y="280"/>
                    </a:lnTo>
                    <a:lnTo>
                      <a:pt x="670" y="280"/>
                    </a:lnTo>
                    <a:lnTo>
                      <a:pt x="672" y="278"/>
                    </a:lnTo>
                    <a:lnTo>
                      <a:pt x="672" y="276"/>
                    </a:lnTo>
                    <a:lnTo>
                      <a:pt x="670" y="272"/>
                    </a:lnTo>
                    <a:lnTo>
                      <a:pt x="668" y="272"/>
                    </a:lnTo>
                    <a:lnTo>
                      <a:pt x="668" y="270"/>
                    </a:lnTo>
                    <a:lnTo>
                      <a:pt x="670" y="266"/>
                    </a:lnTo>
                    <a:lnTo>
                      <a:pt x="674" y="264"/>
                    </a:lnTo>
                    <a:lnTo>
                      <a:pt x="674" y="2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75" name="Полилиния 6115">
                <a:extLst>
                  <a:ext uri="{FF2B5EF4-FFF2-40B4-BE49-F238E27FC236}">
                    <a16:creationId xmlns:a16="http://schemas.microsoft.com/office/drawing/2014/main" xmlns="" id="{0457B61A-AA8F-40A5-8265-23C1EB770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730" y="1203643"/>
                <a:ext cx="165100" cy="125730"/>
              </a:xfrm>
              <a:custGeom>
                <a:avLst/>
                <a:gdLst/>
                <a:ahLst/>
                <a:cxnLst>
                  <a:cxn ang="0">
                    <a:pos x="256" y="98"/>
                  </a:cxn>
                  <a:cxn ang="0">
                    <a:pos x="250" y="90"/>
                  </a:cxn>
                  <a:cxn ang="0">
                    <a:pos x="242" y="92"/>
                  </a:cxn>
                  <a:cxn ang="0">
                    <a:pos x="234" y="94"/>
                  </a:cxn>
                  <a:cxn ang="0">
                    <a:pos x="222" y="84"/>
                  </a:cxn>
                  <a:cxn ang="0">
                    <a:pos x="216" y="74"/>
                  </a:cxn>
                  <a:cxn ang="0">
                    <a:pos x="192" y="60"/>
                  </a:cxn>
                  <a:cxn ang="0">
                    <a:pos x="188" y="56"/>
                  </a:cxn>
                  <a:cxn ang="0">
                    <a:pos x="196" y="52"/>
                  </a:cxn>
                  <a:cxn ang="0">
                    <a:pos x="208" y="48"/>
                  </a:cxn>
                  <a:cxn ang="0">
                    <a:pos x="226" y="42"/>
                  </a:cxn>
                  <a:cxn ang="0">
                    <a:pos x="222" y="38"/>
                  </a:cxn>
                  <a:cxn ang="0">
                    <a:pos x="216" y="32"/>
                  </a:cxn>
                  <a:cxn ang="0">
                    <a:pos x="222" y="24"/>
                  </a:cxn>
                  <a:cxn ang="0">
                    <a:pos x="230" y="20"/>
                  </a:cxn>
                  <a:cxn ang="0">
                    <a:pos x="230" y="10"/>
                  </a:cxn>
                  <a:cxn ang="0">
                    <a:pos x="218" y="4"/>
                  </a:cxn>
                  <a:cxn ang="0">
                    <a:pos x="194" y="4"/>
                  </a:cxn>
                  <a:cxn ang="0">
                    <a:pos x="180" y="8"/>
                  </a:cxn>
                  <a:cxn ang="0">
                    <a:pos x="152" y="12"/>
                  </a:cxn>
                  <a:cxn ang="0">
                    <a:pos x="130" y="6"/>
                  </a:cxn>
                  <a:cxn ang="0">
                    <a:pos x="110" y="0"/>
                  </a:cxn>
                  <a:cxn ang="0">
                    <a:pos x="86" y="4"/>
                  </a:cxn>
                  <a:cxn ang="0">
                    <a:pos x="64" y="14"/>
                  </a:cxn>
                  <a:cxn ang="0">
                    <a:pos x="50" y="24"/>
                  </a:cxn>
                  <a:cxn ang="0">
                    <a:pos x="48" y="34"/>
                  </a:cxn>
                  <a:cxn ang="0">
                    <a:pos x="62" y="44"/>
                  </a:cxn>
                  <a:cxn ang="0">
                    <a:pos x="70" y="48"/>
                  </a:cxn>
                  <a:cxn ang="0">
                    <a:pos x="88" y="58"/>
                  </a:cxn>
                  <a:cxn ang="0">
                    <a:pos x="96" y="68"/>
                  </a:cxn>
                  <a:cxn ang="0">
                    <a:pos x="92" y="78"/>
                  </a:cxn>
                  <a:cxn ang="0">
                    <a:pos x="78" y="88"/>
                  </a:cxn>
                  <a:cxn ang="0">
                    <a:pos x="74" y="88"/>
                  </a:cxn>
                  <a:cxn ang="0">
                    <a:pos x="58" y="86"/>
                  </a:cxn>
                  <a:cxn ang="0">
                    <a:pos x="38" y="74"/>
                  </a:cxn>
                  <a:cxn ang="0">
                    <a:pos x="20" y="64"/>
                  </a:cxn>
                  <a:cxn ang="0">
                    <a:pos x="10" y="64"/>
                  </a:cxn>
                  <a:cxn ang="0">
                    <a:pos x="2" y="72"/>
                  </a:cxn>
                  <a:cxn ang="0">
                    <a:pos x="0" y="78"/>
                  </a:cxn>
                  <a:cxn ang="0">
                    <a:pos x="6" y="94"/>
                  </a:cxn>
                  <a:cxn ang="0">
                    <a:pos x="26" y="110"/>
                  </a:cxn>
                  <a:cxn ang="0">
                    <a:pos x="56" y="124"/>
                  </a:cxn>
                  <a:cxn ang="0">
                    <a:pos x="74" y="132"/>
                  </a:cxn>
                  <a:cxn ang="0">
                    <a:pos x="104" y="148"/>
                  </a:cxn>
                  <a:cxn ang="0">
                    <a:pos x="124" y="168"/>
                  </a:cxn>
                  <a:cxn ang="0">
                    <a:pos x="150" y="194"/>
                  </a:cxn>
                  <a:cxn ang="0">
                    <a:pos x="162" y="198"/>
                  </a:cxn>
                  <a:cxn ang="0">
                    <a:pos x="176" y="194"/>
                  </a:cxn>
                  <a:cxn ang="0">
                    <a:pos x="180" y="184"/>
                  </a:cxn>
                  <a:cxn ang="0">
                    <a:pos x="182" y="174"/>
                  </a:cxn>
                  <a:cxn ang="0">
                    <a:pos x="192" y="170"/>
                  </a:cxn>
                  <a:cxn ang="0">
                    <a:pos x="200" y="172"/>
                  </a:cxn>
                  <a:cxn ang="0">
                    <a:pos x="220" y="170"/>
                  </a:cxn>
                  <a:cxn ang="0">
                    <a:pos x="238" y="162"/>
                  </a:cxn>
                  <a:cxn ang="0">
                    <a:pos x="250" y="148"/>
                  </a:cxn>
                  <a:cxn ang="0">
                    <a:pos x="252" y="138"/>
                  </a:cxn>
                  <a:cxn ang="0">
                    <a:pos x="252" y="124"/>
                  </a:cxn>
                  <a:cxn ang="0">
                    <a:pos x="258" y="114"/>
                  </a:cxn>
                  <a:cxn ang="0">
                    <a:pos x="258" y="106"/>
                  </a:cxn>
                  <a:cxn ang="0">
                    <a:pos x="256" y="98"/>
                  </a:cxn>
                </a:cxnLst>
                <a:rect l="0" t="0" r="r" b="b"/>
                <a:pathLst>
                  <a:path w="260" h="198">
                    <a:moveTo>
                      <a:pt x="256" y="98"/>
                    </a:moveTo>
                    <a:lnTo>
                      <a:pt x="256" y="98"/>
                    </a:lnTo>
                    <a:lnTo>
                      <a:pt x="254" y="92"/>
                    </a:lnTo>
                    <a:lnTo>
                      <a:pt x="250" y="90"/>
                    </a:lnTo>
                    <a:lnTo>
                      <a:pt x="246" y="90"/>
                    </a:lnTo>
                    <a:lnTo>
                      <a:pt x="242" y="92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28" y="90"/>
                    </a:lnTo>
                    <a:lnTo>
                      <a:pt x="222" y="84"/>
                    </a:lnTo>
                    <a:lnTo>
                      <a:pt x="222" y="84"/>
                    </a:lnTo>
                    <a:lnTo>
                      <a:pt x="216" y="74"/>
                    </a:lnTo>
                    <a:lnTo>
                      <a:pt x="208" y="68"/>
                    </a:lnTo>
                    <a:lnTo>
                      <a:pt x="192" y="60"/>
                    </a:lnTo>
                    <a:lnTo>
                      <a:pt x="190" y="58"/>
                    </a:lnTo>
                    <a:lnTo>
                      <a:pt x="188" y="56"/>
                    </a:lnTo>
                    <a:lnTo>
                      <a:pt x="190" y="54"/>
                    </a:lnTo>
                    <a:lnTo>
                      <a:pt x="196" y="52"/>
                    </a:lnTo>
                    <a:lnTo>
                      <a:pt x="208" y="48"/>
                    </a:lnTo>
                    <a:lnTo>
                      <a:pt x="208" y="48"/>
                    </a:lnTo>
                    <a:lnTo>
                      <a:pt x="220" y="46"/>
                    </a:lnTo>
                    <a:lnTo>
                      <a:pt x="226" y="42"/>
                    </a:lnTo>
                    <a:lnTo>
                      <a:pt x="226" y="40"/>
                    </a:lnTo>
                    <a:lnTo>
                      <a:pt x="222" y="38"/>
                    </a:lnTo>
                    <a:lnTo>
                      <a:pt x="218" y="34"/>
                    </a:lnTo>
                    <a:lnTo>
                      <a:pt x="216" y="32"/>
                    </a:lnTo>
                    <a:lnTo>
                      <a:pt x="216" y="28"/>
                    </a:lnTo>
                    <a:lnTo>
                      <a:pt x="222" y="24"/>
                    </a:lnTo>
                    <a:lnTo>
                      <a:pt x="222" y="24"/>
                    </a:lnTo>
                    <a:lnTo>
                      <a:pt x="230" y="20"/>
                    </a:lnTo>
                    <a:lnTo>
                      <a:pt x="232" y="16"/>
                    </a:lnTo>
                    <a:lnTo>
                      <a:pt x="230" y="10"/>
                    </a:lnTo>
                    <a:lnTo>
                      <a:pt x="226" y="6"/>
                    </a:lnTo>
                    <a:lnTo>
                      <a:pt x="218" y="4"/>
                    </a:lnTo>
                    <a:lnTo>
                      <a:pt x="208" y="4"/>
                    </a:lnTo>
                    <a:lnTo>
                      <a:pt x="194" y="4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64" y="12"/>
                    </a:lnTo>
                    <a:lnTo>
                      <a:pt x="152" y="12"/>
                    </a:lnTo>
                    <a:lnTo>
                      <a:pt x="140" y="10"/>
                    </a:lnTo>
                    <a:lnTo>
                      <a:pt x="130" y="6"/>
                    </a:lnTo>
                    <a:lnTo>
                      <a:pt x="120" y="4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64" y="14"/>
                    </a:lnTo>
                    <a:lnTo>
                      <a:pt x="56" y="20"/>
                    </a:lnTo>
                    <a:lnTo>
                      <a:pt x="50" y="24"/>
                    </a:lnTo>
                    <a:lnTo>
                      <a:pt x="46" y="28"/>
                    </a:lnTo>
                    <a:lnTo>
                      <a:pt x="48" y="34"/>
                    </a:lnTo>
                    <a:lnTo>
                      <a:pt x="52" y="38"/>
                    </a:lnTo>
                    <a:lnTo>
                      <a:pt x="62" y="44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82" y="52"/>
                    </a:lnTo>
                    <a:lnTo>
                      <a:pt x="88" y="58"/>
                    </a:lnTo>
                    <a:lnTo>
                      <a:pt x="94" y="62"/>
                    </a:lnTo>
                    <a:lnTo>
                      <a:pt x="96" y="68"/>
                    </a:lnTo>
                    <a:lnTo>
                      <a:pt x="94" y="74"/>
                    </a:lnTo>
                    <a:lnTo>
                      <a:pt x="92" y="78"/>
                    </a:lnTo>
                    <a:lnTo>
                      <a:pt x="86" y="84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4" y="88"/>
                    </a:lnTo>
                    <a:lnTo>
                      <a:pt x="68" y="90"/>
                    </a:lnTo>
                    <a:lnTo>
                      <a:pt x="58" y="86"/>
                    </a:lnTo>
                    <a:lnTo>
                      <a:pt x="48" y="80"/>
                    </a:lnTo>
                    <a:lnTo>
                      <a:pt x="38" y="74"/>
                    </a:lnTo>
                    <a:lnTo>
                      <a:pt x="28" y="68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0" y="64"/>
                    </a:lnTo>
                    <a:lnTo>
                      <a:pt x="6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6" y="94"/>
                    </a:lnTo>
                    <a:lnTo>
                      <a:pt x="14" y="102"/>
                    </a:lnTo>
                    <a:lnTo>
                      <a:pt x="26" y="110"/>
                    </a:lnTo>
                    <a:lnTo>
                      <a:pt x="40" y="118"/>
                    </a:lnTo>
                    <a:lnTo>
                      <a:pt x="56" y="124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90" y="138"/>
                    </a:lnTo>
                    <a:lnTo>
                      <a:pt x="104" y="148"/>
                    </a:lnTo>
                    <a:lnTo>
                      <a:pt x="116" y="158"/>
                    </a:lnTo>
                    <a:lnTo>
                      <a:pt x="124" y="168"/>
                    </a:lnTo>
                    <a:lnTo>
                      <a:pt x="142" y="188"/>
                    </a:lnTo>
                    <a:lnTo>
                      <a:pt x="150" y="194"/>
                    </a:lnTo>
                    <a:lnTo>
                      <a:pt x="162" y="198"/>
                    </a:lnTo>
                    <a:lnTo>
                      <a:pt x="162" y="198"/>
                    </a:lnTo>
                    <a:lnTo>
                      <a:pt x="170" y="198"/>
                    </a:lnTo>
                    <a:lnTo>
                      <a:pt x="176" y="194"/>
                    </a:lnTo>
                    <a:lnTo>
                      <a:pt x="178" y="190"/>
                    </a:lnTo>
                    <a:lnTo>
                      <a:pt x="180" y="184"/>
                    </a:lnTo>
                    <a:lnTo>
                      <a:pt x="182" y="178"/>
                    </a:lnTo>
                    <a:lnTo>
                      <a:pt x="182" y="174"/>
                    </a:lnTo>
                    <a:lnTo>
                      <a:pt x="186" y="170"/>
                    </a:lnTo>
                    <a:lnTo>
                      <a:pt x="192" y="170"/>
                    </a:lnTo>
                    <a:lnTo>
                      <a:pt x="192" y="170"/>
                    </a:lnTo>
                    <a:lnTo>
                      <a:pt x="200" y="172"/>
                    </a:lnTo>
                    <a:lnTo>
                      <a:pt x="210" y="172"/>
                    </a:lnTo>
                    <a:lnTo>
                      <a:pt x="220" y="170"/>
                    </a:lnTo>
                    <a:lnTo>
                      <a:pt x="230" y="166"/>
                    </a:lnTo>
                    <a:lnTo>
                      <a:pt x="238" y="162"/>
                    </a:lnTo>
                    <a:lnTo>
                      <a:pt x="246" y="156"/>
                    </a:lnTo>
                    <a:lnTo>
                      <a:pt x="250" y="148"/>
                    </a:lnTo>
                    <a:lnTo>
                      <a:pt x="252" y="138"/>
                    </a:lnTo>
                    <a:lnTo>
                      <a:pt x="252" y="138"/>
                    </a:lnTo>
                    <a:lnTo>
                      <a:pt x="252" y="130"/>
                    </a:lnTo>
                    <a:lnTo>
                      <a:pt x="252" y="124"/>
                    </a:lnTo>
                    <a:lnTo>
                      <a:pt x="256" y="118"/>
                    </a:lnTo>
                    <a:lnTo>
                      <a:pt x="258" y="114"/>
                    </a:lnTo>
                    <a:lnTo>
                      <a:pt x="260" y="112"/>
                    </a:lnTo>
                    <a:lnTo>
                      <a:pt x="258" y="106"/>
                    </a:lnTo>
                    <a:lnTo>
                      <a:pt x="256" y="98"/>
                    </a:lnTo>
                    <a:lnTo>
                      <a:pt x="256" y="9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76" name="Полилиния 6116">
                <a:extLst>
                  <a:ext uri="{FF2B5EF4-FFF2-40B4-BE49-F238E27FC236}">
                    <a16:creationId xmlns:a16="http://schemas.microsoft.com/office/drawing/2014/main" xmlns="" id="{8D1B792B-43DA-4C64-AC08-DDAE254F2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0060" y="1098233"/>
                <a:ext cx="34290" cy="8890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14"/>
                  </a:cxn>
                  <a:cxn ang="0">
                    <a:pos x="8" y="14"/>
                  </a:cxn>
                  <a:cxn ang="0">
                    <a:pos x="16" y="14"/>
                  </a:cxn>
                  <a:cxn ang="0">
                    <a:pos x="36" y="10"/>
                  </a:cxn>
                  <a:cxn ang="0">
                    <a:pos x="50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18" y="4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</a:cxnLst>
                <a:rect l="0" t="0" r="r" b="b"/>
                <a:pathLst>
                  <a:path w="54" h="14">
                    <a:moveTo>
                      <a:pt x="2" y="14"/>
                    </a:moveTo>
                    <a:lnTo>
                      <a:pt x="2" y="14"/>
                    </a:lnTo>
                    <a:lnTo>
                      <a:pt x="8" y="14"/>
                    </a:lnTo>
                    <a:lnTo>
                      <a:pt x="16" y="14"/>
                    </a:lnTo>
                    <a:lnTo>
                      <a:pt x="36" y="10"/>
                    </a:lnTo>
                    <a:lnTo>
                      <a:pt x="50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18" y="4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77" name="Полилиния 6117">
                <a:extLst>
                  <a:ext uri="{FF2B5EF4-FFF2-40B4-BE49-F238E27FC236}">
                    <a16:creationId xmlns:a16="http://schemas.microsoft.com/office/drawing/2014/main" xmlns="" id="{1EA95E40-F922-4A86-8EAD-D1AC2D7B8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200" y="1394143"/>
                <a:ext cx="114300" cy="66040"/>
              </a:xfrm>
              <a:custGeom>
                <a:avLst/>
                <a:gdLst/>
                <a:ahLst/>
                <a:cxnLst>
                  <a:cxn ang="0">
                    <a:pos x="42" y="32"/>
                  </a:cxn>
                  <a:cxn ang="0">
                    <a:pos x="42" y="32"/>
                  </a:cxn>
                  <a:cxn ang="0">
                    <a:pos x="32" y="42"/>
                  </a:cxn>
                  <a:cxn ang="0">
                    <a:pos x="24" y="50"/>
                  </a:cxn>
                  <a:cxn ang="0">
                    <a:pos x="14" y="52"/>
                  </a:cxn>
                  <a:cxn ang="0">
                    <a:pos x="8" y="54"/>
                  </a:cxn>
                  <a:cxn ang="0">
                    <a:pos x="2" y="56"/>
                  </a:cxn>
                  <a:cxn ang="0">
                    <a:pos x="0" y="58"/>
                  </a:cxn>
                  <a:cxn ang="0">
                    <a:pos x="2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20" y="74"/>
                  </a:cxn>
                  <a:cxn ang="0">
                    <a:pos x="34" y="78"/>
                  </a:cxn>
                  <a:cxn ang="0">
                    <a:pos x="72" y="86"/>
                  </a:cxn>
                  <a:cxn ang="0">
                    <a:pos x="72" y="86"/>
                  </a:cxn>
                  <a:cxn ang="0">
                    <a:pos x="84" y="88"/>
                  </a:cxn>
                  <a:cxn ang="0">
                    <a:pos x="94" y="92"/>
                  </a:cxn>
                  <a:cxn ang="0">
                    <a:pos x="112" y="100"/>
                  </a:cxn>
                  <a:cxn ang="0">
                    <a:pos x="120" y="102"/>
                  </a:cxn>
                  <a:cxn ang="0">
                    <a:pos x="128" y="104"/>
                  </a:cxn>
                  <a:cxn ang="0">
                    <a:pos x="136" y="102"/>
                  </a:cxn>
                  <a:cxn ang="0">
                    <a:pos x="142" y="96"/>
                  </a:cxn>
                  <a:cxn ang="0">
                    <a:pos x="142" y="96"/>
                  </a:cxn>
                  <a:cxn ang="0">
                    <a:pos x="150" y="90"/>
                  </a:cxn>
                  <a:cxn ang="0">
                    <a:pos x="156" y="88"/>
                  </a:cxn>
                  <a:cxn ang="0">
                    <a:pos x="164" y="86"/>
                  </a:cxn>
                  <a:cxn ang="0">
                    <a:pos x="170" y="86"/>
                  </a:cxn>
                  <a:cxn ang="0">
                    <a:pos x="174" y="84"/>
                  </a:cxn>
                  <a:cxn ang="0">
                    <a:pos x="178" y="78"/>
                  </a:cxn>
                  <a:cxn ang="0">
                    <a:pos x="178" y="78"/>
                  </a:cxn>
                  <a:cxn ang="0">
                    <a:pos x="180" y="74"/>
                  </a:cxn>
                  <a:cxn ang="0">
                    <a:pos x="180" y="72"/>
                  </a:cxn>
                  <a:cxn ang="0">
                    <a:pos x="174" y="72"/>
                  </a:cxn>
                  <a:cxn ang="0">
                    <a:pos x="170" y="72"/>
                  </a:cxn>
                  <a:cxn ang="0">
                    <a:pos x="164" y="70"/>
                  </a:cxn>
                  <a:cxn ang="0">
                    <a:pos x="158" y="66"/>
                  </a:cxn>
                  <a:cxn ang="0">
                    <a:pos x="152" y="58"/>
                  </a:cxn>
                  <a:cxn ang="0">
                    <a:pos x="152" y="58"/>
                  </a:cxn>
                  <a:cxn ang="0">
                    <a:pos x="148" y="50"/>
                  </a:cxn>
                  <a:cxn ang="0">
                    <a:pos x="144" y="44"/>
                  </a:cxn>
                  <a:cxn ang="0">
                    <a:pos x="140" y="42"/>
                  </a:cxn>
                  <a:cxn ang="0">
                    <a:pos x="136" y="42"/>
                  </a:cxn>
                  <a:cxn ang="0">
                    <a:pos x="124" y="36"/>
                  </a:cxn>
                  <a:cxn ang="0">
                    <a:pos x="116" y="30"/>
                  </a:cxn>
                  <a:cxn ang="0">
                    <a:pos x="106" y="20"/>
                  </a:cxn>
                  <a:cxn ang="0">
                    <a:pos x="106" y="20"/>
                  </a:cxn>
                  <a:cxn ang="0">
                    <a:pos x="94" y="10"/>
                  </a:cxn>
                  <a:cxn ang="0">
                    <a:pos x="86" y="2"/>
                  </a:cxn>
                  <a:cxn ang="0">
                    <a:pos x="78" y="0"/>
                  </a:cxn>
                  <a:cxn ang="0">
                    <a:pos x="70" y="0"/>
                  </a:cxn>
                  <a:cxn ang="0">
                    <a:pos x="64" y="4"/>
                  </a:cxn>
                  <a:cxn ang="0">
                    <a:pos x="56" y="10"/>
                  </a:cxn>
                  <a:cxn ang="0">
                    <a:pos x="42" y="32"/>
                  </a:cxn>
                  <a:cxn ang="0">
                    <a:pos x="42" y="32"/>
                  </a:cxn>
                </a:cxnLst>
                <a:rect l="0" t="0" r="r" b="b"/>
                <a:pathLst>
                  <a:path w="180" h="104">
                    <a:moveTo>
                      <a:pt x="42" y="32"/>
                    </a:moveTo>
                    <a:lnTo>
                      <a:pt x="42" y="32"/>
                    </a:lnTo>
                    <a:lnTo>
                      <a:pt x="32" y="42"/>
                    </a:lnTo>
                    <a:lnTo>
                      <a:pt x="24" y="50"/>
                    </a:lnTo>
                    <a:lnTo>
                      <a:pt x="14" y="52"/>
                    </a:lnTo>
                    <a:lnTo>
                      <a:pt x="8" y="54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20" y="74"/>
                    </a:lnTo>
                    <a:lnTo>
                      <a:pt x="34" y="78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84" y="88"/>
                    </a:lnTo>
                    <a:lnTo>
                      <a:pt x="94" y="92"/>
                    </a:lnTo>
                    <a:lnTo>
                      <a:pt x="112" y="100"/>
                    </a:lnTo>
                    <a:lnTo>
                      <a:pt x="120" y="102"/>
                    </a:lnTo>
                    <a:lnTo>
                      <a:pt x="128" y="104"/>
                    </a:lnTo>
                    <a:lnTo>
                      <a:pt x="136" y="102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50" y="90"/>
                    </a:lnTo>
                    <a:lnTo>
                      <a:pt x="156" y="88"/>
                    </a:lnTo>
                    <a:lnTo>
                      <a:pt x="164" y="86"/>
                    </a:lnTo>
                    <a:lnTo>
                      <a:pt x="170" y="86"/>
                    </a:lnTo>
                    <a:lnTo>
                      <a:pt x="174" y="84"/>
                    </a:lnTo>
                    <a:lnTo>
                      <a:pt x="178" y="78"/>
                    </a:lnTo>
                    <a:lnTo>
                      <a:pt x="178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74" y="72"/>
                    </a:lnTo>
                    <a:lnTo>
                      <a:pt x="170" y="72"/>
                    </a:lnTo>
                    <a:lnTo>
                      <a:pt x="164" y="70"/>
                    </a:lnTo>
                    <a:lnTo>
                      <a:pt x="158" y="66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48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6" y="42"/>
                    </a:lnTo>
                    <a:lnTo>
                      <a:pt x="124" y="36"/>
                    </a:lnTo>
                    <a:lnTo>
                      <a:pt x="116" y="30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94" y="10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4" y="4"/>
                    </a:lnTo>
                    <a:lnTo>
                      <a:pt x="56" y="10"/>
                    </a:lnTo>
                    <a:lnTo>
                      <a:pt x="42" y="32"/>
                    </a:lnTo>
                    <a:lnTo>
                      <a:pt x="42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  <p:sp>
            <p:nvSpPr>
              <p:cNvPr id="178" name="Полилиния 6118">
                <a:extLst>
                  <a:ext uri="{FF2B5EF4-FFF2-40B4-BE49-F238E27FC236}">
                    <a16:creationId xmlns:a16="http://schemas.microsoft.com/office/drawing/2014/main" xmlns="" id="{A7E7DB1B-D6C9-47C6-8A67-E2D8BD8E8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9839" y="699453"/>
                <a:ext cx="1550670" cy="1127760"/>
              </a:xfrm>
              <a:custGeom>
                <a:avLst/>
                <a:gdLst/>
                <a:ahLst/>
                <a:cxnLst>
                  <a:cxn ang="0">
                    <a:pos x="220" y="296"/>
                  </a:cxn>
                  <a:cxn ang="0">
                    <a:pos x="150" y="400"/>
                  </a:cxn>
                  <a:cxn ang="0">
                    <a:pos x="96" y="502"/>
                  </a:cxn>
                  <a:cxn ang="0">
                    <a:pos x="62" y="558"/>
                  </a:cxn>
                  <a:cxn ang="0">
                    <a:pos x="228" y="618"/>
                  </a:cxn>
                  <a:cxn ang="0">
                    <a:pos x="350" y="620"/>
                  </a:cxn>
                  <a:cxn ang="0">
                    <a:pos x="584" y="666"/>
                  </a:cxn>
                  <a:cxn ang="0">
                    <a:pos x="674" y="786"/>
                  </a:cxn>
                  <a:cxn ang="0">
                    <a:pos x="706" y="902"/>
                  </a:cxn>
                  <a:cxn ang="0">
                    <a:pos x="744" y="990"/>
                  </a:cxn>
                  <a:cxn ang="0">
                    <a:pos x="836" y="1010"/>
                  </a:cxn>
                  <a:cxn ang="0">
                    <a:pos x="750" y="1050"/>
                  </a:cxn>
                  <a:cxn ang="0">
                    <a:pos x="890" y="1110"/>
                  </a:cxn>
                  <a:cxn ang="0">
                    <a:pos x="788" y="1212"/>
                  </a:cxn>
                  <a:cxn ang="0">
                    <a:pos x="782" y="1328"/>
                  </a:cxn>
                  <a:cxn ang="0">
                    <a:pos x="834" y="1452"/>
                  </a:cxn>
                  <a:cxn ang="0">
                    <a:pos x="922" y="1474"/>
                  </a:cxn>
                  <a:cxn ang="0">
                    <a:pos x="860" y="1502"/>
                  </a:cxn>
                  <a:cxn ang="0">
                    <a:pos x="908" y="1598"/>
                  </a:cxn>
                  <a:cxn ang="0">
                    <a:pos x="966" y="1678"/>
                  </a:cxn>
                  <a:cxn ang="0">
                    <a:pos x="1032" y="1712"/>
                  </a:cxn>
                  <a:cxn ang="0">
                    <a:pos x="1090" y="1738"/>
                  </a:cxn>
                  <a:cxn ang="0">
                    <a:pos x="1196" y="1768"/>
                  </a:cxn>
                  <a:cxn ang="0">
                    <a:pos x="1232" y="1622"/>
                  </a:cxn>
                  <a:cxn ang="0">
                    <a:pos x="1262" y="1566"/>
                  </a:cxn>
                  <a:cxn ang="0">
                    <a:pos x="1262" y="1486"/>
                  </a:cxn>
                  <a:cxn ang="0">
                    <a:pos x="1332" y="1420"/>
                  </a:cxn>
                  <a:cxn ang="0">
                    <a:pos x="1402" y="1376"/>
                  </a:cxn>
                  <a:cxn ang="0">
                    <a:pos x="1412" y="1372"/>
                  </a:cxn>
                  <a:cxn ang="0">
                    <a:pos x="1468" y="1372"/>
                  </a:cxn>
                  <a:cxn ang="0">
                    <a:pos x="1628" y="1238"/>
                  </a:cxn>
                  <a:cxn ang="0">
                    <a:pos x="1748" y="1208"/>
                  </a:cxn>
                  <a:cxn ang="0">
                    <a:pos x="2012" y="1102"/>
                  </a:cxn>
                  <a:cxn ang="0">
                    <a:pos x="1846" y="1076"/>
                  </a:cxn>
                  <a:cxn ang="0">
                    <a:pos x="1800" y="1058"/>
                  </a:cxn>
                  <a:cxn ang="0">
                    <a:pos x="1842" y="970"/>
                  </a:cxn>
                  <a:cxn ang="0">
                    <a:pos x="2060" y="1056"/>
                  </a:cxn>
                  <a:cxn ang="0">
                    <a:pos x="2054" y="956"/>
                  </a:cxn>
                  <a:cxn ang="0">
                    <a:pos x="1916" y="858"/>
                  </a:cxn>
                  <a:cxn ang="0">
                    <a:pos x="2100" y="830"/>
                  </a:cxn>
                  <a:cxn ang="0">
                    <a:pos x="2142" y="768"/>
                  </a:cxn>
                  <a:cxn ang="0">
                    <a:pos x="2154" y="698"/>
                  </a:cxn>
                  <a:cxn ang="0">
                    <a:pos x="2066" y="608"/>
                  </a:cxn>
                  <a:cxn ang="0">
                    <a:pos x="2144" y="562"/>
                  </a:cxn>
                  <a:cxn ang="0">
                    <a:pos x="2144" y="504"/>
                  </a:cxn>
                  <a:cxn ang="0">
                    <a:pos x="2096" y="408"/>
                  </a:cxn>
                  <a:cxn ang="0">
                    <a:pos x="2228" y="310"/>
                  </a:cxn>
                  <a:cxn ang="0">
                    <a:pos x="2278" y="276"/>
                  </a:cxn>
                  <a:cxn ang="0">
                    <a:pos x="2298" y="244"/>
                  </a:cxn>
                  <a:cxn ang="0">
                    <a:pos x="2322" y="150"/>
                  </a:cxn>
                  <a:cxn ang="0">
                    <a:pos x="2050" y="210"/>
                  </a:cxn>
                  <a:cxn ang="0">
                    <a:pos x="1962" y="152"/>
                  </a:cxn>
                  <a:cxn ang="0">
                    <a:pos x="1616" y="174"/>
                  </a:cxn>
                  <a:cxn ang="0">
                    <a:pos x="2034" y="78"/>
                  </a:cxn>
                  <a:cxn ang="0">
                    <a:pos x="1724" y="52"/>
                  </a:cxn>
                  <a:cxn ang="0">
                    <a:pos x="1618" y="2"/>
                  </a:cxn>
                  <a:cxn ang="0">
                    <a:pos x="1402" y="44"/>
                  </a:cxn>
                  <a:cxn ang="0">
                    <a:pos x="1048" y="56"/>
                  </a:cxn>
                  <a:cxn ang="0">
                    <a:pos x="1110" y="74"/>
                  </a:cxn>
                  <a:cxn ang="0">
                    <a:pos x="1108" y="158"/>
                  </a:cxn>
                  <a:cxn ang="0">
                    <a:pos x="900" y="148"/>
                  </a:cxn>
                  <a:cxn ang="0">
                    <a:pos x="756" y="114"/>
                  </a:cxn>
                </a:cxnLst>
                <a:rect l="0" t="0" r="r" b="b"/>
                <a:pathLst>
                  <a:path w="2442" h="1776">
                    <a:moveTo>
                      <a:pt x="470" y="176"/>
                    </a:moveTo>
                    <a:lnTo>
                      <a:pt x="470" y="176"/>
                    </a:lnTo>
                    <a:lnTo>
                      <a:pt x="476" y="186"/>
                    </a:lnTo>
                    <a:lnTo>
                      <a:pt x="478" y="194"/>
                    </a:lnTo>
                    <a:lnTo>
                      <a:pt x="480" y="202"/>
                    </a:lnTo>
                    <a:lnTo>
                      <a:pt x="478" y="210"/>
                    </a:lnTo>
                    <a:lnTo>
                      <a:pt x="474" y="216"/>
                    </a:lnTo>
                    <a:lnTo>
                      <a:pt x="466" y="218"/>
                    </a:lnTo>
                    <a:lnTo>
                      <a:pt x="458" y="220"/>
                    </a:lnTo>
                    <a:lnTo>
                      <a:pt x="446" y="218"/>
                    </a:lnTo>
                    <a:lnTo>
                      <a:pt x="446" y="218"/>
                    </a:lnTo>
                    <a:lnTo>
                      <a:pt x="426" y="212"/>
                    </a:lnTo>
                    <a:lnTo>
                      <a:pt x="406" y="210"/>
                    </a:lnTo>
                    <a:lnTo>
                      <a:pt x="386" y="210"/>
                    </a:lnTo>
                    <a:lnTo>
                      <a:pt x="368" y="212"/>
                    </a:lnTo>
                    <a:lnTo>
                      <a:pt x="350" y="216"/>
                    </a:lnTo>
                    <a:lnTo>
                      <a:pt x="334" y="222"/>
                    </a:lnTo>
                    <a:lnTo>
                      <a:pt x="318" y="230"/>
                    </a:lnTo>
                    <a:lnTo>
                      <a:pt x="304" y="238"/>
                    </a:lnTo>
                    <a:lnTo>
                      <a:pt x="304" y="238"/>
                    </a:lnTo>
                    <a:lnTo>
                      <a:pt x="272" y="256"/>
                    </a:lnTo>
                    <a:lnTo>
                      <a:pt x="244" y="270"/>
                    </a:lnTo>
                    <a:lnTo>
                      <a:pt x="232" y="276"/>
                    </a:lnTo>
                    <a:lnTo>
                      <a:pt x="222" y="284"/>
                    </a:lnTo>
                    <a:lnTo>
                      <a:pt x="218" y="290"/>
                    </a:lnTo>
                    <a:lnTo>
                      <a:pt x="218" y="292"/>
                    </a:lnTo>
                    <a:lnTo>
                      <a:pt x="220" y="296"/>
                    </a:lnTo>
                    <a:lnTo>
                      <a:pt x="220" y="296"/>
                    </a:lnTo>
                    <a:lnTo>
                      <a:pt x="226" y="300"/>
                    </a:lnTo>
                    <a:lnTo>
                      <a:pt x="234" y="304"/>
                    </a:lnTo>
                    <a:lnTo>
                      <a:pt x="244" y="308"/>
                    </a:lnTo>
                    <a:lnTo>
                      <a:pt x="256" y="308"/>
                    </a:lnTo>
                    <a:lnTo>
                      <a:pt x="280" y="308"/>
                    </a:lnTo>
                    <a:lnTo>
                      <a:pt x="302" y="306"/>
                    </a:lnTo>
                    <a:lnTo>
                      <a:pt x="302" y="306"/>
                    </a:lnTo>
                    <a:lnTo>
                      <a:pt x="310" y="306"/>
                    </a:lnTo>
                    <a:lnTo>
                      <a:pt x="316" y="310"/>
                    </a:lnTo>
                    <a:lnTo>
                      <a:pt x="318" y="318"/>
                    </a:lnTo>
                    <a:lnTo>
                      <a:pt x="320" y="326"/>
                    </a:lnTo>
                    <a:lnTo>
                      <a:pt x="318" y="338"/>
                    </a:lnTo>
                    <a:lnTo>
                      <a:pt x="314" y="348"/>
                    </a:lnTo>
                    <a:lnTo>
                      <a:pt x="308" y="360"/>
                    </a:lnTo>
                    <a:lnTo>
                      <a:pt x="300" y="370"/>
                    </a:lnTo>
                    <a:lnTo>
                      <a:pt x="300" y="370"/>
                    </a:lnTo>
                    <a:lnTo>
                      <a:pt x="290" y="380"/>
                    </a:lnTo>
                    <a:lnTo>
                      <a:pt x="280" y="384"/>
                    </a:lnTo>
                    <a:lnTo>
                      <a:pt x="268" y="386"/>
                    </a:lnTo>
                    <a:lnTo>
                      <a:pt x="254" y="386"/>
                    </a:lnTo>
                    <a:lnTo>
                      <a:pt x="224" y="382"/>
                    </a:lnTo>
                    <a:lnTo>
                      <a:pt x="206" y="382"/>
                    </a:lnTo>
                    <a:lnTo>
                      <a:pt x="188" y="384"/>
                    </a:lnTo>
                    <a:lnTo>
                      <a:pt x="188" y="384"/>
                    </a:lnTo>
                    <a:lnTo>
                      <a:pt x="172" y="388"/>
                    </a:lnTo>
                    <a:lnTo>
                      <a:pt x="162" y="392"/>
                    </a:lnTo>
                    <a:lnTo>
                      <a:pt x="154" y="396"/>
                    </a:lnTo>
                    <a:lnTo>
                      <a:pt x="150" y="400"/>
                    </a:lnTo>
                    <a:lnTo>
                      <a:pt x="142" y="404"/>
                    </a:lnTo>
                    <a:lnTo>
                      <a:pt x="130" y="408"/>
                    </a:lnTo>
                    <a:lnTo>
                      <a:pt x="112" y="412"/>
                    </a:lnTo>
                    <a:lnTo>
                      <a:pt x="84" y="418"/>
                    </a:lnTo>
                    <a:lnTo>
                      <a:pt x="84" y="418"/>
                    </a:lnTo>
                    <a:lnTo>
                      <a:pt x="54" y="422"/>
                    </a:lnTo>
                    <a:lnTo>
                      <a:pt x="32" y="428"/>
                    </a:lnTo>
                    <a:lnTo>
                      <a:pt x="16" y="434"/>
                    </a:lnTo>
                    <a:lnTo>
                      <a:pt x="4" y="440"/>
                    </a:lnTo>
                    <a:lnTo>
                      <a:pt x="0" y="448"/>
                    </a:lnTo>
                    <a:lnTo>
                      <a:pt x="0" y="456"/>
                    </a:lnTo>
                    <a:lnTo>
                      <a:pt x="4" y="464"/>
                    </a:lnTo>
                    <a:lnTo>
                      <a:pt x="12" y="472"/>
                    </a:lnTo>
                    <a:lnTo>
                      <a:pt x="12" y="472"/>
                    </a:lnTo>
                    <a:lnTo>
                      <a:pt x="20" y="478"/>
                    </a:lnTo>
                    <a:lnTo>
                      <a:pt x="28" y="482"/>
                    </a:lnTo>
                    <a:lnTo>
                      <a:pt x="38" y="484"/>
                    </a:lnTo>
                    <a:lnTo>
                      <a:pt x="48" y="484"/>
                    </a:lnTo>
                    <a:lnTo>
                      <a:pt x="52" y="486"/>
                    </a:lnTo>
                    <a:lnTo>
                      <a:pt x="56" y="490"/>
                    </a:lnTo>
                    <a:lnTo>
                      <a:pt x="56" y="490"/>
                    </a:lnTo>
                    <a:lnTo>
                      <a:pt x="62" y="494"/>
                    </a:lnTo>
                    <a:lnTo>
                      <a:pt x="68" y="496"/>
                    </a:lnTo>
                    <a:lnTo>
                      <a:pt x="78" y="496"/>
                    </a:lnTo>
                    <a:lnTo>
                      <a:pt x="88" y="496"/>
                    </a:lnTo>
                    <a:lnTo>
                      <a:pt x="92" y="498"/>
                    </a:lnTo>
                    <a:lnTo>
                      <a:pt x="96" y="502"/>
                    </a:lnTo>
                    <a:lnTo>
                      <a:pt x="96" y="502"/>
                    </a:lnTo>
                    <a:lnTo>
                      <a:pt x="102" y="506"/>
                    </a:lnTo>
                    <a:lnTo>
                      <a:pt x="108" y="510"/>
                    </a:lnTo>
                    <a:lnTo>
                      <a:pt x="116" y="514"/>
                    </a:lnTo>
                    <a:lnTo>
                      <a:pt x="124" y="514"/>
                    </a:lnTo>
                    <a:lnTo>
                      <a:pt x="144" y="516"/>
                    </a:lnTo>
                    <a:lnTo>
                      <a:pt x="174" y="516"/>
                    </a:lnTo>
                    <a:lnTo>
                      <a:pt x="174" y="516"/>
                    </a:lnTo>
                    <a:lnTo>
                      <a:pt x="192" y="516"/>
                    </a:lnTo>
                    <a:lnTo>
                      <a:pt x="208" y="514"/>
                    </a:lnTo>
                    <a:lnTo>
                      <a:pt x="238" y="508"/>
                    </a:lnTo>
                    <a:lnTo>
                      <a:pt x="250" y="506"/>
                    </a:lnTo>
                    <a:lnTo>
                      <a:pt x="260" y="506"/>
                    </a:lnTo>
                    <a:lnTo>
                      <a:pt x="268" y="506"/>
                    </a:lnTo>
                    <a:lnTo>
                      <a:pt x="272" y="512"/>
                    </a:lnTo>
                    <a:lnTo>
                      <a:pt x="272" y="512"/>
                    </a:lnTo>
                    <a:lnTo>
                      <a:pt x="272" y="516"/>
                    </a:lnTo>
                    <a:lnTo>
                      <a:pt x="268" y="520"/>
                    </a:lnTo>
                    <a:lnTo>
                      <a:pt x="260" y="524"/>
                    </a:lnTo>
                    <a:lnTo>
                      <a:pt x="248" y="524"/>
                    </a:lnTo>
                    <a:lnTo>
                      <a:pt x="174" y="528"/>
                    </a:lnTo>
                    <a:lnTo>
                      <a:pt x="174" y="528"/>
                    </a:lnTo>
                    <a:lnTo>
                      <a:pt x="128" y="534"/>
                    </a:lnTo>
                    <a:lnTo>
                      <a:pt x="106" y="538"/>
                    </a:lnTo>
                    <a:lnTo>
                      <a:pt x="86" y="542"/>
                    </a:lnTo>
                    <a:lnTo>
                      <a:pt x="72" y="546"/>
                    </a:lnTo>
                    <a:lnTo>
                      <a:pt x="62" y="552"/>
                    </a:lnTo>
                    <a:lnTo>
                      <a:pt x="60" y="554"/>
                    </a:lnTo>
                    <a:lnTo>
                      <a:pt x="62" y="558"/>
                    </a:lnTo>
                    <a:lnTo>
                      <a:pt x="64" y="562"/>
                    </a:lnTo>
                    <a:lnTo>
                      <a:pt x="68" y="564"/>
                    </a:lnTo>
                    <a:lnTo>
                      <a:pt x="68" y="564"/>
                    </a:lnTo>
                    <a:lnTo>
                      <a:pt x="84" y="570"/>
                    </a:lnTo>
                    <a:lnTo>
                      <a:pt x="102" y="574"/>
                    </a:lnTo>
                    <a:lnTo>
                      <a:pt x="140" y="580"/>
                    </a:lnTo>
                    <a:lnTo>
                      <a:pt x="154" y="584"/>
                    </a:lnTo>
                    <a:lnTo>
                      <a:pt x="162" y="586"/>
                    </a:lnTo>
                    <a:lnTo>
                      <a:pt x="162" y="588"/>
                    </a:lnTo>
                    <a:lnTo>
                      <a:pt x="160" y="590"/>
                    </a:lnTo>
                    <a:lnTo>
                      <a:pt x="148" y="594"/>
                    </a:lnTo>
                    <a:lnTo>
                      <a:pt x="148" y="594"/>
                    </a:lnTo>
                    <a:lnTo>
                      <a:pt x="136" y="598"/>
                    </a:lnTo>
                    <a:lnTo>
                      <a:pt x="132" y="602"/>
                    </a:lnTo>
                    <a:lnTo>
                      <a:pt x="132" y="604"/>
                    </a:lnTo>
                    <a:lnTo>
                      <a:pt x="132" y="606"/>
                    </a:lnTo>
                    <a:lnTo>
                      <a:pt x="136" y="608"/>
                    </a:lnTo>
                    <a:lnTo>
                      <a:pt x="146" y="614"/>
                    </a:lnTo>
                    <a:lnTo>
                      <a:pt x="182" y="624"/>
                    </a:lnTo>
                    <a:lnTo>
                      <a:pt x="224" y="636"/>
                    </a:lnTo>
                    <a:lnTo>
                      <a:pt x="224" y="636"/>
                    </a:lnTo>
                    <a:lnTo>
                      <a:pt x="242" y="642"/>
                    </a:lnTo>
                    <a:lnTo>
                      <a:pt x="248" y="642"/>
                    </a:lnTo>
                    <a:lnTo>
                      <a:pt x="248" y="642"/>
                    </a:lnTo>
                    <a:lnTo>
                      <a:pt x="248" y="640"/>
                    </a:lnTo>
                    <a:lnTo>
                      <a:pt x="242" y="634"/>
                    </a:lnTo>
                    <a:lnTo>
                      <a:pt x="230" y="622"/>
                    </a:lnTo>
                    <a:lnTo>
                      <a:pt x="228" y="618"/>
                    </a:lnTo>
                    <a:lnTo>
                      <a:pt x="228" y="616"/>
                    </a:lnTo>
                    <a:lnTo>
                      <a:pt x="232" y="614"/>
                    </a:lnTo>
                    <a:lnTo>
                      <a:pt x="232" y="614"/>
                    </a:lnTo>
                    <a:lnTo>
                      <a:pt x="238" y="612"/>
                    </a:lnTo>
                    <a:lnTo>
                      <a:pt x="242" y="614"/>
                    </a:lnTo>
                    <a:lnTo>
                      <a:pt x="246" y="620"/>
                    </a:lnTo>
                    <a:lnTo>
                      <a:pt x="250" y="622"/>
                    </a:lnTo>
                    <a:lnTo>
                      <a:pt x="254" y="622"/>
                    </a:lnTo>
                    <a:lnTo>
                      <a:pt x="262" y="622"/>
                    </a:lnTo>
                    <a:lnTo>
                      <a:pt x="272" y="618"/>
                    </a:lnTo>
                    <a:lnTo>
                      <a:pt x="272" y="618"/>
                    </a:lnTo>
                    <a:lnTo>
                      <a:pt x="282" y="614"/>
                    </a:lnTo>
                    <a:lnTo>
                      <a:pt x="286" y="614"/>
                    </a:lnTo>
                    <a:lnTo>
                      <a:pt x="286" y="616"/>
                    </a:lnTo>
                    <a:lnTo>
                      <a:pt x="286" y="618"/>
                    </a:lnTo>
                    <a:lnTo>
                      <a:pt x="284" y="622"/>
                    </a:lnTo>
                    <a:lnTo>
                      <a:pt x="286" y="626"/>
                    </a:lnTo>
                    <a:lnTo>
                      <a:pt x="290" y="630"/>
                    </a:lnTo>
                    <a:lnTo>
                      <a:pt x="300" y="630"/>
                    </a:lnTo>
                    <a:lnTo>
                      <a:pt x="300" y="630"/>
                    </a:lnTo>
                    <a:lnTo>
                      <a:pt x="312" y="630"/>
                    </a:lnTo>
                    <a:lnTo>
                      <a:pt x="320" y="626"/>
                    </a:lnTo>
                    <a:lnTo>
                      <a:pt x="326" y="622"/>
                    </a:lnTo>
                    <a:lnTo>
                      <a:pt x="330" y="618"/>
                    </a:lnTo>
                    <a:lnTo>
                      <a:pt x="334" y="616"/>
                    </a:lnTo>
                    <a:lnTo>
                      <a:pt x="338" y="614"/>
                    </a:lnTo>
                    <a:lnTo>
                      <a:pt x="344" y="614"/>
                    </a:lnTo>
                    <a:lnTo>
                      <a:pt x="350" y="620"/>
                    </a:lnTo>
                    <a:lnTo>
                      <a:pt x="350" y="620"/>
                    </a:lnTo>
                    <a:lnTo>
                      <a:pt x="358" y="624"/>
                    </a:lnTo>
                    <a:lnTo>
                      <a:pt x="364" y="624"/>
                    </a:lnTo>
                    <a:lnTo>
                      <a:pt x="368" y="622"/>
                    </a:lnTo>
                    <a:lnTo>
                      <a:pt x="370" y="618"/>
                    </a:lnTo>
                    <a:lnTo>
                      <a:pt x="374" y="614"/>
                    </a:lnTo>
                    <a:lnTo>
                      <a:pt x="380" y="610"/>
                    </a:lnTo>
                    <a:lnTo>
                      <a:pt x="386" y="610"/>
                    </a:lnTo>
                    <a:lnTo>
                      <a:pt x="396" y="612"/>
                    </a:lnTo>
                    <a:lnTo>
                      <a:pt x="396" y="612"/>
                    </a:lnTo>
                    <a:lnTo>
                      <a:pt x="408" y="616"/>
                    </a:lnTo>
                    <a:lnTo>
                      <a:pt x="420" y="618"/>
                    </a:lnTo>
                    <a:lnTo>
                      <a:pt x="446" y="618"/>
                    </a:lnTo>
                    <a:lnTo>
                      <a:pt x="468" y="620"/>
                    </a:lnTo>
                    <a:lnTo>
                      <a:pt x="476" y="622"/>
                    </a:lnTo>
                    <a:lnTo>
                      <a:pt x="484" y="628"/>
                    </a:lnTo>
                    <a:lnTo>
                      <a:pt x="484" y="628"/>
                    </a:lnTo>
                    <a:lnTo>
                      <a:pt x="488" y="632"/>
                    </a:lnTo>
                    <a:lnTo>
                      <a:pt x="492" y="634"/>
                    </a:lnTo>
                    <a:lnTo>
                      <a:pt x="500" y="634"/>
                    </a:lnTo>
                    <a:lnTo>
                      <a:pt x="506" y="634"/>
                    </a:lnTo>
                    <a:lnTo>
                      <a:pt x="512" y="634"/>
                    </a:lnTo>
                    <a:lnTo>
                      <a:pt x="522" y="638"/>
                    </a:lnTo>
                    <a:lnTo>
                      <a:pt x="534" y="642"/>
                    </a:lnTo>
                    <a:lnTo>
                      <a:pt x="534" y="642"/>
                    </a:lnTo>
                    <a:lnTo>
                      <a:pt x="560" y="654"/>
                    </a:lnTo>
                    <a:lnTo>
                      <a:pt x="578" y="664"/>
                    </a:lnTo>
                    <a:lnTo>
                      <a:pt x="584" y="666"/>
                    </a:lnTo>
                    <a:lnTo>
                      <a:pt x="584" y="670"/>
                    </a:lnTo>
                    <a:lnTo>
                      <a:pt x="584" y="674"/>
                    </a:lnTo>
                    <a:lnTo>
                      <a:pt x="578" y="680"/>
                    </a:lnTo>
                    <a:lnTo>
                      <a:pt x="578" y="680"/>
                    </a:lnTo>
                    <a:lnTo>
                      <a:pt x="576" y="684"/>
                    </a:lnTo>
                    <a:lnTo>
                      <a:pt x="576" y="688"/>
                    </a:lnTo>
                    <a:lnTo>
                      <a:pt x="578" y="692"/>
                    </a:lnTo>
                    <a:lnTo>
                      <a:pt x="582" y="696"/>
                    </a:lnTo>
                    <a:lnTo>
                      <a:pt x="596" y="704"/>
                    </a:lnTo>
                    <a:lnTo>
                      <a:pt x="612" y="714"/>
                    </a:lnTo>
                    <a:lnTo>
                      <a:pt x="642" y="734"/>
                    </a:lnTo>
                    <a:lnTo>
                      <a:pt x="652" y="742"/>
                    </a:lnTo>
                    <a:lnTo>
                      <a:pt x="654" y="746"/>
                    </a:lnTo>
                    <a:lnTo>
                      <a:pt x="654" y="750"/>
                    </a:lnTo>
                    <a:lnTo>
                      <a:pt x="654" y="750"/>
                    </a:lnTo>
                    <a:lnTo>
                      <a:pt x="650" y="756"/>
                    </a:lnTo>
                    <a:lnTo>
                      <a:pt x="644" y="764"/>
                    </a:lnTo>
                    <a:lnTo>
                      <a:pt x="632" y="776"/>
                    </a:lnTo>
                    <a:lnTo>
                      <a:pt x="628" y="780"/>
                    </a:lnTo>
                    <a:lnTo>
                      <a:pt x="628" y="782"/>
                    </a:lnTo>
                    <a:lnTo>
                      <a:pt x="632" y="784"/>
                    </a:lnTo>
                    <a:lnTo>
                      <a:pt x="642" y="780"/>
                    </a:lnTo>
                    <a:lnTo>
                      <a:pt x="642" y="780"/>
                    </a:lnTo>
                    <a:lnTo>
                      <a:pt x="660" y="776"/>
                    </a:lnTo>
                    <a:lnTo>
                      <a:pt x="666" y="776"/>
                    </a:lnTo>
                    <a:lnTo>
                      <a:pt x="668" y="776"/>
                    </a:lnTo>
                    <a:lnTo>
                      <a:pt x="670" y="782"/>
                    </a:lnTo>
                    <a:lnTo>
                      <a:pt x="674" y="786"/>
                    </a:lnTo>
                    <a:lnTo>
                      <a:pt x="678" y="790"/>
                    </a:lnTo>
                    <a:lnTo>
                      <a:pt x="678" y="790"/>
                    </a:lnTo>
                    <a:lnTo>
                      <a:pt x="684" y="794"/>
                    </a:lnTo>
                    <a:lnTo>
                      <a:pt x="686" y="798"/>
                    </a:lnTo>
                    <a:lnTo>
                      <a:pt x="684" y="802"/>
                    </a:lnTo>
                    <a:lnTo>
                      <a:pt x="682" y="806"/>
                    </a:lnTo>
                    <a:lnTo>
                      <a:pt x="680" y="810"/>
                    </a:lnTo>
                    <a:lnTo>
                      <a:pt x="680" y="814"/>
                    </a:lnTo>
                    <a:lnTo>
                      <a:pt x="686" y="818"/>
                    </a:lnTo>
                    <a:lnTo>
                      <a:pt x="696" y="824"/>
                    </a:lnTo>
                    <a:lnTo>
                      <a:pt x="696" y="824"/>
                    </a:lnTo>
                    <a:lnTo>
                      <a:pt x="704" y="828"/>
                    </a:lnTo>
                    <a:lnTo>
                      <a:pt x="708" y="834"/>
                    </a:lnTo>
                    <a:lnTo>
                      <a:pt x="706" y="838"/>
                    </a:lnTo>
                    <a:lnTo>
                      <a:pt x="702" y="844"/>
                    </a:lnTo>
                    <a:lnTo>
                      <a:pt x="700" y="850"/>
                    </a:lnTo>
                    <a:lnTo>
                      <a:pt x="698" y="854"/>
                    </a:lnTo>
                    <a:lnTo>
                      <a:pt x="702" y="858"/>
                    </a:lnTo>
                    <a:lnTo>
                      <a:pt x="710" y="862"/>
                    </a:lnTo>
                    <a:lnTo>
                      <a:pt x="710" y="862"/>
                    </a:lnTo>
                    <a:lnTo>
                      <a:pt x="720" y="864"/>
                    </a:lnTo>
                    <a:lnTo>
                      <a:pt x="726" y="870"/>
                    </a:lnTo>
                    <a:lnTo>
                      <a:pt x="730" y="876"/>
                    </a:lnTo>
                    <a:lnTo>
                      <a:pt x="730" y="882"/>
                    </a:lnTo>
                    <a:lnTo>
                      <a:pt x="728" y="888"/>
                    </a:lnTo>
                    <a:lnTo>
                      <a:pt x="722" y="894"/>
                    </a:lnTo>
                    <a:lnTo>
                      <a:pt x="716" y="898"/>
                    </a:lnTo>
                    <a:lnTo>
                      <a:pt x="706" y="902"/>
                    </a:lnTo>
                    <a:lnTo>
                      <a:pt x="706" y="902"/>
                    </a:lnTo>
                    <a:lnTo>
                      <a:pt x="698" y="904"/>
                    </a:lnTo>
                    <a:lnTo>
                      <a:pt x="694" y="906"/>
                    </a:lnTo>
                    <a:lnTo>
                      <a:pt x="690" y="910"/>
                    </a:lnTo>
                    <a:lnTo>
                      <a:pt x="690" y="916"/>
                    </a:lnTo>
                    <a:lnTo>
                      <a:pt x="690" y="922"/>
                    </a:lnTo>
                    <a:lnTo>
                      <a:pt x="694" y="928"/>
                    </a:lnTo>
                    <a:lnTo>
                      <a:pt x="704" y="942"/>
                    </a:lnTo>
                    <a:lnTo>
                      <a:pt x="704" y="942"/>
                    </a:lnTo>
                    <a:lnTo>
                      <a:pt x="708" y="948"/>
                    </a:lnTo>
                    <a:lnTo>
                      <a:pt x="708" y="952"/>
                    </a:lnTo>
                    <a:lnTo>
                      <a:pt x="704" y="956"/>
                    </a:lnTo>
                    <a:lnTo>
                      <a:pt x="698" y="956"/>
                    </a:lnTo>
                    <a:lnTo>
                      <a:pt x="686" y="960"/>
                    </a:lnTo>
                    <a:lnTo>
                      <a:pt x="682" y="960"/>
                    </a:lnTo>
                    <a:lnTo>
                      <a:pt x="684" y="964"/>
                    </a:lnTo>
                    <a:lnTo>
                      <a:pt x="684" y="964"/>
                    </a:lnTo>
                    <a:lnTo>
                      <a:pt x="690" y="972"/>
                    </a:lnTo>
                    <a:lnTo>
                      <a:pt x="696" y="980"/>
                    </a:lnTo>
                    <a:lnTo>
                      <a:pt x="698" y="984"/>
                    </a:lnTo>
                    <a:lnTo>
                      <a:pt x="702" y="986"/>
                    </a:lnTo>
                    <a:lnTo>
                      <a:pt x="706" y="986"/>
                    </a:lnTo>
                    <a:lnTo>
                      <a:pt x="710" y="984"/>
                    </a:lnTo>
                    <a:lnTo>
                      <a:pt x="710" y="984"/>
                    </a:lnTo>
                    <a:lnTo>
                      <a:pt x="716" y="984"/>
                    </a:lnTo>
                    <a:lnTo>
                      <a:pt x="722" y="984"/>
                    </a:lnTo>
                    <a:lnTo>
                      <a:pt x="738" y="988"/>
                    </a:lnTo>
                    <a:lnTo>
                      <a:pt x="744" y="990"/>
                    </a:lnTo>
                    <a:lnTo>
                      <a:pt x="752" y="988"/>
                    </a:lnTo>
                    <a:lnTo>
                      <a:pt x="758" y="984"/>
                    </a:lnTo>
                    <a:lnTo>
                      <a:pt x="764" y="974"/>
                    </a:lnTo>
                    <a:lnTo>
                      <a:pt x="764" y="974"/>
                    </a:lnTo>
                    <a:lnTo>
                      <a:pt x="768" y="970"/>
                    </a:lnTo>
                    <a:lnTo>
                      <a:pt x="770" y="966"/>
                    </a:lnTo>
                    <a:lnTo>
                      <a:pt x="780" y="960"/>
                    </a:lnTo>
                    <a:lnTo>
                      <a:pt x="790" y="960"/>
                    </a:lnTo>
                    <a:lnTo>
                      <a:pt x="800" y="960"/>
                    </a:lnTo>
                    <a:lnTo>
                      <a:pt x="808" y="962"/>
                    </a:lnTo>
                    <a:lnTo>
                      <a:pt x="816" y="966"/>
                    </a:lnTo>
                    <a:lnTo>
                      <a:pt x="818" y="970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2" y="978"/>
                    </a:lnTo>
                    <a:lnTo>
                      <a:pt x="810" y="980"/>
                    </a:lnTo>
                    <a:lnTo>
                      <a:pt x="812" y="982"/>
                    </a:lnTo>
                    <a:lnTo>
                      <a:pt x="818" y="982"/>
                    </a:lnTo>
                    <a:lnTo>
                      <a:pt x="822" y="984"/>
                    </a:lnTo>
                    <a:lnTo>
                      <a:pt x="828" y="986"/>
                    </a:lnTo>
                    <a:lnTo>
                      <a:pt x="828" y="990"/>
                    </a:lnTo>
                    <a:lnTo>
                      <a:pt x="826" y="994"/>
                    </a:lnTo>
                    <a:lnTo>
                      <a:pt x="826" y="994"/>
                    </a:lnTo>
                    <a:lnTo>
                      <a:pt x="824" y="998"/>
                    </a:lnTo>
                    <a:lnTo>
                      <a:pt x="824" y="1000"/>
                    </a:lnTo>
                    <a:lnTo>
                      <a:pt x="828" y="1006"/>
                    </a:lnTo>
                    <a:lnTo>
                      <a:pt x="836" y="1010"/>
                    </a:lnTo>
                    <a:lnTo>
                      <a:pt x="846" y="1014"/>
                    </a:lnTo>
                    <a:lnTo>
                      <a:pt x="866" y="1020"/>
                    </a:lnTo>
                    <a:lnTo>
                      <a:pt x="872" y="1022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68" y="1034"/>
                    </a:lnTo>
                    <a:lnTo>
                      <a:pt x="866" y="1040"/>
                    </a:lnTo>
                    <a:lnTo>
                      <a:pt x="868" y="1044"/>
                    </a:lnTo>
                    <a:lnTo>
                      <a:pt x="874" y="1050"/>
                    </a:lnTo>
                    <a:lnTo>
                      <a:pt x="874" y="1050"/>
                    </a:lnTo>
                    <a:lnTo>
                      <a:pt x="874" y="1052"/>
                    </a:lnTo>
                    <a:lnTo>
                      <a:pt x="872" y="1054"/>
                    </a:lnTo>
                    <a:lnTo>
                      <a:pt x="862" y="1052"/>
                    </a:lnTo>
                    <a:lnTo>
                      <a:pt x="848" y="1048"/>
                    </a:lnTo>
                    <a:lnTo>
                      <a:pt x="832" y="1040"/>
                    </a:lnTo>
                    <a:lnTo>
                      <a:pt x="832" y="1040"/>
                    </a:lnTo>
                    <a:lnTo>
                      <a:pt x="822" y="1036"/>
                    </a:lnTo>
                    <a:lnTo>
                      <a:pt x="810" y="1032"/>
                    </a:lnTo>
                    <a:lnTo>
                      <a:pt x="784" y="1028"/>
                    </a:lnTo>
                    <a:lnTo>
                      <a:pt x="758" y="1028"/>
                    </a:lnTo>
                    <a:lnTo>
                      <a:pt x="748" y="1030"/>
                    </a:lnTo>
                    <a:lnTo>
                      <a:pt x="742" y="1032"/>
                    </a:lnTo>
                    <a:lnTo>
                      <a:pt x="742" y="1032"/>
                    </a:lnTo>
                    <a:lnTo>
                      <a:pt x="738" y="1036"/>
                    </a:lnTo>
                    <a:lnTo>
                      <a:pt x="740" y="1042"/>
                    </a:lnTo>
                    <a:lnTo>
                      <a:pt x="744" y="1046"/>
                    </a:lnTo>
                    <a:lnTo>
                      <a:pt x="750" y="1050"/>
                    </a:lnTo>
                    <a:lnTo>
                      <a:pt x="764" y="1056"/>
                    </a:lnTo>
                    <a:lnTo>
                      <a:pt x="782" y="1060"/>
                    </a:lnTo>
                    <a:lnTo>
                      <a:pt x="782" y="1060"/>
                    </a:lnTo>
                    <a:lnTo>
                      <a:pt x="796" y="1060"/>
                    </a:lnTo>
                    <a:lnTo>
                      <a:pt x="804" y="1064"/>
                    </a:lnTo>
                    <a:lnTo>
                      <a:pt x="810" y="1068"/>
                    </a:lnTo>
                    <a:lnTo>
                      <a:pt x="816" y="1072"/>
                    </a:lnTo>
                    <a:lnTo>
                      <a:pt x="820" y="1078"/>
                    </a:lnTo>
                    <a:lnTo>
                      <a:pt x="824" y="1082"/>
                    </a:lnTo>
                    <a:lnTo>
                      <a:pt x="832" y="1086"/>
                    </a:lnTo>
                    <a:lnTo>
                      <a:pt x="844" y="1088"/>
                    </a:lnTo>
                    <a:lnTo>
                      <a:pt x="844" y="1088"/>
                    </a:lnTo>
                    <a:lnTo>
                      <a:pt x="856" y="1090"/>
                    </a:lnTo>
                    <a:lnTo>
                      <a:pt x="864" y="1092"/>
                    </a:lnTo>
                    <a:lnTo>
                      <a:pt x="868" y="1096"/>
                    </a:lnTo>
                    <a:lnTo>
                      <a:pt x="870" y="1098"/>
                    </a:lnTo>
                    <a:lnTo>
                      <a:pt x="866" y="1108"/>
                    </a:lnTo>
                    <a:lnTo>
                      <a:pt x="866" y="1112"/>
                    </a:lnTo>
                    <a:lnTo>
                      <a:pt x="868" y="1118"/>
                    </a:lnTo>
                    <a:lnTo>
                      <a:pt x="868" y="1118"/>
                    </a:lnTo>
                    <a:lnTo>
                      <a:pt x="872" y="1122"/>
                    </a:lnTo>
                    <a:lnTo>
                      <a:pt x="876" y="1120"/>
                    </a:lnTo>
                    <a:lnTo>
                      <a:pt x="880" y="1118"/>
                    </a:lnTo>
                    <a:lnTo>
                      <a:pt x="882" y="1114"/>
                    </a:lnTo>
                    <a:lnTo>
                      <a:pt x="888" y="1106"/>
                    </a:lnTo>
                    <a:lnTo>
                      <a:pt x="888" y="1106"/>
                    </a:lnTo>
                    <a:lnTo>
                      <a:pt x="890" y="1110"/>
                    </a:lnTo>
                    <a:lnTo>
                      <a:pt x="890" y="1110"/>
                    </a:lnTo>
                    <a:lnTo>
                      <a:pt x="888" y="1116"/>
                    </a:lnTo>
                    <a:lnTo>
                      <a:pt x="888" y="1122"/>
                    </a:lnTo>
                    <a:lnTo>
                      <a:pt x="882" y="1134"/>
                    </a:lnTo>
                    <a:lnTo>
                      <a:pt x="876" y="1148"/>
                    </a:lnTo>
                    <a:lnTo>
                      <a:pt x="872" y="1164"/>
                    </a:lnTo>
                    <a:lnTo>
                      <a:pt x="872" y="1164"/>
                    </a:lnTo>
                    <a:lnTo>
                      <a:pt x="870" y="1170"/>
                    </a:lnTo>
                    <a:lnTo>
                      <a:pt x="872" y="1176"/>
                    </a:lnTo>
                    <a:lnTo>
                      <a:pt x="876" y="1182"/>
                    </a:lnTo>
                    <a:lnTo>
                      <a:pt x="876" y="1184"/>
                    </a:lnTo>
                    <a:lnTo>
                      <a:pt x="876" y="1186"/>
                    </a:lnTo>
                    <a:lnTo>
                      <a:pt x="866" y="1192"/>
                    </a:lnTo>
                    <a:lnTo>
                      <a:pt x="866" y="1192"/>
                    </a:lnTo>
                    <a:lnTo>
                      <a:pt x="858" y="1194"/>
                    </a:lnTo>
                    <a:lnTo>
                      <a:pt x="850" y="1196"/>
                    </a:lnTo>
                    <a:lnTo>
                      <a:pt x="838" y="1192"/>
                    </a:lnTo>
                    <a:lnTo>
                      <a:pt x="828" y="1190"/>
                    </a:lnTo>
                    <a:lnTo>
                      <a:pt x="822" y="1190"/>
                    </a:lnTo>
                    <a:lnTo>
                      <a:pt x="818" y="1194"/>
                    </a:lnTo>
                    <a:lnTo>
                      <a:pt x="818" y="1194"/>
                    </a:lnTo>
                    <a:lnTo>
                      <a:pt x="812" y="1196"/>
                    </a:lnTo>
                    <a:lnTo>
                      <a:pt x="806" y="1198"/>
                    </a:lnTo>
                    <a:lnTo>
                      <a:pt x="796" y="1202"/>
                    </a:lnTo>
                    <a:lnTo>
                      <a:pt x="788" y="1204"/>
                    </a:lnTo>
                    <a:lnTo>
                      <a:pt x="786" y="1206"/>
                    </a:lnTo>
                    <a:lnTo>
                      <a:pt x="788" y="1210"/>
                    </a:lnTo>
                    <a:lnTo>
                      <a:pt x="788" y="1210"/>
                    </a:lnTo>
                    <a:lnTo>
                      <a:pt x="788" y="1212"/>
                    </a:lnTo>
                    <a:lnTo>
                      <a:pt x="788" y="1214"/>
                    </a:lnTo>
                    <a:lnTo>
                      <a:pt x="784" y="1214"/>
                    </a:lnTo>
                    <a:lnTo>
                      <a:pt x="784" y="1216"/>
                    </a:lnTo>
                    <a:lnTo>
                      <a:pt x="784" y="1216"/>
                    </a:lnTo>
                    <a:lnTo>
                      <a:pt x="790" y="1222"/>
                    </a:lnTo>
                    <a:lnTo>
                      <a:pt x="790" y="1222"/>
                    </a:lnTo>
                    <a:lnTo>
                      <a:pt x="794" y="1226"/>
                    </a:lnTo>
                    <a:lnTo>
                      <a:pt x="794" y="1228"/>
                    </a:lnTo>
                    <a:lnTo>
                      <a:pt x="792" y="1232"/>
                    </a:lnTo>
                    <a:lnTo>
                      <a:pt x="788" y="1234"/>
                    </a:lnTo>
                    <a:lnTo>
                      <a:pt x="778" y="1240"/>
                    </a:lnTo>
                    <a:lnTo>
                      <a:pt x="774" y="1242"/>
                    </a:lnTo>
                    <a:lnTo>
                      <a:pt x="774" y="1246"/>
                    </a:lnTo>
                    <a:lnTo>
                      <a:pt x="774" y="1246"/>
                    </a:lnTo>
                    <a:lnTo>
                      <a:pt x="774" y="1252"/>
                    </a:lnTo>
                    <a:lnTo>
                      <a:pt x="772" y="1260"/>
                    </a:lnTo>
                    <a:lnTo>
                      <a:pt x="762" y="1284"/>
                    </a:lnTo>
                    <a:lnTo>
                      <a:pt x="762" y="1284"/>
                    </a:lnTo>
                    <a:lnTo>
                      <a:pt x="762" y="1292"/>
                    </a:lnTo>
                    <a:lnTo>
                      <a:pt x="762" y="1296"/>
                    </a:lnTo>
                    <a:lnTo>
                      <a:pt x="766" y="1300"/>
                    </a:lnTo>
                    <a:lnTo>
                      <a:pt x="772" y="1302"/>
                    </a:lnTo>
                    <a:lnTo>
                      <a:pt x="788" y="1306"/>
                    </a:lnTo>
                    <a:lnTo>
                      <a:pt x="810" y="1306"/>
                    </a:lnTo>
                    <a:lnTo>
                      <a:pt x="810" y="1306"/>
                    </a:lnTo>
                    <a:lnTo>
                      <a:pt x="800" y="1312"/>
                    </a:lnTo>
                    <a:lnTo>
                      <a:pt x="790" y="1320"/>
                    </a:lnTo>
                    <a:lnTo>
                      <a:pt x="782" y="1328"/>
                    </a:lnTo>
                    <a:lnTo>
                      <a:pt x="776" y="1338"/>
                    </a:lnTo>
                    <a:lnTo>
                      <a:pt x="772" y="1346"/>
                    </a:lnTo>
                    <a:lnTo>
                      <a:pt x="772" y="1354"/>
                    </a:lnTo>
                    <a:lnTo>
                      <a:pt x="774" y="1362"/>
                    </a:lnTo>
                    <a:lnTo>
                      <a:pt x="780" y="1368"/>
                    </a:lnTo>
                    <a:lnTo>
                      <a:pt x="780" y="1368"/>
                    </a:lnTo>
                    <a:lnTo>
                      <a:pt x="786" y="1374"/>
                    </a:lnTo>
                    <a:lnTo>
                      <a:pt x="790" y="1378"/>
                    </a:lnTo>
                    <a:lnTo>
                      <a:pt x="792" y="1384"/>
                    </a:lnTo>
                    <a:lnTo>
                      <a:pt x="792" y="1390"/>
                    </a:lnTo>
                    <a:lnTo>
                      <a:pt x="792" y="1392"/>
                    </a:lnTo>
                    <a:lnTo>
                      <a:pt x="796" y="1392"/>
                    </a:lnTo>
                    <a:lnTo>
                      <a:pt x="796" y="1392"/>
                    </a:lnTo>
                    <a:lnTo>
                      <a:pt x="806" y="1394"/>
                    </a:lnTo>
                    <a:lnTo>
                      <a:pt x="812" y="1400"/>
                    </a:lnTo>
                    <a:lnTo>
                      <a:pt x="818" y="1406"/>
                    </a:lnTo>
                    <a:lnTo>
                      <a:pt x="818" y="1410"/>
                    </a:lnTo>
                    <a:lnTo>
                      <a:pt x="818" y="1414"/>
                    </a:lnTo>
                    <a:lnTo>
                      <a:pt x="818" y="1414"/>
                    </a:lnTo>
                    <a:lnTo>
                      <a:pt x="818" y="1420"/>
                    </a:lnTo>
                    <a:lnTo>
                      <a:pt x="818" y="1422"/>
                    </a:lnTo>
                    <a:lnTo>
                      <a:pt x="824" y="1426"/>
                    </a:lnTo>
                    <a:lnTo>
                      <a:pt x="828" y="1430"/>
                    </a:lnTo>
                    <a:lnTo>
                      <a:pt x="830" y="1434"/>
                    </a:lnTo>
                    <a:lnTo>
                      <a:pt x="830" y="1440"/>
                    </a:lnTo>
                    <a:lnTo>
                      <a:pt x="830" y="1440"/>
                    </a:lnTo>
                    <a:lnTo>
                      <a:pt x="830" y="1450"/>
                    </a:lnTo>
                    <a:lnTo>
                      <a:pt x="834" y="1452"/>
                    </a:lnTo>
                    <a:lnTo>
                      <a:pt x="836" y="1454"/>
                    </a:lnTo>
                    <a:lnTo>
                      <a:pt x="836" y="1462"/>
                    </a:lnTo>
                    <a:lnTo>
                      <a:pt x="836" y="1462"/>
                    </a:lnTo>
                    <a:lnTo>
                      <a:pt x="836" y="1476"/>
                    </a:lnTo>
                    <a:lnTo>
                      <a:pt x="836" y="1482"/>
                    </a:lnTo>
                    <a:lnTo>
                      <a:pt x="840" y="1488"/>
                    </a:lnTo>
                    <a:lnTo>
                      <a:pt x="842" y="1490"/>
                    </a:lnTo>
                    <a:lnTo>
                      <a:pt x="848" y="1488"/>
                    </a:lnTo>
                    <a:lnTo>
                      <a:pt x="852" y="1482"/>
                    </a:lnTo>
                    <a:lnTo>
                      <a:pt x="860" y="1470"/>
                    </a:lnTo>
                    <a:lnTo>
                      <a:pt x="860" y="1470"/>
                    </a:lnTo>
                    <a:lnTo>
                      <a:pt x="870" y="1454"/>
                    </a:lnTo>
                    <a:lnTo>
                      <a:pt x="872" y="1454"/>
                    </a:lnTo>
                    <a:lnTo>
                      <a:pt x="874" y="1456"/>
                    </a:lnTo>
                    <a:lnTo>
                      <a:pt x="876" y="1462"/>
                    </a:lnTo>
                    <a:lnTo>
                      <a:pt x="878" y="1462"/>
                    </a:lnTo>
                    <a:lnTo>
                      <a:pt x="882" y="1460"/>
                    </a:lnTo>
                    <a:lnTo>
                      <a:pt x="882" y="1460"/>
                    </a:lnTo>
                    <a:lnTo>
                      <a:pt x="888" y="1456"/>
                    </a:lnTo>
                    <a:lnTo>
                      <a:pt x="894" y="1454"/>
                    </a:lnTo>
                    <a:lnTo>
                      <a:pt x="900" y="1452"/>
                    </a:lnTo>
                    <a:lnTo>
                      <a:pt x="906" y="1454"/>
                    </a:lnTo>
                    <a:lnTo>
                      <a:pt x="912" y="1456"/>
                    </a:lnTo>
                    <a:lnTo>
                      <a:pt x="916" y="1458"/>
                    </a:lnTo>
                    <a:lnTo>
                      <a:pt x="918" y="1464"/>
                    </a:lnTo>
                    <a:lnTo>
                      <a:pt x="920" y="1470"/>
                    </a:lnTo>
                    <a:lnTo>
                      <a:pt x="920" y="1470"/>
                    </a:lnTo>
                    <a:lnTo>
                      <a:pt x="922" y="1474"/>
                    </a:lnTo>
                    <a:lnTo>
                      <a:pt x="920" y="1474"/>
                    </a:lnTo>
                    <a:lnTo>
                      <a:pt x="912" y="1470"/>
                    </a:lnTo>
                    <a:lnTo>
                      <a:pt x="902" y="1464"/>
                    </a:lnTo>
                    <a:lnTo>
                      <a:pt x="896" y="1462"/>
                    </a:lnTo>
                    <a:lnTo>
                      <a:pt x="890" y="1464"/>
                    </a:lnTo>
                    <a:lnTo>
                      <a:pt x="890" y="1464"/>
                    </a:lnTo>
                    <a:lnTo>
                      <a:pt x="888" y="1466"/>
                    </a:lnTo>
                    <a:lnTo>
                      <a:pt x="888" y="1468"/>
                    </a:lnTo>
                    <a:lnTo>
                      <a:pt x="894" y="1474"/>
                    </a:lnTo>
                    <a:lnTo>
                      <a:pt x="898" y="1474"/>
                    </a:lnTo>
                    <a:lnTo>
                      <a:pt x="898" y="1476"/>
                    </a:lnTo>
                    <a:lnTo>
                      <a:pt x="896" y="1478"/>
                    </a:lnTo>
                    <a:lnTo>
                      <a:pt x="890" y="1478"/>
                    </a:lnTo>
                    <a:lnTo>
                      <a:pt x="890" y="1478"/>
                    </a:lnTo>
                    <a:lnTo>
                      <a:pt x="884" y="1480"/>
                    </a:lnTo>
                    <a:lnTo>
                      <a:pt x="880" y="1480"/>
                    </a:lnTo>
                    <a:lnTo>
                      <a:pt x="880" y="1484"/>
                    </a:lnTo>
                    <a:lnTo>
                      <a:pt x="880" y="1486"/>
                    </a:lnTo>
                    <a:lnTo>
                      <a:pt x="880" y="1488"/>
                    </a:lnTo>
                    <a:lnTo>
                      <a:pt x="880" y="1490"/>
                    </a:lnTo>
                    <a:lnTo>
                      <a:pt x="876" y="1492"/>
                    </a:lnTo>
                    <a:lnTo>
                      <a:pt x="868" y="1492"/>
                    </a:lnTo>
                    <a:lnTo>
                      <a:pt x="868" y="1492"/>
                    </a:lnTo>
                    <a:lnTo>
                      <a:pt x="856" y="1494"/>
                    </a:lnTo>
                    <a:lnTo>
                      <a:pt x="856" y="1496"/>
                    </a:lnTo>
                    <a:lnTo>
                      <a:pt x="856" y="1496"/>
                    </a:lnTo>
                    <a:lnTo>
                      <a:pt x="860" y="1500"/>
                    </a:lnTo>
                    <a:lnTo>
                      <a:pt x="860" y="1502"/>
                    </a:lnTo>
                    <a:lnTo>
                      <a:pt x="858" y="1504"/>
                    </a:lnTo>
                    <a:lnTo>
                      <a:pt x="858" y="1504"/>
                    </a:lnTo>
                    <a:lnTo>
                      <a:pt x="854" y="1506"/>
                    </a:lnTo>
                    <a:lnTo>
                      <a:pt x="854" y="1506"/>
                    </a:lnTo>
                    <a:lnTo>
                      <a:pt x="856" y="1510"/>
                    </a:lnTo>
                    <a:lnTo>
                      <a:pt x="860" y="1514"/>
                    </a:lnTo>
                    <a:lnTo>
                      <a:pt x="862" y="1516"/>
                    </a:lnTo>
                    <a:lnTo>
                      <a:pt x="860" y="1518"/>
                    </a:lnTo>
                    <a:lnTo>
                      <a:pt x="860" y="1518"/>
                    </a:lnTo>
                    <a:lnTo>
                      <a:pt x="860" y="1522"/>
                    </a:lnTo>
                    <a:lnTo>
                      <a:pt x="860" y="1526"/>
                    </a:lnTo>
                    <a:lnTo>
                      <a:pt x="862" y="1534"/>
                    </a:lnTo>
                    <a:lnTo>
                      <a:pt x="874" y="1554"/>
                    </a:lnTo>
                    <a:lnTo>
                      <a:pt x="874" y="1554"/>
                    </a:lnTo>
                    <a:lnTo>
                      <a:pt x="878" y="1558"/>
                    </a:lnTo>
                    <a:lnTo>
                      <a:pt x="882" y="1560"/>
                    </a:lnTo>
                    <a:lnTo>
                      <a:pt x="890" y="1562"/>
                    </a:lnTo>
                    <a:lnTo>
                      <a:pt x="898" y="1562"/>
                    </a:lnTo>
                    <a:lnTo>
                      <a:pt x="898" y="1564"/>
                    </a:lnTo>
                    <a:lnTo>
                      <a:pt x="898" y="1568"/>
                    </a:lnTo>
                    <a:lnTo>
                      <a:pt x="898" y="1568"/>
                    </a:lnTo>
                    <a:lnTo>
                      <a:pt x="896" y="1572"/>
                    </a:lnTo>
                    <a:lnTo>
                      <a:pt x="898" y="1576"/>
                    </a:lnTo>
                    <a:lnTo>
                      <a:pt x="902" y="1582"/>
                    </a:lnTo>
                    <a:lnTo>
                      <a:pt x="906" y="1590"/>
                    </a:lnTo>
                    <a:lnTo>
                      <a:pt x="908" y="1594"/>
                    </a:lnTo>
                    <a:lnTo>
                      <a:pt x="908" y="1598"/>
                    </a:lnTo>
                    <a:lnTo>
                      <a:pt x="908" y="1598"/>
                    </a:lnTo>
                    <a:lnTo>
                      <a:pt x="908" y="1606"/>
                    </a:lnTo>
                    <a:lnTo>
                      <a:pt x="910" y="1610"/>
                    </a:lnTo>
                    <a:lnTo>
                      <a:pt x="914" y="1614"/>
                    </a:lnTo>
                    <a:lnTo>
                      <a:pt x="926" y="1618"/>
                    </a:lnTo>
                    <a:lnTo>
                      <a:pt x="926" y="1618"/>
                    </a:lnTo>
                    <a:lnTo>
                      <a:pt x="932" y="1622"/>
                    </a:lnTo>
                    <a:lnTo>
                      <a:pt x="934" y="1626"/>
                    </a:lnTo>
                    <a:lnTo>
                      <a:pt x="936" y="1630"/>
                    </a:lnTo>
                    <a:lnTo>
                      <a:pt x="934" y="1634"/>
                    </a:lnTo>
                    <a:lnTo>
                      <a:pt x="934" y="1640"/>
                    </a:lnTo>
                    <a:lnTo>
                      <a:pt x="934" y="1640"/>
                    </a:lnTo>
                    <a:lnTo>
                      <a:pt x="938" y="1640"/>
                    </a:lnTo>
                    <a:lnTo>
                      <a:pt x="938" y="1640"/>
                    </a:lnTo>
                    <a:lnTo>
                      <a:pt x="942" y="1640"/>
                    </a:lnTo>
                    <a:lnTo>
                      <a:pt x="944" y="1640"/>
                    </a:lnTo>
                    <a:lnTo>
                      <a:pt x="946" y="1648"/>
                    </a:lnTo>
                    <a:lnTo>
                      <a:pt x="946" y="1654"/>
                    </a:lnTo>
                    <a:lnTo>
                      <a:pt x="948" y="1656"/>
                    </a:lnTo>
                    <a:lnTo>
                      <a:pt x="950" y="1656"/>
                    </a:lnTo>
                    <a:lnTo>
                      <a:pt x="950" y="1656"/>
                    </a:lnTo>
                    <a:lnTo>
                      <a:pt x="956" y="1656"/>
                    </a:lnTo>
                    <a:lnTo>
                      <a:pt x="958" y="1656"/>
                    </a:lnTo>
                    <a:lnTo>
                      <a:pt x="958" y="1662"/>
                    </a:lnTo>
                    <a:lnTo>
                      <a:pt x="954" y="1672"/>
                    </a:lnTo>
                    <a:lnTo>
                      <a:pt x="954" y="1672"/>
                    </a:lnTo>
                    <a:lnTo>
                      <a:pt x="952" y="1676"/>
                    </a:lnTo>
                    <a:lnTo>
                      <a:pt x="956" y="1678"/>
                    </a:lnTo>
                    <a:lnTo>
                      <a:pt x="966" y="1678"/>
                    </a:lnTo>
                    <a:lnTo>
                      <a:pt x="978" y="1678"/>
                    </a:lnTo>
                    <a:lnTo>
                      <a:pt x="980" y="1680"/>
                    </a:lnTo>
                    <a:lnTo>
                      <a:pt x="980" y="1684"/>
                    </a:lnTo>
                    <a:lnTo>
                      <a:pt x="980" y="1684"/>
                    </a:lnTo>
                    <a:lnTo>
                      <a:pt x="978" y="1690"/>
                    </a:lnTo>
                    <a:lnTo>
                      <a:pt x="978" y="1692"/>
                    </a:lnTo>
                    <a:lnTo>
                      <a:pt x="980" y="1694"/>
                    </a:lnTo>
                    <a:lnTo>
                      <a:pt x="982" y="1694"/>
                    </a:lnTo>
                    <a:lnTo>
                      <a:pt x="990" y="1694"/>
                    </a:lnTo>
                    <a:lnTo>
                      <a:pt x="994" y="1696"/>
                    </a:lnTo>
                    <a:lnTo>
                      <a:pt x="996" y="1698"/>
                    </a:lnTo>
                    <a:lnTo>
                      <a:pt x="996" y="1698"/>
                    </a:lnTo>
                    <a:lnTo>
                      <a:pt x="998" y="1700"/>
                    </a:lnTo>
                    <a:lnTo>
                      <a:pt x="996" y="1702"/>
                    </a:lnTo>
                    <a:lnTo>
                      <a:pt x="994" y="1704"/>
                    </a:lnTo>
                    <a:lnTo>
                      <a:pt x="990" y="1706"/>
                    </a:lnTo>
                    <a:lnTo>
                      <a:pt x="990" y="1708"/>
                    </a:lnTo>
                    <a:lnTo>
                      <a:pt x="990" y="1712"/>
                    </a:lnTo>
                    <a:lnTo>
                      <a:pt x="990" y="1712"/>
                    </a:lnTo>
                    <a:lnTo>
                      <a:pt x="992" y="1722"/>
                    </a:lnTo>
                    <a:lnTo>
                      <a:pt x="996" y="1724"/>
                    </a:lnTo>
                    <a:lnTo>
                      <a:pt x="1000" y="1726"/>
                    </a:lnTo>
                    <a:lnTo>
                      <a:pt x="1004" y="1726"/>
                    </a:lnTo>
                    <a:lnTo>
                      <a:pt x="1010" y="1726"/>
                    </a:lnTo>
                    <a:lnTo>
                      <a:pt x="1016" y="1722"/>
                    </a:lnTo>
                    <a:lnTo>
                      <a:pt x="1024" y="1718"/>
                    </a:lnTo>
                    <a:lnTo>
                      <a:pt x="1024" y="1718"/>
                    </a:lnTo>
                    <a:lnTo>
                      <a:pt x="1032" y="1712"/>
                    </a:lnTo>
                    <a:lnTo>
                      <a:pt x="1038" y="1712"/>
                    </a:lnTo>
                    <a:lnTo>
                      <a:pt x="1040" y="1712"/>
                    </a:lnTo>
                    <a:lnTo>
                      <a:pt x="1044" y="1714"/>
                    </a:lnTo>
                    <a:lnTo>
                      <a:pt x="1048" y="1716"/>
                    </a:lnTo>
                    <a:lnTo>
                      <a:pt x="1050" y="1716"/>
                    </a:lnTo>
                    <a:lnTo>
                      <a:pt x="1054" y="1714"/>
                    </a:lnTo>
                    <a:lnTo>
                      <a:pt x="1054" y="1714"/>
                    </a:lnTo>
                    <a:lnTo>
                      <a:pt x="1064" y="1708"/>
                    </a:lnTo>
                    <a:lnTo>
                      <a:pt x="1072" y="1704"/>
                    </a:lnTo>
                    <a:lnTo>
                      <a:pt x="1080" y="1700"/>
                    </a:lnTo>
                    <a:lnTo>
                      <a:pt x="1080" y="1696"/>
                    </a:lnTo>
                    <a:lnTo>
                      <a:pt x="1080" y="1692"/>
                    </a:lnTo>
                    <a:lnTo>
                      <a:pt x="1080" y="1692"/>
                    </a:lnTo>
                    <a:lnTo>
                      <a:pt x="1080" y="1688"/>
                    </a:lnTo>
                    <a:lnTo>
                      <a:pt x="1082" y="1686"/>
                    </a:lnTo>
                    <a:lnTo>
                      <a:pt x="1084" y="1688"/>
                    </a:lnTo>
                    <a:lnTo>
                      <a:pt x="1086" y="1690"/>
                    </a:lnTo>
                    <a:lnTo>
                      <a:pt x="1088" y="1694"/>
                    </a:lnTo>
                    <a:lnTo>
                      <a:pt x="1090" y="1698"/>
                    </a:lnTo>
                    <a:lnTo>
                      <a:pt x="1090" y="1704"/>
                    </a:lnTo>
                    <a:lnTo>
                      <a:pt x="1086" y="1710"/>
                    </a:lnTo>
                    <a:lnTo>
                      <a:pt x="1086" y="1710"/>
                    </a:lnTo>
                    <a:lnTo>
                      <a:pt x="1078" y="1718"/>
                    </a:lnTo>
                    <a:lnTo>
                      <a:pt x="1076" y="1726"/>
                    </a:lnTo>
                    <a:lnTo>
                      <a:pt x="1076" y="1728"/>
                    </a:lnTo>
                    <a:lnTo>
                      <a:pt x="1078" y="1732"/>
                    </a:lnTo>
                    <a:lnTo>
                      <a:pt x="1090" y="1738"/>
                    </a:lnTo>
                    <a:lnTo>
                      <a:pt x="1090" y="1738"/>
                    </a:lnTo>
                    <a:lnTo>
                      <a:pt x="1098" y="1740"/>
                    </a:lnTo>
                    <a:lnTo>
                      <a:pt x="1106" y="1740"/>
                    </a:lnTo>
                    <a:lnTo>
                      <a:pt x="1120" y="1738"/>
                    </a:lnTo>
                    <a:lnTo>
                      <a:pt x="1124" y="1738"/>
                    </a:lnTo>
                    <a:lnTo>
                      <a:pt x="1126" y="1740"/>
                    </a:lnTo>
                    <a:lnTo>
                      <a:pt x="1126" y="1744"/>
                    </a:lnTo>
                    <a:lnTo>
                      <a:pt x="1120" y="1752"/>
                    </a:lnTo>
                    <a:lnTo>
                      <a:pt x="1120" y="1752"/>
                    </a:lnTo>
                    <a:lnTo>
                      <a:pt x="1116" y="1758"/>
                    </a:lnTo>
                    <a:lnTo>
                      <a:pt x="1116" y="1762"/>
                    </a:lnTo>
                    <a:lnTo>
                      <a:pt x="1118" y="1766"/>
                    </a:lnTo>
                    <a:lnTo>
                      <a:pt x="1122" y="1768"/>
                    </a:lnTo>
                    <a:lnTo>
                      <a:pt x="1126" y="1770"/>
                    </a:lnTo>
                    <a:lnTo>
                      <a:pt x="1132" y="1770"/>
                    </a:lnTo>
                    <a:lnTo>
                      <a:pt x="1136" y="1768"/>
                    </a:lnTo>
                    <a:lnTo>
                      <a:pt x="1140" y="1766"/>
                    </a:lnTo>
                    <a:lnTo>
                      <a:pt x="1140" y="1766"/>
                    </a:lnTo>
                    <a:lnTo>
                      <a:pt x="1150" y="1760"/>
                    </a:lnTo>
                    <a:lnTo>
                      <a:pt x="1154" y="1758"/>
                    </a:lnTo>
                    <a:lnTo>
                      <a:pt x="1156" y="1758"/>
                    </a:lnTo>
                    <a:lnTo>
                      <a:pt x="1162" y="1762"/>
                    </a:lnTo>
                    <a:lnTo>
                      <a:pt x="1170" y="1770"/>
                    </a:lnTo>
                    <a:lnTo>
                      <a:pt x="1170" y="1770"/>
                    </a:lnTo>
                    <a:lnTo>
                      <a:pt x="1182" y="1776"/>
                    </a:lnTo>
                    <a:lnTo>
                      <a:pt x="1186" y="1776"/>
                    </a:lnTo>
                    <a:lnTo>
                      <a:pt x="1190" y="1776"/>
                    </a:lnTo>
                    <a:lnTo>
                      <a:pt x="1194" y="1774"/>
                    </a:lnTo>
                    <a:lnTo>
                      <a:pt x="1196" y="1768"/>
                    </a:lnTo>
                    <a:lnTo>
                      <a:pt x="1198" y="1764"/>
                    </a:lnTo>
                    <a:lnTo>
                      <a:pt x="1200" y="1756"/>
                    </a:lnTo>
                    <a:lnTo>
                      <a:pt x="1200" y="1756"/>
                    </a:lnTo>
                    <a:lnTo>
                      <a:pt x="1200" y="1750"/>
                    </a:lnTo>
                    <a:lnTo>
                      <a:pt x="1198" y="1746"/>
                    </a:lnTo>
                    <a:lnTo>
                      <a:pt x="1194" y="1746"/>
                    </a:lnTo>
                    <a:lnTo>
                      <a:pt x="1192" y="1746"/>
                    </a:lnTo>
                    <a:lnTo>
                      <a:pt x="1186" y="1746"/>
                    </a:lnTo>
                    <a:lnTo>
                      <a:pt x="1186" y="1746"/>
                    </a:lnTo>
                    <a:lnTo>
                      <a:pt x="1186" y="1744"/>
                    </a:lnTo>
                    <a:lnTo>
                      <a:pt x="1186" y="1744"/>
                    </a:lnTo>
                    <a:lnTo>
                      <a:pt x="1190" y="1740"/>
                    </a:lnTo>
                    <a:lnTo>
                      <a:pt x="1194" y="1738"/>
                    </a:lnTo>
                    <a:lnTo>
                      <a:pt x="1204" y="1734"/>
                    </a:lnTo>
                    <a:lnTo>
                      <a:pt x="1208" y="1732"/>
                    </a:lnTo>
                    <a:lnTo>
                      <a:pt x="1210" y="1728"/>
                    </a:lnTo>
                    <a:lnTo>
                      <a:pt x="1212" y="1724"/>
                    </a:lnTo>
                    <a:lnTo>
                      <a:pt x="1212" y="1718"/>
                    </a:lnTo>
                    <a:lnTo>
                      <a:pt x="1212" y="1718"/>
                    </a:lnTo>
                    <a:lnTo>
                      <a:pt x="1210" y="1712"/>
                    </a:lnTo>
                    <a:lnTo>
                      <a:pt x="1214" y="1702"/>
                    </a:lnTo>
                    <a:lnTo>
                      <a:pt x="1224" y="1676"/>
                    </a:lnTo>
                    <a:lnTo>
                      <a:pt x="1234" y="1652"/>
                    </a:lnTo>
                    <a:lnTo>
                      <a:pt x="1236" y="1640"/>
                    </a:lnTo>
                    <a:lnTo>
                      <a:pt x="1236" y="1630"/>
                    </a:lnTo>
                    <a:lnTo>
                      <a:pt x="1236" y="1630"/>
                    </a:lnTo>
                    <a:lnTo>
                      <a:pt x="1234" y="1624"/>
                    </a:lnTo>
                    <a:lnTo>
                      <a:pt x="1232" y="1622"/>
                    </a:lnTo>
                    <a:lnTo>
                      <a:pt x="1230" y="1622"/>
                    </a:lnTo>
                    <a:lnTo>
                      <a:pt x="1228" y="1622"/>
                    </a:lnTo>
                    <a:lnTo>
                      <a:pt x="1226" y="1622"/>
                    </a:lnTo>
                    <a:lnTo>
                      <a:pt x="1222" y="1622"/>
                    </a:lnTo>
                    <a:lnTo>
                      <a:pt x="1220" y="1620"/>
                    </a:lnTo>
                    <a:lnTo>
                      <a:pt x="1214" y="1616"/>
                    </a:lnTo>
                    <a:lnTo>
                      <a:pt x="1214" y="1616"/>
                    </a:lnTo>
                    <a:lnTo>
                      <a:pt x="1212" y="1610"/>
                    </a:lnTo>
                    <a:lnTo>
                      <a:pt x="1212" y="1610"/>
                    </a:lnTo>
                    <a:lnTo>
                      <a:pt x="1222" y="1612"/>
                    </a:lnTo>
                    <a:lnTo>
                      <a:pt x="1232" y="1614"/>
                    </a:lnTo>
                    <a:lnTo>
                      <a:pt x="1236" y="1614"/>
                    </a:lnTo>
                    <a:lnTo>
                      <a:pt x="1236" y="1610"/>
                    </a:lnTo>
                    <a:lnTo>
                      <a:pt x="1236" y="1610"/>
                    </a:lnTo>
                    <a:lnTo>
                      <a:pt x="1234" y="1604"/>
                    </a:lnTo>
                    <a:lnTo>
                      <a:pt x="1232" y="1602"/>
                    </a:lnTo>
                    <a:lnTo>
                      <a:pt x="1226" y="1600"/>
                    </a:lnTo>
                    <a:lnTo>
                      <a:pt x="1220" y="1598"/>
                    </a:lnTo>
                    <a:lnTo>
                      <a:pt x="1220" y="1596"/>
                    </a:lnTo>
                    <a:lnTo>
                      <a:pt x="1222" y="1592"/>
                    </a:lnTo>
                    <a:lnTo>
                      <a:pt x="1222" y="1592"/>
                    </a:lnTo>
                    <a:lnTo>
                      <a:pt x="1226" y="1590"/>
                    </a:lnTo>
                    <a:lnTo>
                      <a:pt x="1230" y="1588"/>
                    </a:lnTo>
                    <a:lnTo>
                      <a:pt x="1244" y="1584"/>
                    </a:lnTo>
                    <a:lnTo>
                      <a:pt x="1250" y="1582"/>
                    </a:lnTo>
                    <a:lnTo>
                      <a:pt x="1256" y="1580"/>
                    </a:lnTo>
                    <a:lnTo>
                      <a:pt x="1260" y="1574"/>
                    </a:lnTo>
                    <a:lnTo>
                      <a:pt x="1262" y="1566"/>
                    </a:lnTo>
                    <a:lnTo>
                      <a:pt x="1262" y="1566"/>
                    </a:lnTo>
                    <a:lnTo>
                      <a:pt x="1264" y="1560"/>
                    </a:lnTo>
                    <a:lnTo>
                      <a:pt x="1266" y="1558"/>
                    </a:lnTo>
                    <a:lnTo>
                      <a:pt x="1268" y="1558"/>
                    </a:lnTo>
                    <a:lnTo>
                      <a:pt x="1272" y="1560"/>
                    </a:lnTo>
                    <a:lnTo>
                      <a:pt x="1278" y="1562"/>
                    </a:lnTo>
                    <a:lnTo>
                      <a:pt x="1280" y="1560"/>
                    </a:lnTo>
                    <a:lnTo>
                      <a:pt x="1280" y="1556"/>
                    </a:lnTo>
                    <a:lnTo>
                      <a:pt x="1280" y="1556"/>
                    </a:lnTo>
                    <a:lnTo>
                      <a:pt x="1282" y="1550"/>
                    </a:lnTo>
                    <a:lnTo>
                      <a:pt x="1284" y="1546"/>
                    </a:lnTo>
                    <a:lnTo>
                      <a:pt x="1294" y="1538"/>
                    </a:lnTo>
                    <a:lnTo>
                      <a:pt x="1300" y="1530"/>
                    </a:lnTo>
                    <a:lnTo>
                      <a:pt x="1302" y="1526"/>
                    </a:lnTo>
                    <a:lnTo>
                      <a:pt x="1302" y="1520"/>
                    </a:lnTo>
                    <a:lnTo>
                      <a:pt x="1302" y="1520"/>
                    </a:lnTo>
                    <a:lnTo>
                      <a:pt x="1300" y="1510"/>
                    </a:lnTo>
                    <a:lnTo>
                      <a:pt x="1300" y="1502"/>
                    </a:lnTo>
                    <a:lnTo>
                      <a:pt x="1300" y="1500"/>
                    </a:lnTo>
                    <a:lnTo>
                      <a:pt x="1298" y="1500"/>
                    </a:lnTo>
                    <a:lnTo>
                      <a:pt x="1286" y="1498"/>
                    </a:lnTo>
                    <a:lnTo>
                      <a:pt x="1286" y="1498"/>
                    </a:lnTo>
                    <a:lnTo>
                      <a:pt x="1278" y="1498"/>
                    </a:lnTo>
                    <a:lnTo>
                      <a:pt x="1270" y="1496"/>
                    </a:lnTo>
                    <a:lnTo>
                      <a:pt x="1266" y="1492"/>
                    </a:lnTo>
                    <a:lnTo>
                      <a:pt x="1262" y="1490"/>
                    </a:lnTo>
                    <a:lnTo>
                      <a:pt x="1260" y="1486"/>
                    </a:lnTo>
                    <a:lnTo>
                      <a:pt x="1262" y="1486"/>
                    </a:lnTo>
                    <a:lnTo>
                      <a:pt x="1264" y="1484"/>
                    </a:lnTo>
                    <a:lnTo>
                      <a:pt x="1270" y="1486"/>
                    </a:lnTo>
                    <a:lnTo>
                      <a:pt x="1270" y="1486"/>
                    </a:lnTo>
                    <a:lnTo>
                      <a:pt x="1276" y="1486"/>
                    </a:lnTo>
                    <a:lnTo>
                      <a:pt x="1280" y="1486"/>
                    </a:lnTo>
                    <a:lnTo>
                      <a:pt x="1288" y="1484"/>
                    </a:lnTo>
                    <a:lnTo>
                      <a:pt x="1294" y="1482"/>
                    </a:lnTo>
                    <a:lnTo>
                      <a:pt x="1300" y="1482"/>
                    </a:lnTo>
                    <a:lnTo>
                      <a:pt x="1300" y="1482"/>
                    </a:lnTo>
                    <a:lnTo>
                      <a:pt x="1308" y="1482"/>
                    </a:lnTo>
                    <a:lnTo>
                      <a:pt x="1308" y="1482"/>
                    </a:lnTo>
                    <a:lnTo>
                      <a:pt x="1308" y="1478"/>
                    </a:lnTo>
                    <a:lnTo>
                      <a:pt x="1302" y="1470"/>
                    </a:lnTo>
                    <a:lnTo>
                      <a:pt x="1290" y="1454"/>
                    </a:lnTo>
                    <a:lnTo>
                      <a:pt x="1290" y="1454"/>
                    </a:lnTo>
                    <a:lnTo>
                      <a:pt x="1282" y="1448"/>
                    </a:lnTo>
                    <a:lnTo>
                      <a:pt x="1280" y="1442"/>
                    </a:lnTo>
                    <a:lnTo>
                      <a:pt x="1280" y="1438"/>
                    </a:lnTo>
                    <a:lnTo>
                      <a:pt x="1284" y="1434"/>
                    </a:lnTo>
                    <a:lnTo>
                      <a:pt x="1288" y="1434"/>
                    </a:lnTo>
                    <a:lnTo>
                      <a:pt x="1296" y="1434"/>
                    </a:lnTo>
                    <a:lnTo>
                      <a:pt x="1310" y="1438"/>
                    </a:lnTo>
                    <a:lnTo>
                      <a:pt x="1310" y="1438"/>
                    </a:lnTo>
                    <a:lnTo>
                      <a:pt x="1316" y="1438"/>
                    </a:lnTo>
                    <a:lnTo>
                      <a:pt x="1320" y="1436"/>
                    </a:lnTo>
                    <a:lnTo>
                      <a:pt x="1324" y="1434"/>
                    </a:lnTo>
                    <a:lnTo>
                      <a:pt x="1326" y="1430"/>
                    </a:lnTo>
                    <a:lnTo>
                      <a:pt x="1332" y="1420"/>
                    </a:lnTo>
                    <a:lnTo>
                      <a:pt x="1334" y="1418"/>
                    </a:lnTo>
                    <a:lnTo>
                      <a:pt x="1338" y="1418"/>
                    </a:lnTo>
                    <a:lnTo>
                      <a:pt x="1338" y="1418"/>
                    </a:lnTo>
                    <a:lnTo>
                      <a:pt x="1344" y="1420"/>
                    </a:lnTo>
                    <a:lnTo>
                      <a:pt x="1346" y="1418"/>
                    </a:lnTo>
                    <a:lnTo>
                      <a:pt x="1344" y="1414"/>
                    </a:lnTo>
                    <a:lnTo>
                      <a:pt x="1334" y="1408"/>
                    </a:lnTo>
                    <a:lnTo>
                      <a:pt x="1334" y="1408"/>
                    </a:lnTo>
                    <a:lnTo>
                      <a:pt x="1326" y="1404"/>
                    </a:lnTo>
                    <a:lnTo>
                      <a:pt x="1324" y="1404"/>
                    </a:lnTo>
                    <a:lnTo>
                      <a:pt x="1326" y="1402"/>
                    </a:lnTo>
                    <a:lnTo>
                      <a:pt x="1330" y="1402"/>
                    </a:lnTo>
                    <a:lnTo>
                      <a:pt x="1338" y="1400"/>
                    </a:lnTo>
                    <a:lnTo>
                      <a:pt x="1338" y="1400"/>
                    </a:lnTo>
                    <a:lnTo>
                      <a:pt x="1344" y="1398"/>
                    </a:lnTo>
                    <a:lnTo>
                      <a:pt x="1352" y="1398"/>
                    </a:lnTo>
                    <a:lnTo>
                      <a:pt x="1360" y="1400"/>
                    </a:lnTo>
                    <a:lnTo>
                      <a:pt x="1370" y="1398"/>
                    </a:lnTo>
                    <a:lnTo>
                      <a:pt x="1370" y="1398"/>
                    </a:lnTo>
                    <a:lnTo>
                      <a:pt x="1380" y="1396"/>
                    </a:lnTo>
                    <a:lnTo>
                      <a:pt x="1388" y="1396"/>
                    </a:lnTo>
                    <a:lnTo>
                      <a:pt x="1394" y="1396"/>
                    </a:lnTo>
                    <a:lnTo>
                      <a:pt x="1398" y="1390"/>
                    </a:lnTo>
                    <a:lnTo>
                      <a:pt x="1398" y="1390"/>
                    </a:lnTo>
                    <a:lnTo>
                      <a:pt x="1400" y="1386"/>
                    </a:lnTo>
                    <a:lnTo>
                      <a:pt x="1398" y="1384"/>
                    </a:lnTo>
                    <a:lnTo>
                      <a:pt x="1396" y="1380"/>
                    </a:lnTo>
                    <a:lnTo>
                      <a:pt x="1402" y="1376"/>
                    </a:lnTo>
                    <a:lnTo>
                      <a:pt x="1402" y="1376"/>
                    </a:lnTo>
                    <a:lnTo>
                      <a:pt x="1404" y="1372"/>
                    </a:lnTo>
                    <a:lnTo>
                      <a:pt x="1404" y="1368"/>
                    </a:lnTo>
                    <a:lnTo>
                      <a:pt x="1404" y="1364"/>
                    </a:lnTo>
                    <a:lnTo>
                      <a:pt x="1410" y="1360"/>
                    </a:lnTo>
                    <a:lnTo>
                      <a:pt x="1410" y="1360"/>
                    </a:lnTo>
                    <a:lnTo>
                      <a:pt x="1414" y="1356"/>
                    </a:lnTo>
                    <a:lnTo>
                      <a:pt x="1416" y="1354"/>
                    </a:lnTo>
                    <a:lnTo>
                      <a:pt x="1414" y="1352"/>
                    </a:lnTo>
                    <a:lnTo>
                      <a:pt x="1412" y="1350"/>
                    </a:lnTo>
                    <a:lnTo>
                      <a:pt x="1406" y="1346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10" y="1342"/>
                    </a:lnTo>
                    <a:lnTo>
                      <a:pt x="1414" y="1344"/>
                    </a:lnTo>
                    <a:lnTo>
                      <a:pt x="1420" y="1344"/>
                    </a:lnTo>
                    <a:lnTo>
                      <a:pt x="1430" y="1344"/>
                    </a:lnTo>
                    <a:lnTo>
                      <a:pt x="1430" y="1344"/>
                    </a:lnTo>
                    <a:lnTo>
                      <a:pt x="1436" y="1344"/>
                    </a:lnTo>
                    <a:lnTo>
                      <a:pt x="1434" y="1348"/>
                    </a:lnTo>
                    <a:lnTo>
                      <a:pt x="1428" y="1352"/>
                    </a:lnTo>
                    <a:lnTo>
                      <a:pt x="1424" y="1358"/>
                    </a:lnTo>
                    <a:lnTo>
                      <a:pt x="1424" y="1358"/>
                    </a:lnTo>
                    <a:lnTo>
                      <a:pt x="1422" y="1362"/>
                    </a:lnTo>
                    <a:lnTo>
                      <a:pt x="1418" y="1364"/>
                    </a:lnTo>
                    <a:lnTo>
                      <a:pt x="1414" y="1368"/>
                    </a:lnTo>
                    <a:lnTo>
                      <a:pt x="1412" y="1372"/>
                    </a:lnTo>
                    <a:lnTo>
                      <a:pt x="1412" y="1372"/>
                    </a:lnTo>
                    <a:lnTo>
                      <a:pt x="1410" y="1378"/>
                    </a:lnTo>
                    <a:lnTo>
                      <a:pt x="1408" y="1386"/>
                    </a:lnTo>
                    <a:lnTo>
                      <a:pt x="1406" y="1392"/>
                    </a:lnTo>
                    <a:lnTo>
                      <a:pt x="1406" y="1394"/>
                    </a:lnTo>
                    <a:lnTo>
                      <a:pt x="1408" y="1396"/>
                    </a:lnTo>
                    <a:lnTo>
                      <a:pt x="1408" y="1396"/>
                    </a:lnTo>
                    <a:lnTo>
                      <a:pt x="1414" y="1398"/>
                    </a:lnTo>
                    <a:lnTo>
                      <a:pt x="1420" y="1398"/>
                    </a:lnTo>
                    <a:lnTo>
                      <a:pt x="1426" y="1396"/>
                    </a:lnTo>
                    <a:lnTo>
                      <a:pt x="1432" y="1390"/>
                    </a:lnTo>
                    <a:lnTo>
                      <a:pt x="1432" y="1390"/>
                    </a:lnTo>
                    <a:lnTo>
                      <a:pt x="1440" y="1380"/>
                    </a:lnTo>
                    <a:lnTo>
                      <a:pt x="1444" y="1380"/>
                    </a:lnTo>
                    <a:lnTo>
                      <a:pt x="1448" y="1384"/>
                    </a:lnTo>
                    <a:lnTo>
                      <a:pt x="1448" y="1384"/>
                    </a:lnTo>
                    <a:lnTo>
                      <a:pt x="1452" y="1386"/>
                    </a:lnTo>
                    <a:lnTo>
                      <a:pt x="1454" y="1384"/>
                    </a:lnTo>
                    <a:lnTo>
                      <a:pt x="1454" y="1382"/>
                    </a:lnTo>
                    <a:lnTo>
                      <a:pt x="1452" y="1378"/>
                    </a:lnTo>
                    <a:lnTo>
                      <a:pt x="1452" y="1378"/>
                    </a:lnTo>
                    <a:lnTo>
                      <a:pt x="1452" y="1376"/>
                    </a:lnTo>
                    <a:lnTo>
                      <a:pt x="1452" y="1374"/>
                    </a:lnTo>
                    <a:lnTo>
                      <a:pt x="1456" y="1372"/>
                    </a:lnTo>
                    <a:lnTo>
                      <a:pt x="1462" y="1370"/>
                    </a:lnTo>
                    <a:lnTo>
                      <a:pt x="1466" y="1370"/>
                    </a:lnTo>
                    <a:lnTo>
                      <a:pt x="1468" y="1372"/>
                    </a:lnTo>
                    <a:lnTo>
                      <a:pt x="1468" y="1372"/>
                    </a:lnTo>
                    <a:lnTo>
                      <a:pt x="1472" y="1372"/>
                    </a:lnTo>
                    <a:lnTo>
                      <a:pt x="1476" y="1372"/>
                    </a:lnTo>
                    <a:lnTo>
                      <a:pt x="1484" y="1370"/>
                    </a:lnTo>
                    <a:lnTo>
                      <a:pt x="1498" y="1362"/>
                    </a:lnTo>
                    <a:lnTo>
                      <a:pt x="1498" y="1362"/>
                    </a:lnTo>
                    <a:lnTo>
                      <a:pt x="1502" y="1360"/>
                    </a:lnTo>
                    <a:lnTo>
                      <a:pt x="1502" y="1354"/>
                    </a:lnTo>
                    <a:lnTo>
                      <a:pt x="1502" y="1350"/>
                    </a:lnTo>
                    <a:lnTo>
                      <a:pt x="1502" y="1350"/>
                    </a:lnTo>
                    <a:lnTo>
                      <a:pt x="1504" y="1350"/>
                    </a:lnTo>
                    <a:lnTo>
                      <a:pt x="1504" y="1350"/>
                    </a:lnTo>
                    <a:lnTo>
                      <a:pt x="1508" y="1350"/>
                    </a:lnTo>
                    <a:lnTo>
                      <a:pt x="1510" y="1352"/>
                    </a:lnTo>
                    <a:lnTo>
                      <a:pt x="1510" y="1354"/>
                    </a:lnTo>
                    <a:lnTo>
                      <a:pt x="1512" y="1354"/>
                    </a:lnTo>
                    <a:lnTo>
                      <a:pt x="1512" y="1354"/>
                    </a:lnTo>
                    <a:lnTo>
                      <a:pt x="1520" y="1350"/>
                    </a:lnTo>
                    <a:lnTo>
                      <a:pt x="1532" y="1344"/>
                    </a:lnTo>
                    <a:lnTo>
                      <a:pt x="1558" y="1324"/>
                    </a:lnTo>
                    <a:lnTo>
                      <a:pt x="1570" y="1314"/>
                    </a:lnTo>
                    <a:lnTo>
                      <a:pt x="1580" y="1302"/>
                    </a:lnTo>
                    <a:lnTo>
                      <a:pt x="1588" y="1290"/>
                    </a:lnTo>
                    <a:lnTo>
                      <a:pt x="1592" y="1280"/>
                    </a:lnTo>
                    <a:lnTo>
                      <a:pt x="1592" y="1280"/>
                    </a:lnTo>
                    <a:lnTo>
                      <a:pt x="1600" y="1264"/>
                    </a:lnTo>
                    <a:lnTo>
                      <a:pt x="1610" y="1250"/>
                    </a:lnTo>
                    <a:lnTo>
                      <a:pt x="1622" y="1242"/>
                    </a:lnTo>
                    <a:lnTo>
                      <a:pt x="1628" y="1238"/>
                    </a:lnTo>
                    <a:lnTo>
                      <a:pt x="1634" y="1238"/>
                    </a:lnTo>
                    <a:lnTo>
                      <a:pt x="1634" y="1238"/>
                    </a:lnTo>
                    <a:lnTo>
                      <a:pt x="1642" y="1236"/>
                    </a:lnTo>
                    <a:lnTo>
                      <a:pt x="1646" y="1234"/>
                    </a:lnTo>
                    <a:lnTo>
                      <a:pt x="1648" y="1232"/>
                    </a:lnTo>
                    <a:lnTo>
                      <a:pt x="1648" y="1228"/>
                    </a:lnTo>
                    <a:lnTo>
                      <a:pt x="1646" y="1222"/>
                    </a:lnTo>
                    <a:lnTo>
                      <a:pt x="1640" y="1214"/>
                    </a:lnTo>
                    <a:lnTo>
                      <a:pt x="1632" y="1204"/>
                    </a:lnTo>
                    <a:lnTo>
                      <a:pt x="1632" y="1204"/>
                    </a:lnTo>
                    <a:lnTo>
                      <a:pt x="1626" y="1198"/>
                    </a:lnTo>
                    <a:lnTo>
                      <a:pt x="1624" y="1194"/>
                    </a:lnTo>
                    <a:lnTo>
                      <a:pt x="1636" y="1200"/>
                    </a:lnTo>
                    <a:lnTo>
                      <a:pt x="1670" y="1222"/>
                    </a:lnTo>
                    <a:lnTo>
                      <a:pt x="1670" y="1222"/>
                    </a:lnTo>
                    <a:lnTo>
                      <a:pt x="1684" y="1226"/>
                    </a:lnTo>
                    <a:lnTo>
                      <a:pt x="1694" y="1228"/>
                    </a:lnTo>
                    <a:lnTo>
                      <a:pt x="1702" y="1228"/>
                    </a:lnTo>
                    <a:lnTo>
                      <a:pt x="1710" y="1226"/>
                    </a:lnTo>
                    <a:lnTo>
                      <a:pt x="1718" y="1224"/>
                    </a:lnTo>
                    <a:lnTo>
                      <a:pt x="1724" y="1218"/>
                    </a:lnTo>
                    <a:lnTo>
                      <a:pt x="1730" y="1212"/>
                    </a:lnTo>
                    <a:lnTo>
                      <a:pt x="1730" y="1212"/>
                    </a:lnTo>
                    <a:lnTo>
                      <a:pt x="1732" y="1206"/>
                    </a:lnTo>
                    <a:lnTo>
                      <a:pt x="1734" y="1204"/>
                    </a:lnTo>
                    <a:lnTo>
                      <a:pt x="1738" y="1204"/>
                    </a:lnTo>
                    <a:lnTo>
                      <a:pt x="1742" y="1206"/>
                    </a:lnTo>
                    <a:lnTo>
                      <a:pt x="1748" y="1208"/>
                    </a:lnTo>
                    <a:lnTo>
                      <a:pt x="1756" y="1208"/>
                    </a:lnTo>
                    <a:lnTo>
                      <a:pt x="1766" y="1208"/>
                    </a:lnTo>
                    <a:lnTo>
                      <a:pt x="1782" y="1202"/>
                    </a:lnTo>
                    <a:lnTo>
                      <a:pt x="1782" y="1202"/>
                    </a:lnTo>
                    <a:lnTo>
                      <a:pt x="1800" y="1196"/>
                    </a:lnTo>
                    <a:lnTo>
                      <a:pt x="1818" y="1190"/>
                    </a:lnTo>
                    <a:lnTo>
                      <a:pt x="1856" y="1184"/>
                    </a:lnTo>
                    <a:lnTo>
                      <a:pt x="1886" y="1178"/>
                    </a:lnTo>
                    <a:lnTo>
                      <a:pt x="1898" y="1172"/>
                    </a:lnTo>
                    <a:lnTo>
                      <a:pt x="1906" y="1166"/>
                    </a:lnTo>
                    <a:lnTo>
                      <a:pt x="1906" y="1166"/>
                    </a:lnTo>
                    <a:lnTo>
                      <a:pt x="1920" y="1154"/>
                    </a:lnTo>
                    <a:lnTo>
                      <a:pt x="1934" y="1142"/>
                    </a:lnTo>
                    <a:lnTo>
                      <a:pt x="1950" y="1132"/>
                    </a:lnTo>
                    <a:lnTo>
                      <a:pt x="1960" y="1128"/>
                    </a:lnTo>
                    <a:lnTo>
                      <a:pt x="1970" y="1128"/>
                    </a:lnTo>
                    <a:lnTo>
                      <a:pt x="1970" y="1128"/>
                    </a:lnTo>
                    <a:lnTo>
                      <a:pt x="1978" y="1126"/>
                    </a:lnTo>
                    <a:lnTo>
                      <a:pt x="1982" y="1122"/>
                    </a:lnTo>
                    <a:lnTo>
                      <a:pt x="1982" y="1120"/>
                    </a:lnTo>
                    <a:lnTo>
                      <a:pt x="1982" y="1116"/>
                    </a:lnTo>
                    <a:lnTo>
                      <a:pt x="1982" y="1112"/>
                    </a:lnTo>
                    <a:lnTo>
                      <a:pt x="1982" y="1108"/>
                    </a:lnTo>
                    <a:lnTo>
                      <a:pt x="1986" y="1106"/>
                    </a:lnTo>
                    <a:lnTo>
                      <a:pt x="1994" y="1106"/>
                    </a:lnTo>
                    <a:lnTo>
                      <a:pt x="1994" y="1106"/>
                    </a:lnTo>
                    <a:lnTo>
                      <a:pt x="2008" y="1104"/>
                    </a:lnTo>
                    <a:lnTo>
                      <a:pt x="2012" y="1102"/>
                    </a:lnTo>
                    <a:lnTo>
                      <a:pt x="2012" y="1102"/>
                    </a:lnTo>
                    <a:lnTo>
                      <a:pt x="2016" y="1096"/>
                    </a:lnTo>
                    <a:lnTo>
                      <a:pt x="2022" y="1092"/>
                    </a:lnTo>
                    <a:lnTo>
                      <a:pt x="2030" y="1088"/>
                    </a:lnTo>
                    <a:lnTo>
                      <a:pt x="2030" y="1088"/>
                    </a:lnTo>
                    <a:lnTo>
                      <a:pt x="2046" y="1080"/>
                    </a:lnTo>
                    <a:lnTo>
                      <a:pt x="2046" y="1078"/>
                    </a:lnTo>
                    <a:lnTo>
                      <a:pt x="2044" y="1076"/>
                    </a:lnTo>
                    <a:lnTo>
                      <a:pt x="2028" y="1076"/>
                    </a:lnTo>
                    <a:lnTo>
                      <a:pt x="2000" y="1080"/>
                    </a:lnTo>
                    <a:lnTo>
                      <a:pt x="2000" y="1080"/>
                    </a:lnTo>
                    <a:lnTo>
                      <a:pt x="1984" y="1080"/>
                    </a:lnTo>
                    <a:lnTo>
                      <a:pt x="1970" y="1076"/>
                    </a:lnTo>
                    <a:lnTo>
                      <a:pt x="1956" y="1070"/>
                    </a:lnTo>
                    <a:lnTo>
                      <a:pt x="1944" y="1064"/>
                    </a:lnTo>
                    <a:lnTo>
                      <a:pt x="1932" y="1058"/>
                    </a:lnTo>
                    <a:lnTo>
                      <a:pt x="1920" y="1056"/>
                    </a:lnTo>
                    <a:lnTo>
                      <a:pt x="1914" y="1056"/>
                    </a:lnTo>
                    <a:lnTo>
                      <a:pt x="1906" y="1058"/>
                    </a:lnTo>
                    <a:lnTo>
                      <a:pt x="1900" y="1060"/>
                    </a:lnTo>
                    <a:lnTo>
                      <a:pt x="1892" y="1064"/>
                    </a:lnTo>
                    <a:lnTo>
                      <a:pt x="1892" y="1064"/>
                    </a:lnTo>
                    <a:lnTo>
                      <a:pt x="1884" y="1068"/>
                    </a:lnTo>
                    <a:lnTo>
                      <a:pt x="1878" y="1070"/>
                    </a:lnTo>
                    <a:lnTo>
                      <a:pt x="1866" y="1070"/>
                    </a:lnTo>
                    <a:lnTo>
                      <a:pt x="1860" y="1070"/>
                    </a:lnTo>
                    <a:lnTo>
                      <a:pt x="1854" y="1072"/>
                    </a:lnTo>
                    <a:lnTo>
                      <a:pt x="1846" y="1076"/>
                    </a:lnTo>
                    <a:lnTo>
                      <a:pt x="1838" y="1082"/>
                    </a:lnTo>
                    <a:lnTo>
                      <a:pt x="1838" y="1082"/>
                    </a:lnTo>
                    <a:lnTo>
                      <a:pt x="1834" y="1086"/>
                    </a:lnTo>
                    <a:lnTo>
                      <a:pt x="1828" y="1090"/>
                    </a:lnTo>
                    <a:lnTo>
                      <a:pt x="1824" y="1090"/>
                    </a:lnTo>
                    <a:lnTo>
                      <a:pt x="1820" y="1090"/>
                    </a:lnTo>
                    <a:lnTo>
                      <a:pt x="1818" y="1088"/>
                    </a:lnTo>
                    <a:lnTo>
                      <a:pt x="1820" y="1084"/>
                    </a:lnTo>
                    <a:lnTo>
                      <a:pt x="1824" y="1078"/>
                    </a:lnTo>
                    <a:lnTo>
                      <a:pt x="1832" y="1070"/>
                    </a:lnTo>
                    <a:lnTo>
                      <a:pt x="1832" y="1070"/>
                    </a:lnTo>
                    <a:lnTo>
                      <a:pt x="1840" y="1064"/>
                    </a:lnTo>
                    <a:lnTo>
                      <a:pt x="1848" y="1062"/>
                    </a:lnTo>
                    <a:lnTo>
                      <a:pt x="1852" y="1062"/>
                    </a:lnTo>
                    <a:lnTo>
                      <a:pt x="1856" y="1062"/>
                    </a:lnTo>
                    <a:lnTo>
                      <a:pt x="1864" y="1064"/>
                    </a:lnTo>
                    <a:lnTo>
                      <a:pt x="1866" y="1064"/>
                    </a:lnTo>
                    <a:lnTo>
                      <a:pt x="1870" y="1062"/>
                    </a:lnTo>
                    <a:lnTo>
                      <a:pt x="1870" y="1062"/>
                    </a:lnTo>
                    <a:lnTo>
                      <a:pt x="1876" y="1058"/>
                    </a:lnTo>
                    <a:lnTo>
                      <a:pt x="1878" y="1056"/>
                    </a:lnTo>
                    <a:lnTo>
                      <a:pt x="1878" y="1054"/>
                    </a:lnTo>
                    <a:lnTo>
                      <a:pt x="1874" y="1052"/>
                    </a:lnTo>
                    <a:lnTo>
                      <a:pt x="1868" y="1052"/>
                    </a:lnTo>
                    <a:lnTo>
                      <a:pt x="1844" y="1054"/>
                    </a:lnTo>
                    <a:lnTo>
                      <a:pt x="1844" y="1054"/>
                    </a:lnTo>
                    <a:lnTo>
                      <a:pt x="1816" y="1058"/>
                    </a:lnTo>
                    <a:lnTo>
                      <a:pt x="1800" y="1058"/>
                    </a:lnTo>
                    <a:lnTo>
                      <a:pt x="1798" y="1056"/>
                    </a:lnTo>
                    <a:lnTo>
                      <a:pt x="1796" y="1052"/>
                    </a:lnTo>
                    <a:lnTo>
                      <a:pt x="1798" y="1046"/>
                    </a:lnTo>
                    <a:lnTo>
                      <a:pt x="1804" y="1038"/>
                    </a:lnTo>
                    <a:lnTo>
                      <a:pt x="1804" y="1038"/>
                    </a:lnTo>
                    <a:lnTo>
                      <a:pt x="1814" y="1022"/>
                    </a:lnTo>
                    <a:lnTo>
                      <a:pt x="1818" y="1014"/>
                    </a:lnTo>
                    <a:lnTo>
                      <a:pt x="1820" y="1012"/>
                    </a:lnTo>
                    <a:lnTo>
                      <a:pt x="1822" y="1010"/>
                    </a:lnTo>
                    <a:lnTo>
                      <a:pt x="1828" y="1016"/>
                    </a:lnTo>
                    <a:lnTo>
                      <a:pt x="1828" y="1016"/>
                    </a:lnTo>
                    <a:lnTo>
                      <a:pt x="1836" y="1022"/>
                    </a:lnTo>
                    <a:lnTo>
                      <a:pt x="1840" y="1022"/>
                    </a:lnTo>
                    <a:lnTo>
                      <a:pt x="1844" y="1022"/>
                    </a:lnTo>
                    <a:lnTo>
                      <a:pt x="1882" y="1010"/>
                    </a:lnTo>
                    <a:lnTo>
                      <a:pt x="1882" y="1010"/>
                    </a:lnTo>
                    <a:lnTo>
                      <a:pt x="1896" y="1006"/>
                    </a:lnTo>
                    <a:lnTo>
                      <a:pt x="1904" y="1000"/>
                    </a:lnTo>
                    <a:lnTo>
                      <a:pt x="1908" y="996"/>
                    </a:lnTo>
                    <a:lnTo>
                      <a:pt x="1910" y="992"/>
                    </a:lnTo>
                    <a:lnTo>
                      <a:pt x="1906" y="986"/>
                    </a:lnTo>
                    <a:lnTo>
                      <a:pt x="1898" y="984"/>
                    </a:lnTo>
                    <a:lnTo>
                      <a:pt x="1888" y="980"/>
                    </a:lnTo>
                    <a:lnTo>
                      <a:pt x="1874" y="978"/>
                    </a:lnTo>
                    <a:lnTo>
                      <a:pt x="1874" y="978"/>
                    </a:lnTo>
                    <a:lnTo>
                      <a:pt x="1850" y="974"/>
                    </a:lnTo>
                    <a:lnTo>
                      <a:pt x="1844" y="972"/>
                    </a:lnTo>
                    <a:lnTo>
                      <a:pt x="1842" y="970"/>
                    </a:lnTo>
                    <a:lnTo>
                      <a:pt x="1844" y="968"/>
                    </a:lnTo>
                    <a:lnTo>
                      <a:pt x="1850" y="966"/>
                    </a:lnTo>
                    <a:lnTo>
                      <a:pt x="1870" y="966"/>
                    </a:lnTo>
                    <a:lnTo>
                      <a:pt x="1870" y="966"/>
                    </a:lnTo>
                    <a:lnTo>
                      <a:pt x="1892" y="970"/>
                    </a:lnTo>
                    <a:lnTo>
                      <a:pt x="1906" y="976"/>
                    </a:lnTo>
                    <a:lnTo>
                      <a:pt x="1918" y="980"/>
                    </a:lnTo>
                    <a:lnTo>
                      <a:pt x="1932" y="986"/>
                    </a:lnTo>
                    <a:lnTo>
                      <a:pt x="1932" y="986"/>
                    </a:lnTo>
                    <a:lnTo>
                      <a:pt x="1946" y="992"/>
                    </a:lnTo>
                    <a:lnTo>
                      <a:pt x="1954" y="998"/>
                    </a:lnTo>
                    <a:lnTo>
                      <a:pt x="1958" y="1008"/>
                    </a:lnTo>
                    <a:lnTo>
                      <a:pt x="1960" y="1022"/>
                    </a:lnTo>
                    <a:lnTo>
                      <a:pt x="1960" y="1022"/>
                    </a:lnTo>
                    <a:lnTo>
                      <a:pt x="1964" y="1030"/>
                    </a:lnTo>
                    <a:lnTo>
                      <a:pt x="1970" y="1038"/>
                    </a:lnTo>
                    <a:lnTo>
                      <a:pt x="1978" y="1044"/>
                    </a:lnTo>
                    <a:lnTo>
                      <a:pt x="1988" y="1050"/>
                    </a:lnTo>
                    <a:lnTo>
                      <a:pt x="1998" y="1052"/>
                    </a:lnTo>
                    <a:lnTo>
                      <a:pt x="2008" y="1054"/>
                    </a:lnTo>
                    <a:lnTo>
                      <a:pt x="2016" y="1054"/>
                    </a:lnTo>
                    <a:lnTo>
                      <a:pt x="2022" y="1052"/>
                    </a:lnTo>
                    <a:lnTo>
                      <a:pt x="2022" y="1052"/>
                    </a:lnTo>
                    <a:lnTo>
                      <a:pt x="2030" y="1048"/>
                    </a:lnTo>
                    <a:lnTo>
                      <a:pt x="2036" y="1050"/>
                    </a:lnTo>
                    <a:lnTo>
                      <a:pt x="2046" y="1052"/>
                    </a:lnTo>
                    <a:lnTo>
                      <a:pt x="2060" y="1056"/>
                    </a:lnTo>
                    <a:lnTo>
                      <a:pt x="2060" y="1056"/>
                    </a:lnTo>
                    <a:lnTo>
                      <a:pt x="2068" y="1054"/>
                    </a:lnTo>
                    <a:lnTo>
                      <a:pt x="2070" y="1050"/>
                    </a:lnTo>
                    <a:lnTo>
                      <a:pt x="2072" y="1042"/>
                    </a:lnTo>
                    <a:lnTo>
                      <a:pt x="2070" y="1032"/>
                    </a:lnTo>
                    <a:lnTo>
                      <a:pt x="2066" y="1008"/>
                    </a:lnTo>
                    <a:lnTo>
                      <a:pt x="2064" y="996"/>
                    </a:lnTo>
                    <a:lnTo>
                      <a:pt x="2064" y="984"/>
                    </a:lnTo>
                    <a:lnTo>
                      <a:pt x="2064" y="984"/>
                    </a:lnTo>
                    <a:lnTo>
                      <a:pt x="2062" y="976"/>
                    </a:lnTo>
                    <a:lnTo>
                      <a:pt x="2062" y="974"/>
                    </a:lnTo>
                    <a:lnTo>
                      <a:pt x="2060" y="974"/>
                    </a:lnTo>
                    <a:lnTo>
                      <a:pt x="2056" y="976"/>
                    </a:lnTo>
                    <a:lnTo>
                      <a:pt x="2050" y="980"/>
                    </a:lnTo>
                    <a:lnTo>
                      <a:pt x="2044" y="986"/>
                    </a:lnTo>
                    <a:lnTo>
                      <a:pt x="2038" y="990"/>
                    </a:lnTo>
                    <a:lnTo>
                      <a:pt x="2032" y="990"/>
                    </a:lnTo>
                    <a:lnTo>
                      <a:pt x="2030" y="988"/>
                    </a:lnTo>
                    <a:lnTo>
                      <a:pt x="2030" y="986"/>
                    </a:lnTo>
                    <a:lnTo>
                      <a:pt x="2030" y="986"/>
                    </a:lnTo>
                    <a:lnTo>
                      <a:pt x="2028" y="976"/>
                    </a:lnTo>
                    <a:lnTo>
                      <a:pt x="2028" y="974"/>
                    </a:lnTo>
                    <a:lnTo>
                      <a:pt x="2032" y="974"/>
                    </a:lnTo>
                    <a:lnTo>
                      <a:pt x="2038" y="972"/>
                    </a:lnTo>
                    <a:lnTo>
                      <a:pt x="2044" y="968"/>
                    </a:lnTo>
                    <a:lnTo>
                      <a:pt x="2050" y="962"/>
                    </a:lnTo>
                    <a:lnTo>
                      <a:pt x="2050" y="962"/>
                    </a:lnTo>
                    <a:lnTo>
                      <a:pt x="2054" y="956"/>
                    </a:lnTo>
                    <a:lnTo>
                      <a:pt x="2054" y="956"/>
                    </a:lnTo>
                    <a:lnTo>
                      <a:pt x="2054" y="954"/>
                    </a:lnTo>
                    <a:lnTo>
                      <a:pt x="2044" y="958"/>
                    </a:lnTo>
                    <a:lnTo>
                      <a:pt x="2032" y="962"/>
                    </a:lnTo>
                    <a:lnTo>
                      <a:pt x="2030" y="960"/>
                    </a:lnTo>
                    <a:lnTo>
                      <a:pt x="2030" y="956"/>
                    </a:lnTo>
                    <a:lnTo>
                      <a:pt x="2030" y="956"/>
                    </a:lnTo>
                    <a:lnTo>
                      <a:pt x="2032" y="950"/>
                    </a:lnTo>
                    <a:lnTo>
                      <a:pt x="2030" y="944"/>
                    </a:lnTo>
                    <a:lnTo>
                      <a:pt x="2026" y="940"/>
                    </a:lnTo>
                    <a:lnTo>
                      <a:pt x="2020" y="938"/>
                    </a:lnTo>
                    <a:lnTo>
                      <a:pt x="2002" y="932"/>
                    </a:lnTo>
                    <a:lnTo>
                      <a:pt x="1980" y="926"/>
                    </a:lnTo>
                    <a:lnTo>
                      <a:pt x="1980" y="926"/>
                    </a:lnTo>
                    <a:lnTo>
                      <a:pt x="1960" y="918"/>
                    </a:lnTo>
                    <a:lnTo>
                      <a:pt x="1948" y="912"/>
                    </a:lnTo>
                    <a:lnTo>
                      <a:pt x="1944" y="908"/>
                    </a:lnTo>
                    <a:lnTo>
                      <a:pt x="1944" y="904"/>
                    </a:lnTo>
                    <a:lnTo>
                      <a:pt x="1944" y="900"/>
                    </a:lnTo>
                    <a:lnTo>
                      <a:pt x="1944" y="896"/>
                    </a:lnTo>
                    <a:lnTo>
                      <a:pt x="1942" y="892"/>
                    </a:lnTo>
                    <a:lnTo>
                      <a:pt x="1934" y="886"/>
                    </a:lnTo>
                    <a:lnTo>
                      <a:pt x="1934" y="886"/>
                    </a:lnTo>
                    <a:lnTo>
                      <a:pt x="1924" y="880"/>
                    </a:lnTo>
                    <a:lnTo>
                      <a:pt x="1922" y="874"/>
                    </a:lnTo>
                    <a:lnTo>
                      <a:pt x="1922" y="870"/>
                    </a:lnTo>
                    <a:lnTo>
                      <a:pt x="1924" y="866"/>
                    </a:lnTo>
                    <a:lnTo>
                      <a:pt x="1922" y="862"/>
                    </a:lnTo>
                    <a:lnTo>
                      <a:pt x="1916" y="858"/>
                    </a:lnTo>
                    <a:lnTo>
                      <a:pt x="1902" y="852"/>
                    </a:lnTo>
                    <a:lnTo>
                      <a:pt x="1878" y="846"/>
                    </a:lnTo>
                    <a:lnTo>
                      <a:pt x="1878" y="846"/>
                    </a:lnTo>
                    <a:lnTo>
                      <a:pt x="1888" y="846"/>
                    </a:lnTo>
                    <a:lnTo>
                      <a:pt x="1896" y="844"/>
                    </a:lnTo>
                    <a:lnTo>
                      <a:pt x="1904" y="842"/>
                    </a:lnTo>
                    <a:lnTo>
                      <a:pt x="1910" y="838"/>
                    </a:lnTo>
                    <a:lnTo>
                      <a:pt x="1926" y="828"/>
                    </a:lnTo>
                    <a:lnTo>
                      <a:pt x="1948" y="818"/>
                    </a:lnTo>
                    <a:lnTo>
                      <a:pt x="1948" y="818"/>
                    </a:lnTo>
                    <a:lnTo>
                      <a:pt x="1954" y="816"/>
                    </a:lnTo>
                    <a:lnTo>
                      <a:pt x="1960" y="816"/>
                    </a:lnTo>
                    <a:lnTo>
                      <a:pt x="1974" y="818"/>
                    </a:lnTo>
                    <a:lnTo>
                      <a:pt x="1988" y="824"/>
                    </a:lnTo>
                    <a:lnTo>
                      <a:pt x="2002" y="832"/>
                    </a:lnTo>
                    <a:lnTo>
                      <a:pt x="2016" y="838"/>
                    </a:lnTo>
                    <a:lnTo>
                      <a:pt x="2030" y="842"/>
                    </a:lnTo>
                    <a:lnTo>
                      <a:pt x="2038" y="844"/>
                    </a:lnTo>
                    <a:lnTo>
                      <a:pt x="2044" y="842"/>
                    </a:lnTo>
                    <a:lnTo>
                      <a:pt x="2052" y="840"/>
                    </a:lnTo>
                    <a:lnTo>
                      <a:pt x="2058" y="836"/>
                    </a:lnTo>
                    <a:lnTo>
                      <a:pt x="2058" y="836"/>
                    </a:lnTo>
                    <a:lnTo>
                      <a:pt x="2070" y="830"/>
                    </a:lnTo>
                    <a:lnTo>
                      <a:pt x="2078" y="826"/>
                    </a:lnTo>
                    <a:lnTo>
                      <a:pt x="2086" y="826"/>
                    </a:lnTo>
                    <a:lnTo>
                      <a:pt x="2092" y="828"/>
                    </a:lnTo>
                    <a:lnTo>
                      <a:pt x="2096" y="830"/>
                    </a:lnTo>
                    <a:lnTo>
                      <a:pt x="2100" y="830"/>
                    </a:lnTo>
                    <a:lnTo>
                      <a:pt x="2106" y="826"/>
                    </a:lnTo>
                    <a:lnTo>
                      <a:pt x="2112" y="818"/>
                    </a:lnTo>
                    <a:lnTo>
                      <a:pt x="2112" y="818"/>
                    </a:lnTo>
                    <a:lnTo>
                      <a:pt x="2118" y="810"/>
                    </a:lnTo>
                    <a:lnTo>
                      <a:pt x="2118" y="806"/>
                    </a:lnTo>
                    <a:lnTo>
                      <a:pt x="2116" y="802"/>
                    </a:lnTo>
                    <a:lnTo>
                      <a:pt x="2112" y="796"/>
                    </a:lnTo>
                    <a:lnTo>
                      <a:pt x="2104" y="792"/>
                    </a:lnTo>
                    <a:lnTo>
                      <a:pt x="2092" y="790"/>
                    </a:lnTo>
                    <a:lnTo>
                      <a:pt x="2080" y="788"/>
                    </a:lnTo>
                    <a:lnTo>
                      <a:pt x="2054" y="786"/>
                    </a:lnTo>
                    <a:lnTo>
                      <a:pt x="2054" y="786"/>
                    </a:lnTo>
                    <a:lnTo>
                      <a:pt x="2044" y="786"/>
                    </a:lnTo>
                    <a:lnTo>
                      <a:pt x="2040" y="784"/>
                    </a:lnTo>
                    <a:lnTo>
                      <a:pt x="2040" y="780"/>
                    </a:lnTo>
                    <a:lnTo>
                      <a:pt x="2040" y="776"/>
                    </a:lnTo>
                    <a:lnTo>
                      <a:pt x="2046" y="768"/>
                    </a:lnTo>
                    <a:lnTo>
                      <a:pt x="2054" y="762"/>
                    </a:lnTo>
                    <a:lnTo>
                      <a:pt x="2066" y="758"/>
                    </a:lnTo>
                    <a:lnTo>
                      <a:pt x="2078" y="754"/>
                    </a:lnTo>
                    <a:lnTo>
                      <a:pt x="2092" y="752"/>
                    </a:lnTo>
                    <a:lnTo>
                      <a:pt x="2092" y="752"/>
                    </a:lnTo>
                    <a:lnTo>
                      <a:pt x="2104" y="754"/>
                    </a:lnTo>
                    <a:lnTo>
                      <a:pt x="2112" y="758"/>
                    </a:lnTo>
                    <a:lnTo>
                      <a:pt x="2122" y="766"/>
                    </a:lnTo>
                    <a:lnTo>
                      <a:pt x="2128" y="768"/>
                    </a:lnTo>
                    <a:lnTo>
                      <a:pt x="2132" y="770"/>
                    </a:lnTo>
                    <a:lnTo>
                      <a:pt x="2142" y="768"/>
                    </a:lnTo>
                    <a:lnTo>
                      <a:pt x="2152" y="766"/>
                    </a:lnTo>
                    <a:lnTo>
                      <a:pt x="2152" y="766"/>
                    </a:lnTo>
                    <a:lnTo>
                      <a:pt x="2162" y="762"/>
                    </a:lnTo>
                    <a:lnTo>
                      <a:pt x="2164" y="758"/>
                    </a:lnTo>
                    <a:lnTo>
                      <a:pt x="2166" y="754"/>
                    </a:lnTo>
                    <a:lnTo>
                      <a:pt x="2162" y="750"/>
                    </a:lnTo>
                    <a:lnTo>
                      <a:pt x="2154" y="746"/>
                    </a:lnTo>
                    <a:lnTo>
                      <a:pt x="2146" y="742"/>
                    </a:lnTo>
                    <a:lnTo>
                      <a:pt x="2134" y="740"/>
                    </a:lnTo>
                    <a:lnTo>
                      <a:pt x="2120" y="738"/>
                    </a:lnTo>
                    <a:lnTo>
                      <a:pt x="2120" y="738"/>
                    </a:lnTo>
                    <a:lnTo>
                      <a:pt x="2112" y="738"/>
                    </a:lnTo>
                    <a:lnTo>
                      <a:pt x="2108" y="736"/>
                    </a:lnTo>
                    <a:lnTo>
                      <a:pt x="2104" y="732"/>
                    </a:lnTo>
                    <a:lnTo>
                      <a:pt x="2102" y="728"/>
                    </a:lnTo>
                    <a:lnTo>
                      <a:pt x="2100" y="718"/>
                    </a:lnTo>
                    <a:lnTo>
                      <a:pt x="2102" y="708"/>
                    </a:lnTo>
                    <a:lnTo>
                      <a:pt x="2108" y="700"/>
                    </a:lnTo>
                    <a:lnTo>
                      <a:pt x="2114" y="694"/>
                    </a:lnTo>
                    <a:lnTo>
                      <a:pt x="2118" y="692"/>
                    </a:lnTo>
                    <a:lnTo>
                      <a:pt x="2122" y="692"/>
                    </a:lnTo>
                    <a:lnTo>
                      <a:pt x="2124" y="692"/>
                    </a:lnTo>
                    <a:lnTo>
                      <a:pt x="2126" y="696"/>
                    </a:lnTo>
                    <a:lnTo>
                      <a:pt x="2126" y="696"/>
                    </a:lnTo>
                    <a:lnTo>
                      <a:pt x="2132" y="700"/>
                    </a:lnTo>
                    <a:lnTo>
                      <a:pt x="2140" y="702"/>
                    </a:lnTo>
                    <a:lnTo>
                      <a:pt x="2148" y="702"/>
                    </a:lnTo>
                    <a:lnTo>
                      <a:pt x="2154" y="698"/>
                    </a:lnTo>
                    <a:lnTo>
                      <a:pt x="2158" y="692"/>
                    </a:lnTo>
                    <a:lnTo>
                      <a:pt x="2162" y="686"/>
                    </a:lnTo>
                    <a:lnTo>
                      <a:pt x="2160" y="678"/>
                    </a:lnTo>
                    <a:lnTo>
                      <a:pt x="2156" y="670"/>
                    </a:lnTo>
                    <a:lnTo>
                      <a:pt x="2156" y="670"/>
                    </a:lnTo>
                    <a:lnTo>
                      <a:pt x="2150" y="662"/>
                    </a:lnTo>
                    <a:lnTo>
                      <a:pt x="2150" y="658"/>
                    </a:lnTo>
                    <a:lnTo>
                      <a:pt x="2154" y="656"/>
                    </a:lnTo>
                    <a:lnTo>
                      <a:pt x="2156" y="656"/>
                    </a:lnTo>
                    <a:lnTo>
                      <a:pt x="2160" y="656"/>
                    </a:lnTo>
                    <a:lnTo>
                      <a:pt x="2160" y="654"/>
                    </a:lnTo>
                    <a:lnTo>
                      <a:pt x="2144" y="646"/>
                    </a:lnTo>
                    <a:lnTo>
                      <a:pt x="2144" y="646"/>
                    </a:lnTo>
                    <a:lnTo>
                      <a:pt x="2132" y="640"/>
                    </a:lnTo>
                    <a:lnTo>
                      <a:pt x="2128" y="636"/>
                    </a:lnTo>
                    <a:lnTo>
                      <a:pt x="2128" y="634"/>
                    </a:lnTo>
                    <a:lnTo>
                      <a:pt x="2130" y="632"/>
                    </a:lnTo>
                    <a:lnTo>
                      <a:pt x="2140" y="628"/>
                    </a:lnTo>
                    <a:lnTo>
                      <a:pt x="2142" y="624"/>
                    </a:lnTo>
                    <a:lnTo>
                      <a:pt x="2142" y="620"/>
                    </a:lnTo>
                    <a:lnTo>
                      <a:pt x="2142" y="620"/>
                    </a:lnTo>
                    <a:lnTo>
                      <a:pt x="2140" y="616"/>
                    </a:lnTo>
                    <a:lnTo>
                      <a:pt x="2136" y="614"/>
                    </a:lnTo>
                    <a:lnTo>
                      <a:pt x="2126" y="612"/>
                    </a:lnTo>
                    <a:lnTo>
                      <a:pt x="2098" y="612"/>
                    </a:lnTo>
                    <a:lnTo>
                      <a:pt x="2084" y="612"/>
                    </a:lnTo>
                    <a:lnTo>
                      <a:pt x="2074" y="612"/>
                    </a:lnTo>
                    <a:lnTo>
                      <a:pt x="2066" y="608"/>
                    </a:lnTo>
                    <a:lnTo>
                      <a:pt x="2064" y="606"/>
                    </a:lnTo>
                    <a:lnTo>
                      <a:pt x="2062" y="602"/>
                    </a:lnTo>
                    <a:lnTo>
                      <a:pt x="2062" y="602"/>
                    </a:lnTo>
                    <a:lnTo>
                      <a:pt x="2062" y="598"/>
                    </a:lnTo>
                    <a:lnTo>
                      <a:pt x="2060" y="594"/>
                    </a:lnTo>
                    <a:lnTo>
                      <a:pt x="2056" y="590"/>
                    </a:lnTo>
                    <a:lnTo>
                      <a:pt x="2048" y="586"/>
                    </a:lnTo>
                    <a:lnTo>
                      <a:pt x="2040" y="582"/>
                    </a:lnTo>
                    <a:lnTo>
                      <a:pt x="2032" y="580"/>
                    </a:lnTo>
                    <a:lnTo>
                      <a:pt x="2028" y="578"/>
                    </a:lnTo>
                    <a:lnTo>
                      <a:pt x="2026" y="576"/>
                    </a:lnTo>
                    <a:lnTo>
                      <a:pt x="2028" y="574"/>
                    </a:lnTo>
                    <a:lnTo>
                      <a:pt x="2032" y="568"/>
                    </a:lnTo>
                    <a:lnTo>
                      <a:pt x="2032" y="568"/>
                    </a:lnTo>
                    <a:lnTo>
                      <a:pt x="2040" y="566"/>
                    </a:lnTo>
                    <a:lnTo>
                      <a:pt x="2046" y="566"/>
                    </a:lnTo>
                    <a:lnTo>
                      <a:pt x="2050" y="570"/>
                    </a:lnTo>
                    <a:lnTo>
                      <a:pt x="2054" y="574"/>
                    </a:lnTo>
                    <a:lnTo>
                      <a:pt x="2058" y="578"/>
                    </a:lnTo>
                    <a:lnTo>
                      <a:pt x="2064" y="580"/>
                    </a:lnTo>
                    <a:lnTo>
                      <a:pt x="2072" y="580"/>
                    </a:lnTo>
                    <a:lnTo>
                      <a:pt x="2082" y="574"/>
                    </a:lnTo>
                    <a:lnTo>
                      <a:pt x="2082" y="574"/>
                    </a:lnTo>
                    <a:lnTo>
                      <a:pt x="2094" y="566"/>
                    </a:lnTo>
                    <a:lnTo>
                      <a:pt x="2106" y="562"/>
                    </a:lnTo>
                    <a:lnTo>
                      <a:pt x="2120" y="560"/>
                    </a:lnTo>
                    <a:lnTo>
                      <a:pt x="2132" y="560"/>
                    </a:lnTo>
                    <a:lnTo>
                      <a:pt x="2144" y="562"/>
                    </a:lnTo>
                    <a:lnTo>
                      <a:pt x="2156" y="564"/>
                    </a:lnTo>
                    <a:lnTo>
                      <a:pt x="2178" y="574"/>
                    </a:lnTo>
                    <a:lnTo>
                      <a:pt x="2178" y="574"/>
                    </a:lnTo>
                    <a:lnTo>
                      <a:pt x="2188" y="576"/>
                    </a:lnTo>
                    <a:lnTo>
                      <a:pt x="2196" y="574"/>
                    </a:lnTo>
                    <a:lnTo>
                      <a:pt x="2202" y="570"/>
                    </a:lnTo>
                    <a:lnTo>
                      <a:pt x="2206" y="564"/>
                    </a:lnTo>
                    <a:lnTo>
                      <a:pt x="2208" y="556"/>
                    </a:lnTo>
                    <a:lnTo>
                      <a:pt x="2206" y="546"/>
                    </a:lnTo>
                    <a:lnTo>
                      <a:pt x="2202" y="536"/>
                    </a:lnTo>
                    <a:lnTo>
                      <a:pt x="2194" y="528"/>
                    </a:lnTo>
                    <a:lnTo>
                      <a:pt x="2194" y="528"/>
                    </a:lnTo>
                    <a:lnTo>
                      <a:pt x="2186" y="522"/>
                    </a:lnTo>
                    <a:lnTo>
                      <a:pt x="2180" y="522"/>
                    </a:lnTo>
                    <a:lnTo>
                      <a:pt x="2176" y="524"/>
                    </a:lnTo>
                    <a:lnTo>
                      <a:pt x="2172" y="528"/>
                    </a:lnTo>
                    <a:lnTo>
                      <a:pt x="2166" y="532"/>
                    </a:lnTo>
                    <a:lnTo>
                      <a:pt x="2158" y="534"/>
                    </a:lnTo>
                    <a:lnTo>
                      <a:pt x="2148" y="532"/>
                    </a:lnTo>
                    <a:lnTo>
                      <a:pt x="2132" y="524"/>
                    </a:lnTo>
                    <a:lnTo>
                      <a:pt x="2132" y="524"/>
                    </a:lnTo>
                    <a:lnTo>
                      <a:pt x="2106" y="506"/>
                    </a:lnTo>
                    <a:lnTo>
                      <a:pt x="2102" y="502"/>
                    </a:lnTo>
                    <a:lnTo>
                      <a:pt x="2102" y="500"/>
                    </a:lnTo>
                    <a:lnTo>
                      <a:pt x="2102" y="498"/>
                    </a:lnTo>
                    <a:lnTo>
                      <a:pt x="2106" y="498"/>
                    </a:lnTo>
                    <a:lnTo>
                      <a:pt x="2116" y="498"/>
                    </a:lnTo>
                    <a:lnTo>
                      <a:pt x="2144" y="504"/>
                    </a:lnTo>
                    <a:lnTo>
                      <a:pt x="2144" y="504"/>
                    </a:lnTo>
                    <a:lnTo>
                      <a:pt x="2170" y="508"/>
                    </a:lnTo>
                    <a:lnTo>
                      <a:pt x="2174" y="508"/>
                    </a:lnTo>
                    <a:lnTo>
                      <a:pt x="2174" y="506"/>
                    </a:lnTo>
                    <a:lnTo>
                      <a:pt x="2168" y="502"/>
                    </a:lnTo>
                    <a:lnTo>
                      <a:pt x="2156" y="496"/>
                    </a:lnTo>
                    <a:lnTo>
                      <a:pt x="2120" y="480"/>
                    </a:lnTo>
                    <a:lnTo>
                      <a:pt x="2120" y="480"/>
                    </a:lnTo>
                    <a:lnTo>
                      <a:pt x="2100" y="474"/>
                    </a:lnTo>
                    <a:lnTo>
                      <a:pt x="2086" y="474"/>
                    </a:lnTo>
                    <a:lnTo>
                      <a:pt x="2078" y="476"/>
                    </a:lnTo>
                    <a:lnTo>
                      <a:pt x="2074" y="482"/>
                    </a:lnTo>
                    <a:lnTo>
                      <a:pt x="2070" y="494"/>
                    </a:lnTo>
                    <a:lnTo>
                      <a:pt x="2066" y="500"/>
                    </a:lnTo>
                    <a:lnTo>
                      <a:pt x="2060" y="504"/>
                    </a:lnTo>
                    <a:lnTo>
                      <a:pt x="2060" y="504"/>
                    </a:lnTo>
                    <a:lnTo>
                      <a:pt x="2056" y="504"/>
                    </a:lnTo>
                    <a:lnTo>
                      <a:pt x="2054" y="502"/>
                    </a:lnTo>
                    <a:lnTo>
                      <a:pt x="2052" y="500"/>
                    </a:lnTo>
                    <a:lnTo>
                      <a:pt x="2052" y="498"/>
                    </a:lnTo>
                    <a:lnTo>
                      <a:pt x="2054" y="490"/>
                    </a:lnTo>
                    <a:lnTo>
                      <a:pt x="2060" y="478"/>
                    </a:lnTo>
                    <a:lnTo>
                      <a:pt x="2072" y="454"/>
                    </a:lnTo>
                    <a:lnTo>
                      <a:pt x="2080" y="440"/>
                    </a:lnTo>
                    <a:lnTo>
                      <a:pt x="2086" y="426"/>
                    </a:lnTo>
                    <a:lnTo>
                      <a:pt x="2086" y="426"/>
                    </a:lnTo>
                    <a:lnTo>
                      <a:pt x="2090" y="414"/>
                    </a:lnTo>
                    <a:lnTo>
                      <a:pt x="2096" y="408"/>
                    </a:lnTo>
                    <a:lnTo>
                      <a:pt x="2104" y="404"/>
                    </a:lnTo>
                    <a:lnTo>
                      <a:pt x="2110" y="404"/>
                    </a:lnTo>
                    <a:lnTo>
                      <a:pt x="2124" y="404"/>
                    </a:lnTo>
                    <a:lnTo>
                      <a:pt x="2130" y="404"/>
                    </a:lnTo>
                    <a:lnTo>
                      <a:pt x="2134" y="402"/>
                    </a:lnTo>
                    <a:lnTo>
                      <a:pt x="2134" y="402"/>
                    </a:lnTo>
                    <a:lnTo>
                      <a:pt x="2146" y="392"/>
                    </a:lnTo>
                    <a:lnTo>
                      <a:pt x="2160" y="382"/>
                    </a:lnTo>
                    <a:lnTo>
                      <a:pt x="2166" y="376"/>
                    </a:lnTo>
                    <a:lnTo>
                      <a:pt x="2168" y="372"/>
                    </a:lnTo>
                    <a:lnTo>
                      <a:pt x="2168" y="370"/>
                    </a:lnTo>
                    <a:lnTo>
                      <a:pt x="2166" y="368"/>
                    </a:lnTo>
                    <a:lnTo>
                      <a:pt x="2160" y="366"/>
                    </a:lnTo>
                    <a:lnTo>
                      <a:pt x="2160" y="366"/>
                    </a:lnTo>
                    <a:lnTo>
                      <a:pt x="2152" y="362"/>
                    </a:lnTo>
                    <a:lnTo>
                      <a:pt x="2146" y="358"/>
                    </a:lnTo>
                    <a:lnTo>
                      <a:pt x="2144" y="354"/>
                    </a:lnTo>
                    <a:lnTo>
                      <a:pt x="2144" y="348"/>
                    </a:lnTo>
                    <a:lnTo>
                      <a:pt x="2146" y="344"/>
                    </a:lnTo>
                    <a:lnTo>
                      <a:pt x="2150" y="338"/>
                    </a:lnTo>
                    <a:lnTo>
                      <a:pt x="2158" y="336"/>
                    </a:lnTo>
                    <a:lnTo>
                      <a:pt x="2168" y="334"/>
                    </a:lnTo>
                    <a:lnTo>
                      <a:pt x="2168" y="334"/>
                    </a:lnTo>
                    <a:lnTo>
                      <a:pt x="2190" y="334"/>
                    </a:lnTo>
                    <a:lnTo>
                      <a:pt x="2204" y="330"/>
                    </a:lnTo>
                    <a:lnTo>
                      <a:pt x="2216" y="322"/>
                    </a:lnTo>
                    <a:lnTo>
                      <a:pt x="2228" y="310"/>
                    </a:lnTo>
                    <a:lnTo>
                      <a:pt x="2228" y="310"/>
                    </a:lnTo>
                    <a:lnTo>
                      <a:pt x="2230" y="306"/>
                    </a:lnTo>
                    <a:lnTo>
                      <a:pt x="2230" y="304"/>
                    </a:lnTo>
                    <a:lnTo>
                      <a:pt x="2228" y="302"/>
                    </a:lnTo>
                    <a:lnTo>
                      <a:pt x="2226" y="300"/>
                    </a:lnTo>
                    <a:lnTo>
                      <a:pt x="2214" y="300"/>
                    </a:lnTo>
                    <a:lnTo>
                      <a:pt x="2200" y="300"/>
                    </a:lnTo>
                    <a:lnTo>
                      <a:pt x="2162" y="308"/>
                    </a:lnTo>
                    <a:lnTo>
                      <a:pt x="2142" y="312"/>
                    </a:lnTo>
                    <a:lnTo>
                      <a:pt x="2124" y="318"/>
                    </a:lnTo>
                    <a:lnTo>
                      <a:pt x="2124" y="318"/>
                    </a:lnTo>
                    <a:lnTo>
                      <a:pt x="2112" y="322"/>
                    </a:lnTo>
                    <a:lnTo>
                      <a:pt x="2108" y="320"/>
                    </a:lnTo>
                    <a:lnTo>
                      <a:pt x="2106" y="320"/>
                    </a:lnTo>
                    <a:lnTo>
                      <a:pt x="2106" y="316"/>
                    </a:lnTo>
                    <a:lnTo>
                      <a:pt x="2108" y="314"/>
                    </a:lnTo>
                    <a:lnTo>
                      <a:pt x="2114" y="306"/>
                    </a:lnTo>
                    <a:lnTo>
                      <a:pt x="2124" y="298"/>
                    </a:lnTo>
                    <a:lnTo>
                      <a:pt x="2138" y="292"/>
                    </a:lnTo>
                    <a:lnTo>
                      <a:pt x="2152" y="288"/>
                    </a:lnTo>
                    <a:lnTo>
                      <a:pt x="2160" y="288"/>
                    </a:lnTo>
                    <a:lnTo>
                      <a:pt x="2168" y="288"/>
                    </a:lnTo>
                    <a:lnTo>
                      <a:pt x="2168" y="288"/>
                    </a:lnTo>
                    <a:lnTo>
                      <a:pt x="2182" y="292"/>
                    </a:lnTo>
                    <a:lnTo>
                      <a:pt x="2198" y="292"/>
                    </a:lnTo>
                    <a:lnTo>
                      <a:pt x="2214" y="292"/>
                    </a:lnTo>
                    <a:lnTo>
                      <a:pt x="2228" y="290"/>
                    </a:lnTo>
                    <a:lnTo>
                      <a:pt x="2256" y="284"/>
                    </a:lnTo>
                    <a:lnTo>
                      <a:pt x="2278" y="276"/>
                    </a:lnTo>
                    <a:lnTo>
                      <a:pt x="2278" y="276"/>
                    </a:lnTo>
                    <a:lnTo>
                      <a:pt x="2284" y="270"/>
                    </a:lnTo>
                    <a:lnTo>
                      <a:pt x="2286" y="268"/>
                    </a:lnTo>
                    <a:lnTo>
                      <a:pt x="2284" y="268"/>
                    </a:lnTo>
                    <a:lnTo>
                      <a:pt x="2280" y="264"/>
                    </a:lnTo>
                    <a:lnTo>
                      <a:pt x="2270" y="262"/>
                    </a:lnTo>
                    <a:lnTo>
                      <a:pt x="2244" y="260"/>
                    </a:lnTo>
                    <a:lnTo>
                      <a:pt x="2232" y="260"/>
                    </a:lnTo>
                    <a:lnTo>
                      <a:pt x="2220" y="262"/>
                    </a:lnTo>
                    <a:lnTo>
                      <a:pt x="2220" y="262"/>
                    </a:lnTo>
                    <a:lnTo>
                      <a:pt x="2206" y="264"/>
                    </a:lnTo>
                    <a:lnTo>
                      <a:pt x="2188" y="264"/>
                    </a:lnTo>
                    <a:lnTo>
                      <a:pt x="2154" y="262"/>
                    </a:lnTo>
                    <a:lnTo>
                      <a:pt x="2134" y="258"/>
                    </a:lnTo>
                    <a:lnTo>
                      <a:pt x="2150" y="258"/>
                    </a:lnTo>
                    <a:lnTo>
                      <a:pt x="2150" y="258"/>
                    </a:lnTo>
                    <a:lnTo>
                      <a:pt x="2168" y="260"/>
                    </a:lnTo>
                    <a:lnTo>
                      <a:pt x="2182" y="258"/>
                    </a:lnTo>
                    <a:lnTo>
                      <a:pt x="2192" y="256"/>
                    </a:lnTo>
                    <a:lnTo>
                      <a:pt x="2200" y="252"/>
                    </a:lnTo>
                    <a:lnTo>
                      <a:pt x="2214" y="248"/>
                    </a:lnTo>
                    <a:lnTo>
                      <a:pt x="2222" y="246"/>
                    </a:lnTo>
                    <a:lnTo>
                      <a:pt x="2232" y="248"/>
                    </a:lnTo>
                    <a:lnTo>
                      <a:pt x="2232" y="248"/>
                    </a:lnTo>
                    <a:lnTo>
                      <a:pt x="2244" y="250"/>
                    </a:lnTo>
                    <a:lnTo>
                      <a:pt x="2254" y="250"/>
                    </a:lnTo>
                    <a:lnTo>
                      <a:pt x="2274" y="248"/>
                    </a:lnTo>
                    <a:lnTo>
                      <a:pt x="2298" y="244"/>
                    </a:lnTo>
                    <a:lnTo>
                      <a:pt x="2330" y="242"/>
                    </a:lnTo>
                    <a:lnTo>
                      <a:pt x="2330" y="242"/>
                    </a:lnTo>
                    <a:lnTo>
                      <a:pt x="2342" y="240"/>
                    </a:lnTo>
                    <a:lnTo>
                      <a:pt x="2344" y="238"/>
                    </a:lnTo>
                    <a:lnTo>
                      <a:pt x="2344" y="238"/>
                    </a:lnTo>
                    <a:lnTo>
                      <a:pt x="2342" y="232"/>
                    </a:lnTo>
                    <a:lnTo>
                      <a:pt x="2336" y="228"/>
                    </a:lnTo>
                    <a:lnTo>
                      <a:pt x="2330" y="224"/>
                    </a:lnTo>
                    <a:lnTo>
                      <a:pt x="2328" y="220"/>
                    </a:lnTo>
                    <a:lnTo>
                      <a:pt x="2330" y="220"/>
                    </a:lnTo>
                    <a:lnTo>
                      <a:pt x="2334" y="218"/>
                    </a:lnTo>
                    <a:lnTo>
                      <a:pt x="2348" y="218"/>
                    </a:lnTo>
                    <a:lnTo>
                      <a:pt x="2348" y="218"/>
                    </a:lnTo>
                    <a:lnTo>
                      <a:pt x="2360" y="216"/>
                    </a:lnTo>
                    <a:lnTo>
                      <a:pt x="2372" y="214"/>
                    </a:lnTo>
                    <a:lnTo>
                      <a:pt x="2382" y="212"/>
                    </a:lnTo>
                    <a:lnTo>
                      <a:pt x="2392" y="206"/>
                    </a:lnTo>
                    <a:lnTo>
                      <a:pt x="2412" y="196"/>
                    </a:lnTo>
                    <a:lnTo>
                      <a:pt x="2436" y="182"/>
                    </a:lnTo>
                    <a:lnTo>
                      <a:pt x="2436" y="182"/>
                    </a:lnTo>
                    <a:lnTo>
                      <a:pt x="2440" y="180"/>
                    </a:lnTo>
                    <a:lnTo>
                      <a:pt x="2442" y="176"/>
                    </a:lnTo>
                    <a:lnTo>
                      <a:pt x="2438" y="174"/>
                    </a:lnTo>
                    <a:lnTo>
                      <a:pt x="2434" y="170"/>
                    </a:lnTo>
                    <a:lnTo>
                      <a:pt x="2414" y="164"/>
                    </a:lnTo>
                    <a:lnTo>
                      <a:pt x="2388" y="158"/>
                    </a:lnTo>
                    <a:lnTo>
                      <a:pt x="2356" y="154"/>
                    </a:lnTo>
                    <a:lnTo>
                      <a:pt x="2322" y="150"/>
                    </a:lnTo>
                    <a:lnTo>
                      <a:pt x="2292" y="148"/>
                    </a:lnTo>
                    <a:lnTo>
                      <a:pt x="2264" y="150"/>
                    </a:lnTo>
                    <a:lnTo>
                      <a:pt x="2264" y="150"/>
                    </a:lnTo>
                    <a:lnTo>
                      <a:pt x="2244" y="152"/>
                    </a:lnTo>
                    <a:lnTo>
                      <a:pt x="2230" y="158"/>
                    </a:lnTo>
                    <a:lnTo>
                      <a:pt x="2220" y="164"/>
                    </a:lnTo>
                    <a:lnTo>
                      <a:pt x="2214" y="172"/>
                    </a:lnTo>
                    <a:lnTo>
                      <a:pt x="2210" y="180"/>
                    </a:lnTo>
                    <a:lnTo>
                      <a:pt x="2204" y="184"/>
                    </a:lnTo>
                    <a:lnTo>
                      <a:pt x="2198" y="186"/>
                    </a:lnTo>
                    <a:lnTo>
                      <a:pt x="2188" y="186"/>
                    </a:lnTo>
                    <a:lnTo>
                      <a:pt x="2188" y="186"/>
                    </a:lnTo>
                    <a:lnTo>
                      <a:pt x="2176" y="184"/>
                    </a:lnTo>
                    <a:lnTo>
                      <a:pt x="2162" y="182"/>
                    </a:lnTo>
                    <a:lnTo>
                      <a:pt x="2140" y="184"/>
                    </a:lnTo>
                    <a:lnTo>
                      <a:pt x="2126" y="184"/>
                    </a:lnTo>
                    <a:lnTo>
                      <a:pt x="2126" y="182"/>
                    </a:lnTo>
                    <a:lnTo>
                      <a:pt x="2126" y="182"/>
                    </a:lnTo>
                    <a:lnTo>
                      <a:pt x="2130" y="178"/>
                    </a:lnTo>
                    <a:lnTo>
                      <a:pt x="2130" y="178"/>
                    </a:lnTo>
                    <a:lnTo>
                      <a:pt x="2134" y="172"/>
                    </a:lnTo>
                    <a:lnTo>
                      <a:pt x="2134" y="170"/>
                    </a:lnTo>
                    <a:lnTo>
                      <a:pt x="2128" y="170"/>
                    </a:lnTo>
                    <a:lnTo>
                      <a:pt x="2120" y="172"/>
                    </a:lnTo>
                    <a:lnTo>
                      <a:pt x="2108" y="176"/>
                    </a:lnTo>
                    <a:lnTo>
                      <a:pt x="2092" y="184"/>
                    </a:lnTo>
                    <a:lnTo>
                      <a:pt x="2074" y="196"/>
                    </a:lnTo>
                    <a:lnTo>
                      <a:pt x="2050" y="210"/>
                    </a:lnTo>
                    <a:lnTo>
                      <a:pt x="2050" y="210"/>
                    </a:lnTo>
                    <a:lnTo>
                      <a:pt x="2028" y="224"/>
                    </a:lnTo>
                    <a:lnTo>
                      <a:pt x="2010" y="234"/>
                    </a:lnTo>
                    <a:lnTo>
                      <a:pt x="1996" y="242"/>
                    </a:lnTo>
                    <a:lnTo>
                      <a:pt x="1986" y="244"/>
                    </a:lnTo>
                    <a:lnTo>
                      <a:pt x="1984" y="244"/>
                    </a:lnTo>
                    <a:lnTo>
                      <a:pt x="1982" y="244"/>
                    </a:lnTo>
                    <a:lnTo>
                      <a:pt x="1984" y="238"/>
                    </a:lnTo>
                    <a:lnTo>
                      <a:pt x="1992" y="228"/>
                    </a:lnTo>
                    <a:lnTo>
                      <a:pt x="2008" y="216"/>
                    </a:lnTo>
                    <a:lnTo>
                      <a:pt x="2008" y="216"/>
                    </a:lnTo>
                    <a:lnTo>
                      <a:pt x="2026" y="200"/>
                    </a:lnTo>
                    <a:lnTo>
                      <a:pt x="2040" y="186"/>
                    </a:lnTo>
                    <a:lnTo>
                      <a:pt x="2050" y="172"/>
                    </a:lnTo>
                    <a:lnTo>
                      <a:pt x="2052" y="166"/>
                    </a:lnTo>
                    <a:lnTo>
                      <a:pt x="2052" y="160"/>
                    </a:lnTo>
                    <a:lnTo>
                      <a:pt x="2052" y="156"/>
                    </a:lnTo>
                    <a:lnTo>
                      <a:pt x="2050" y="150"/>
                    </a:lnTo>
                    <a:lnTo>
                      <a:pt x="2048" y="146"/>
                    </a:lnTo>
                    <a:lnTo>
                      <a:pt x="2042" y="144"/>
                    </a:lnTo>
                    <a:lnTo>
                      <a:pt x="2036" y="140"/>
                    </a:lnTo>
                    <a:lnTo>
                      <a:pt x="2028" y="138"/>
                    </a:lnTo>
                    <a:lnTo>
                      <a:pt x="2004" y="138"/>
                    </a:lnTo>
                    <a:lnTo>
                      <a:pt x="2004" y="138"/>
                    </a:lnTo>
                    <a:lnTo>
                      <a:pt x="1984" y="138"/>
                    </a:lnTo>
                    <a:lnTo>
                      <a:pt x="1972" y="142"/>
                    </a:lnTo>
                    <a:lnTo>
                      <a:pt x="1964" y="146"/>
                    </a:lnTo>
                    <a:lnTo>
                      <a:pt x="1962" y="152"/>
                    </a:lnTo>
                    <a:lnTo>
                      <a:pt x="1960" y="156"/>
                    </a:lnTo>
                    <a:lnTo>
                      <a:pt x="1958" y="162"/>
                    </a:lnTo>
                    <a:lnTo>
                      <a:pt x="1952" y="168"/>
                    </a:lnTo>
                    <a:lnTo>
                      <a:pt x="1940" y="172"/>
                    </a:lnTo>
                    <a:lnTo>
                      <a:pt x="1940" y="172"/>
                    </a:lnTo>
                    <a:lnTo>
                      <a:pt x="1910" y="178"/>
                    </a:lnTo>
                    <a:lnTo>
                      <a:pt x="1886" y="182"/>
                    </a:lnTo>
                    <a:lnTo>
                      <a:pt x="1878" y="182"/>
                    </a:lnTo>
                    <a:lnTo>
                      <a:pt x="1876" y="180"/>
                    </a:lnTo>
                    <a:lnTo>
                      <a:pt x="1880" y="176"/>
                    </a:lnTo>
                    <a:lnTo>
                      <a:pt x="1890" y="172"/>
                    </a:lnTo>
                    <a:lnTo>
                      <a:pt x="1890" y="172"/>
                    </a:lnTo>
                    <a:lnTo>
                      <a:pt x="1916" y="160"/>
                    </a:lnTo>
                    <a:lnTo>
                      <a:pt x="1922" y="154"/>
                    </a:lnTo>
                    <a:lnTo>
                      <a:pt x="1924" y="152"/>
                    </a:lnTo>
                    <a:lnTo>
                      <a:pt x="1924" y="150"/>
                    </a:lnTo>
                    <a:lnTo>
                      <a:pt x="1924" y="148"/>
                    </a:lnTo>
                    <a:lnTo>
                      <a:pt x="1920" y="148"/>
                    </a:lnTo>
                    <a:lnTo>
                      <a:pt x="1906" y="144"/>
                    </a:lnTo>
                    <a:lnTo>
                      <a:pt x="1884" y="142"/>
                    </a:lnTo>
                    <a:lnTo>
                      <a:pt x="1852" y="140"/>
                    </a:lnTo>
                    <a:lnTo>
                      <a:pt x="1852" y="140"/>
                    </a:lnTo>
                    <a:lnTo>
                      <a:pt x="1812" y="142"/>
                    </a:lnTo>
                    <a:lnTo>
                      <a:pt x="1770" y="146"/>
                    </a:lnTo>
                    <a:lnTo>
                      <a:pt x="1730" y="152"/>
                    </a:lnTo>
                    <a:lnTo>
                      <a:pt x="1694" y="160"/>
                    </a:lnTo>
                    <a:lnTo>
                      <a:pt x="1636" y="172"/>
                    </a:lnTo>
                    <a:lnTo>
                      <a:pt x="1616" y="174"/>
                    </a:lnTo>
                    <a:lnTo>
                      <a:pt x="1610" y="174"/>
                    </a:lnTo>
                    <a:lnTo>
                      <a:pt x="1608" y="174"/>
                    </a:lnTo>
                    <a:lnTo>
                      <a:pt x="1608" y="174"/>
                    </a:lnTo>
                    <a:lnTo>
                      <a:pt x="1604" y="170"/>
                    </a:lnTo>
                    <a:lnTo>
                      <a:pt x="1602" y="168"/>
                    </a:lnTo>
                    <a:lnTo>
                      <a:pt x="1604" y="164"/>
                    </a:lnTo>
                    <a:lnTo>
                      <a:pt x="1606" y="162"/>
                    </a:lnTo>
                    <a:lnTo>
                      <a:pt x="1618" y="156"/>
                    </a:lnTo>
                    <a:lnTo>
                      <a:pt x="1636" y="152"/>
                    </a:lnTo>
                    <a:lnTo>
                      <a:pt x="1686" y="142"/>
                    </a:lnTo>
                    <a:lnTo>
                      <a:pt x="1744" y="134"/>
                    </a:lnTo>
                    <a:lnTo>
                      <a:pt x="1744" y="134"/>
                    </a:lnTo>
                    <a:lnTo>
                      <a:pt x="1772" y="130"/>
                    </a:lnTo>
                    <a:lnTo>
                      <a:pt x="1802" y="130"/>
                    </a:lnTo>
                    <a:lnTo>
                      <a:pt x="1864" y="130"/>
                    </a:lnTo>
                    <a:lnTo>
                      <a:pt x="1926" y="130"/>
                    </a:lnTo>
                    <a:lnTo>
                      <a:pt x="1956" y="128"/>
                    </a:lnTo>
                    <a:lnTo>
                      <a:pt x="1984" y="124"/>
                    </a:lnTo>
                    <a:lnTo>
                      <a:pt x="1984" y="124"/>
                    </a:lnTo>
                    <a:lnTo>
                      <a:pt x="2020" y="114"/>
                    </a:lnTo>
                    <a:lnTo>
                      <a:pt x="2054" y="104"/>
                    </a:lnTo>
                    <a:lnTo>
                      <a:pt x="2066" y="98"/>
                    </a:lnTo>
                    <a:lnTo>
                      <a:pt x="2072" y="92"/>
                    </a:lnTo>
                    <a:lnTo>
                      <a:pt x="2072" y="90"/>
                    </a:lnTo>
                    <a:lnTo>
                      <a:pt x="2070" y="88"/>
                    </a:lnTo>
                    <a:lnTo>
                      <a:pt x="2062" y="84"/>
                    </a:lnTo>
                    <a:lnTo>
                      <a:pt x="2062" y="84"/>
                    </a:lnTo>
                    <a:lnTo>
                      <a:pt x="2034" y="78"/>
                    </a:lnTo>
                    <a:lnTo>
                      <a:pt x="2004" y="72"/>
                    </a:lnTo>
                    <a:lnTo>
                      <a:pt x="1988" y="70"/>
                    </a:lnTo>
                    <a:lnTo>
                      <a:pt x="1970" y="68"/>
                    </a:lnTo>
                    <a:lnTo>
                      <a:pt x="1952" y="70"/>
                    </a:lnTo>
                    <a:lnTo>
                      <a:pt x="1932" y="72"/>
                    </a:lnTo>
                    <a:lnTo>
                      <a:pt x="1932" y="72"/>
                    </a:lnTo>
                    <a:lnTo>
                      <a:pt x="1914" y="76"/>
                    </a:lnTo>
                    <a:lnTo>
                      <a:pt x="1916" y="74"/>
                    </a:lnTo>
                    <a:lnTo>
                      <a:pt x="1922" y="70"/>
                    </a:lnTo>
                    <a:lnTo>
                      <a:pt x="1930" y="64"/>
                    </a:lnTo>
                    <a:lnTo>
                      <a:pt x="1936" y="58"/>
                    </a:lnTo>
                    <a:lnTo>
                      <a:pt x="1938" y="56"/>
                    </a:lnTo>
                    <a:lnTo>
                      <a:pt x="1938" y="52"/>
                    </a:lnTo>
                    <a:lnTo>
                      <a:pt x="1936" y="50"/>
                    </a:lnTo>
                    <a:lnTo>
                      <a:pt x="1932" y="46"/>
                    </a:lnTo>
                    <a:lnTo>
                      <a:pt x="1932" y="46"/>
                    </a:lnTo>
                    <a:lnTo>
                      <a:pt x="1922" y="42"/>
                    </a:lnTo>
                    <a:lnTo>
                      <a:pt x="1912" y="42"/>
                    </a:lnTo>
                    <a:lnTo>
                      <a:pt x="1898" y="42"/>
                    </a:lnTo>
                    <a:lnTo>
                      <a:pt x="1884" y="46"/>
                    </a:lnTo>
                    <a:lnTo>
                      <a:pt x="1866" y="48"/>
                    </a:lnTo>
                    <a:lnTo>
                      <a:pt x="1846" y="50"/>
                    </a:lnTo>
                    <a:lnTo>
                      <a:pt x="1822" y="52"/>
                    </a:lnTo>
                    <a:lnTo>
                      <a:pt x="1794" y="50"/>
                    </a:lnTo>
                    <a:lnTo>
                      <a:pt x="1794" y="50"/>
                    </a:lnTo>
                    <a:lnTo>
                      <a:pt x="1766" y="48"/>
                    </a:lnTo>
                    <a:lnTo>
                      <a:pt x="1744" y="48"/>
                    </a:lnTo>
                    <a:lnTo>
                      <a:pt x="1724" y="52"/>
                    </a:lnTo>
                    <a:lnTo>
                      <a:pt x="1708" y="54"/>
                    </a:lnTo>
                    <a:lnTo>
                      <a:pt x="1678" y="60"/>
                    </a:lnTo>
                    <a:lnTo>
                      <a:pt x="1660" y="60"/>
                    </a:lnTo>
                    <a:lnTo>
                      <a:pt x="1638" y="60"/>
                    </a:lnTo>
                    <a:lnTo>
                      <a:pt x="1638" y="60"/>
                    </a:lnTo>
                    <a:lnTo>
                      <a:pt x="1622" y="58"/>
                    </a:lnTo>
                    <a:lnTo>
                      <a:pt x="1616" y="56"/>
                    </a:lnTo>
                    <a:lnTo>
                      <a:pt x="1618" y="54"/>
                    </a:lnTo>
                    <a:lnTo>
                      <a:pt x="1628" y="52"/>
                    </a:lnTo>
                    <a:lnTo>
                      <a:pt x="1692" y="46"/>
                    </a:lnTo>
                    <a:lnTo>
                      <a:pt x="1692" y="46"/>
                    </a:lnTo>
                    <a:lnTo>
                      <a:pt x="1734" y="44"/>
                    </a:lnTo>
                    <a:lnTo>
                      <a:pt x="1794" y="42"/>
                    </a:lnTo>
                    <a:lnTo>
                      <a:pt x="1852" y="38"/>
                    </a:lnTo>
                    <a:lnTo>
                      <a:pt x="1894" y="34"/>
                    </a:lnTo>
                    <a:lnTo>
                      <a:pt x="1894" y="34"/>
                    </a:lnTo>
                    <a:lnTo>
                      <a:pt x="1900" y="32"/>
                    </a:lnTo>
                    <a:lnTo>
                      <a:pt x="1902" y="32"/>
                    </a:lnTo>
                    <a:lnTo>
                      <a:pt x="1902" y="30"/>
                    </a:lnTo>
                    <a:lnTo>
                      <a:pt x="1898" y="28"/>
                    </a:lnTo>
                    <a:lnTo>
                      <a:pt x="1882" y="24"/>
                    </a:lnTo>
                    <a:lnTo>
                      <a:pt x="1858" y="20"/>
                    </a:lnTo>
                    <a:lnTo>
                      <a:pt x="1798" y="12"/>
                    </a:lnTo>
                    <a:lnTo>
                      <a:pt x="1732" y="6"/>
                    </a:lnTo>
                    <a:lnTo>
                      <a:pt x="1732" y="6"/>
                    </a:lnTo>
                    <a:lnTo>
                      <a:pt x="1686" y="2"/>
                    </a:lnTo>
                    <a:lnTo>
                      <a:pt x="1648" y="0"/>
                    </a:lnTo>
                    <a:lnTo>
                      <a:pt x="1618" y="2"/>
                    </a:lnTo>
                    <a:lnTo>
                      <a:pt x="1594" y="2"/>
                    </a:lnTo>
                    <a:lnTo>
                      <a:pt x="1552" y="6"/>
                    </a:lnTo>
                    <a:lnTo>
                      <a:pt x="1528" y="8"/>
                    </a:lnTo>
                    <a:lnTo>
                      <a:pt x="1504" y="6"/>
                    </a:lnTo>
                    <a:lnTo>
                      <a:pt x="1504" y="6"/>
                    </a:lnTo>
                    <a:lnTo>
                      <a:pt x="1480" y="6"/>
                    </a:lnTo>
                    <a:lnTo>
                      <a:pt x="1466" y="8"/>
                    </a:lnTo>
                    <a:lnTo>
                      <a:pt x="1460" y="10"/>
                    </a:lnTo>
                    <a:lnTo>
                      <a:pt x="1458" y="14"/>
                    </a:lnTo>
                    <a:lnTo>
                      <a:pt x="1458" y="16"/>
                    </a:lnTo>
                    <a:lnTo>
                      <a:pt x="1458" y="18"/>
                    </a:lnTo>
                    <a:lnTo>
                      <a:pt x="1452" y="18"/>
                    </a:lnTo>
                    <a:lnTo>
                      <a:pt x="1442" y="16"/>
                    </a:lnTo>
                    <a:lnTo>
                      <a:pt x="1442" y="16"/>
                    </a:lnTo>
                    <a:lnTo>
                      <a:pt x="1420" y="12"/>
                    </a:lnTo>
                    <a:lnTo>
                      <a:pt x="1410" y="14"/>
                    </a:lnTo>
                    <a:lnTo>
                      <a:pt x="1400" y="16"/>
                    </a:lnTo>
                    <a:lnTo>
                      <a:pt x="1384" y="18"/>
                    </a:lnTo>
                    <a:lnTo>
                      <a:pt x="1384" y="18"/>
                    </a:lnTo>
                    <a:lnTo>
                      <a:pt x="1374" y="18"/>
                    </a:lnTo>
                    <a:lnTo>
                      <a:pt x="1368" y="20"/>
                    </a:lnTo>
                    <a:lnTo>
                      <a:pt x="1366" y="24"/>
                    </a:lnTo>
                    <a:lnTo>
                      <a:pt x="1366" y="28"/>
                    </a:lnTo>
                    <a:lnTo>
                      <a:pt x="1370" y="32"/>
                    </a:lnTo>
                    <a:lnTo>
                      <a:pt x="1378" y="36"/>
                    </a:lnTo>
                    <a:lnTo>
                      <a:pt x="1388" y="40"/>
                    </a:lnTo>
                    <a:lnTo>
                      <a:pt x="1402" y="44"/>
                    </a:lnTo>
                    <a:lnTo>
                      <a:pt x="1402" y="44"/>
                    </a:lnTo>
                    <a:lnTo>
                      <a:pt x="1412" y="46"/>
                    </a:lnTo>
                    <a:lnTo>
                      <a:pt x="1416" y="46"/>
                    </a:lnTo>
                    <a:lnTo>
                      <a:pt x="1412" y="48"/>
                    </a:lnTo>
                    <a:lnTo>
                      <a:pt x="1406" y="50"/>
                    </a:lnTo>
                    <a:lnTo>
                      <a:pt x="1386" y="52"/>
                    </a:lnTo>
                    <a:lnTo>
                      <a:pt x="1378" y="54"/>
                    </a:lnTo>
                    <a:lnTo>
                      <a:pt x="1372" y="56"/>
                    </a:lnTo>
                    <a:lnTo>
                      <a:pt x="1372" y="56"/>
                    </a:lnTo>
                    <a:lnTo>
                      <a:pt x="1356" y="62"/>
                    </a:lnTo>
                    <a:lnTo>
                      <a:pt x="1332" y="64"/>
                    </a:lnTo>
                    <a:lnTo>
                      <a:pt x="1318" y="66"/>
                    </a:lnTo>
                    <a:lnTo>
                      <a:pt x="1304" y="64"/>
                    </a:lnTo>
                    <a:lnTo>
                      <a:pt x="1290" y="62"/>
                    </a:lnTo>
                    <a:lnTo>
                      <a:pt x="1278" y="56"/>
                    </a:lnTo>
                    <a:lnTo>
                      <a:pt x="1278" y="56"/>
                    </a:lnTo>
                    <a:lnTo>
                      <a:pt x="1254" y="46"/>
                    </a:lnTo>
                    <a:lnTo>
                      <a:pt x="1242" y="42"/>
                    </a:lnTo>
                    <a:lnTo>
                      <a:pt x="1228" y="38"/>
                    </a:lnTo>
                    <a:lnTo>
                      <a:pt x="1212" y="36"/>
                    </a:lnTo>
                    <a:lnTo>
                      <a:pt x="1194" y="34"/>
                    </a:lnTo>
                    <a:lnTo>
                      <a:pt x="1176" y="36"/>
                    </a:lnTo>
                    <a:lnTo>
                      <a:pt x="1154" y="38"/>
                    </a:lnTo>
                    <a:lnTo>
                      <a:pt x="1154" y="38"/>
                    </a:lnTo>
                    <a:lnTo>
                      <a:pt x="1114" y="44"/>
                    </a:lnTo>
                    <a:lnTo>
                      <a:pt x="1078" y="48"/>
                    </a:lnTo>
                    <a:lnTo>
                      <a:pt x="1064" y="50"/>
                    </a:lnTo>
                    <a:lnTo>
                      <a:pt x="1054" y="54"/>
                    </a:lnTo>
                    <a:lnTo>
                      <a:pt x="1048" y="56"/>
                    </a:lnTo>
                    <a:lnTo>
                      <a:pt x="1048" y="58"/>
                    </a:lnTo>
                    <a:lnTo>
                      <a:pt x="1048" y="60"/>
                    </a:lnTo>
                    <a:lnTo>
                      <a:pt x="1048" y="60"/>
                    </a:lnTo>
                    <a:lnTo>
                      <a:pt x="1054" y="64"/>
                    </a:lnTo>
                    <a:lnTo>
                      <a:pt x="1062" y="66"/>
                    </a:lnTo>
                    <a:lnTo>
                      <a:pt x="1092" y="68"/>
                    </a:lnTo>
                    <a:lnTo>
                      <a:pt x="1128" y="66"/>
                    </a:lnTo>
                    <a:lnTo>
                      <a:pt x="1170" y="66"/>
                    </a:lnTo>
                    <a:lnTo>
                      <a:pt x="1170" y="66"/>
                    </a:lnTo>
                    <a:lnTo>
                      <a:pt x="1208" y="68"/>
                    </a:lnTo>
                    <a:lnTo>
                      <a:pt x="1246" y="72"/>
                    </a:lnTo>
                    <a:lnTo>
                      <a:pt x="1280" y="76"/>
                    </a:lnTo>
                    <a:lnTo>
                      <a:pt x="1314" y="82"/>
                    </a:lnTo>
                    <a:lnTo>
                      <a:pt x="1314" y="82"/>
                    </a:lnTo>
                    <a:lnTo>
                      <a:pt x="1326" y="86"/>
                    </a:lnTo>
                    <a:lnTo>
                      <a:pt x="1332" y="88"/>
                    </a:lnTo>
                    <a:lnTo>
                      <a:pt x="1332" y="90"/>
                    </a:lnTo>
                    <a:lnTo>
                      <a:pt x="1332" y="90"/>
                    </a:lnTo>
                    <a:lnTo>
                      <a:pt x="1326" y="92"/>
                    </a:lnTo>
                    <a:lnTo>
                      <a:pt x="1308" y="92"/>
                    </a:lnTo>
                    <a:lnTo>
                      <a:pt x="1294" y="90"/>
                    </a:lnTo>
                    <a:lnTo>
                      <a:pt x="1282" y="88"/>
                    </a:lnTo>
                    <a:lnTo>
                      <a:pt x="1282" y="88"/>
                    </a:lnTo>
                    <a:lnTo>
                      <a:pt x="1268" y="84"/>
                    </a:lnTo>
                    <a:lnTo>
                      <a:pt x="1252" y="82"/>
                    </a:lnTo>
                    <a:lnTo>
                      <a:pt x="1214" y="78"/>
                    </a:lnTo>
                    <a:lnTo>
                      <a:pt x="1110" y="74"/>
                    </a:lnTo>
                    <a:lnTo>
                      <a:pt x="1110" y="74"/>
                    </a:lnTo>
                    <a:lnTo>
                      <a:pt x="1092" y="76"/>
                    </a:lnTo>
                    <a:lnTo>
                      <a:pt x="1090" y="76"/>
                    </a:lnTo>
                    <a:lnTo>
                      <a:pt x="1092" y="78"/>
                    </a:lnTo>
                    <a:lnTo>
                      <a:pt x="1106" y="84"/>
                    </a:lnTo>
                    <a:lnTo>
                      <a:pt x="1126" y="92"/>
                    </a:lnTo>
                    <a:lnTo>
                      <a:pt x="1148" y="100"/>
                    </a:lnTo>
                    <a:lnTo>
                      <a:pt x="1164" y="108"/>
                    </a:lnTo>
                    <a:lnTo>
                      <a:pt x="1168" y="110"/>
                    </a:lnTo>
                    <a:lnTo>
                      <a:pt x="1168" y="114"/>
                    </a:lnTo>
                    <a:lnTo>
                      <a:pt x="1164" y="116"/>
                    </a:lnTo>
                    <a:lnTo>
                      <a:pt x="1154" y="116"/>
                    </a:lnTo>
                    <a:lnTo>
                      <a:pt x="1154" y="116"/>
                    </a:lnTo>
                    <a:lnTo>
                      <a:pt x="1146" y="118"/>
                    </a:lnTo>
                    <a:lnTo>
                      <a:pt x="1142" y="120"/>
                    </a:lnTo>
                    <a:lnTo>
                      <a:pt x="1138" y="122"/>
                    </a:lnTo>
                    <a:lnTo>
                      <a:pt x="1138" y="126"/>
                    </a:lnTo>
                    <a:lnTo>
                      <a:pt x="1136" y="132"/>
                    </a:lnTo>
                    <a:lnTo>
                      <a:pt x="1138" y="140"/>
                    </a:lnTo>
                    <a:lnTo>
                      <a:pt x="1142" y="148"/>
                    </a:lnTo>
                    <a:lnTo>
                      <a:pt x="1142" y="156"/>
                    </a:lnTo>
                    <a:lnTo>
                      <a:pt x="1142" y="158"/>
                    </a:lnTo>
                    <a:lnTo>
                      <a:pt x="1140" y="160"/>
                    </a:lnTo>
                    <a:lnTo>
                      <a:pt x="1136" y="162"/>
                    </a:lnTo>
                    <a:lnTo>
                      <a:pt x="1132" y="164"/>
                    </a:lnTo>
                    <a:lnTo>
                      <a:pt x="1132" y="164"/>
                    </a:lnTo>
                    <a:lnTo>
                      <a:pt x="1122" y="164"/>
                    </a:lnTo>
                    <a:lnTo>
                      <a:pt x="1114" y="162"/>
                    </a:lnTo>
                    <a:lnTo>
                      <a:pt x="1108" y="158"/>
                    </a:lnTo>
                    <a:lnTo>
                      <a:pt x="1102" y="152"/>
                    </a:lnTo>
                    <a:lnTo>
                      <a:pt x="1094" y="146"/>
                    </a:lnTo>
                    <a:lnTo>
                      <a:pt x="1084" y="142"/>
                    </a:lnTo>
                    <a:lnTo>
                      <a:pt x="1070" y="136"/>
                    </a:lnTo>
                    <a:lnTo>
                      <a:pt x="1052" y="132"/>
                    </a:lnTo>
                    <a:lnTo>
                      <a:pt x="1052" y="132"/>
                    </a:lnTo>
                    <a:lnTo>
                      <a:pt x="1034" y="128"/>
                    </a:lnTo>
                    <a:lnTo>
                      <a:pt x="1016" y="124"/>
                    </a:lnTo>
                    <a:lnTo>
                      <a:pt x="986" y="114"/>
                    </a:lnTo>
                    <a:lnTo>
                      <a:pt x="954" y="104"/>
                    </a:lnTo>
                    <a:lnTo>
                      <a:pt x="936" y="100"/>
                    </a:lnTo>
                    <a:lnTo>
                      <a:pt x="916" y="98"/>
                    </a:lnTo>
                    <a:lnTo>
                      <a:pt x="916" y="98"/>
                    </a:lnTo>
                    <a:lnTo>
                      <a:pt x="896" y="98"/>
                    </a:lnTo>
                    <a:lnTo>
                      <a:pt x="884" y="100"/>
                    </a:lnTo>
                    <a:lnTo>
                      <a:pt x="876" y="102"/>
                    </a:lnTo>
                    <a:lnTo>
                      <a:pt x="874" y="104"/>
                    </a:lnTo>
                    <a:lnTo>
                      <a:pt x="874" y="106"/>
                    </a:lnTo>
                    <a:lnTo>
                      <a:pt x="876" y="112"/>
                    </a:lnTo>
                    <a:lnTo>
                      <a:pt x="884" y="118"/>
                    </a:lnTo>
                    <a:lnTo>
                      <a:pt x="914" y="138"/>
                    </a:lnTo>
                    <a:lnTo>
                      <a:pt x="914" y="138"/>
                    </a:lnTo>
                    <a:lnTo>
                      <a:pt x="926" y="146"/>
                    </a:lnTo>
                    <a:lnTo>
                      <a:pt x="928" y="148"/>
                    </a:lnTo>
                    <a:lnTo>
                      <a:pt x="928" y="150"/>
                    </a:lnTo>
                    <a:lnTo>
                      <a:pt x="922" y="150"/>
                    </a:lnTo>
                    <a:lnTo>
                      <a:pt x="912" y="148"/>
                    </a:lnTo>
                    <a:lnTo>
                      <a:pt x="900" y="148"/>
                    </a:lnTo>
                    <a:lnTo>
                      <a:pt x="888" y="148"/>
                    </a:lnTo>
                    <a:lnTo>
                      <a:pt x="884" y="148"/>
                    </a:lnTo>
                    <a:lnTo>
                      <a:pt x="882" y="150"/>
                    </a:lnTo>
                    <a:lnTo>
                      <a:pt x="882" y="154"/>
                    </a:lnTo>
                    <a:lnTo>
                      <a:pt x="884" y="158"/>
                    </a:lnTo>
                    <a:lnTo>
                      <a:pt x="884" y="158"/>
                    </a:lnTo>
                    <a:lnTo>
                      <a:pt x="886" y="160"/>
                    </a:lnTo>
                    <a:lnTo>
                      <a:pt x="886" y="162"/>
                    </a:lnTo>
                    <a:lnTo>
                      <a:pt x="878" y="160"/>
                    </a:lnTo>
                    <a:lnTo>
                      <a:pt x="866" y="156"/>
                    </a:lnTo>
                    <a:lnTo>
                      <a:pt x="850" y="150"/>
                    </a:lnTo>
                    <a:lnTo>
                      <a:pt x="834" y="148"/>
                    </a:lnTo>
                    <a:lnTo>
                      <a:pt x="824" y="148"/>
                    </a:lnTo>
                    <a:lnTo>
                      <a:pt x="814" y="148"/>
                    </a:lnTo>
                    <a:lnTo>
                      <a:pt x="806" y="152"/>
                    </a:lnTo>
                    <a:lnTo>
                      <a:pt x="796" y="156"/>
                    </a:lnTo>
                    <a:lnTo>
                      <a:pt x="788" y="164"/>
                    </a:lnTo>
                    <a:lnTo>
                      <a:pt x="782" y="172"/>
                    </a:lnTo>
                    <a:lnTo>
                      <a:pt x="782" y="172"/>
                    </a:lnTo>
                    <a:lnTo>
                      <a:pt x="770" y="190"/>
                    </a:lnTo>
                    <a:lnTo>
                      <a:pt x="772" y="180"/>
                    </a:lnTo>
                    <a:lnTo>
                      <a:pt x="776" y="168"/>
                    </a:lnTo>
                    <a:lnTo>
                      <a:pt x="776" y="154"/>
                    </a:lnTo>
                    <a:lnTo>
                      <a:pt x="774" y="138"/>
                    </a:lnTo>
                    <a:lnTo>
                      <a:pt x="772" y="132"/>
                    </a:lnTo>
                    <a:lnTo>
                      <a:pt x="766" y="124"/>
                    </a:lnTo>
                    <a:lnTo>
                      <a:pt x="766" y="124"/>
                    </a:lnTo>
                    <a:lnTo>
                      <a:pt x="756" y="114"/>
                    </a:lnTo>
                    <a:lnTo>
                      <a:pt x="746" y="108"/>
                    </a:lnTo>
                    <a:lnTo>
                      <a:pt x="732" y="108"/>
                    </a:lnTo>
                    <a:lnTo>
                      <a:pt x="716" y="110"/>
                    </a:lnTo>
                    <a:lnTo>
                      <a:pt x="672" y="120"/>
                    </a:lnTo>
                    <a:lnTo>
                      <a:pt x="640" y="126"/>
                    </a:lnTo>
                    <a:lnTo>
                      <a:pt x="598" y="130"/>
                    </a:lnTo>
                    <a:lnTo>
                      <a:pt x="598" y="130"/>
                    </a:lnTo>
                    <a:lnTo>
                      <a:pt x="558" y="136"/>
                    </a:lnTo>
                    <a:lnTo>
                      <a:pt x="526" y="140"/>
                    </a:lnTo>
                    <a:lnTo>
                      <a:pt x="502" y="146"/>
                    </a:lnTo>
                    <a:lnTo>
                      <a:pt x="484" y="152"/>
                    </a:lnTo>
                    <a:lnTo>
                      <a:pt x="472" y="156"/>
                    </a:lnTo>
                    <a:lnTo>
                      <a:pt x="466" y="164"/>
                    </a:lnTo>
                    <a:lnTo>
                      <a:pt x="466" y="166"/>
                    </a:lnTo>
                    <a:lnTo>
                      <a:pt x="466" y="170"/>
                    </a:lnTo>
                    <a:lnTo>
                      <a:pt x="470" y="176"/>
                    </a:lnTo>
                    <a:lnTo>
                      <a:pt x="470" y="17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 rtlCol="0"/>
              <a:lstStyle/>
              <a:p>
                <a:pPr rtl="0"/>
                <a:endParaRPr lang="ru-RU" b="1" dirty="0"/>
              </a:p>
            </p:txBody>
          </p:sp>
        </p:grpSp>
        <p:sp>
          <p:nvSpPr>
            <p:cNvPr id="128" name="Полилиния 6134">
              <a:extLst>
                <a:ext uri="{FF2B5EF4-FFF2-40B4-BE49-F238E27FC236}">
                  <a16:creationId xmlns:a16="http://schemas.microsoft.com/office/drawing/2014/main" xmlns="" id="{9AA6E2EB-C12A-4D98-89AF-9D6AEEF264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194" y="3600446"/>
              <a:ext cx="3809" cy="507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2" y="8"/>
                  </a:lnTo>
                  <a:lnTo>
                    <a:pt x="4" y="8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  <p:sp>
          <p:nvSpPr>
            <p:cNvPr id="129" name="Полилиния 6135">
              <a:extLst>
                <a:ext uri="{FF2B5EF4-FFF2-40B4-BE49-F238E27FC236}">
                  <a16:creationId xmlns:a16="http://schemas.microsoft.com/office/drawing/2014/main" xmlns="" id="{01E00D08-2933-4518-B97E-8F3A5F296B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423" y="3592171"/>
              <a:ext cx="1587" cy="1586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  <p:sp>
          <p:nvSpPr>
            <p:cNvPr id="130" name="Полилиния 6136">
              <a:extLst>
                <a:ext uri="{FF2B5EF4-FFF2-40B4-BE49-F238E27FC236}">
                  <a16:creationId xmlns:a16="http://schemas.microsoft.com/office/drawing/2014/main" xmlns="" id="{49142714-7DBA-4AEB-A5B6-581E0AF27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2704" y="3591559"/>
              <a:ext cx="3809" cy="5078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8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  <p:sp>
          <p:nvSpPr>
            <p:cNvPr id="131" name="Полилиния 6138">
              <a:extLst>
                <a:ext uri="{FF2B5EF4-FFF2-40B4-BE49-F238E27FC236}">
                  <a16:creationId xmlns:a16="http://schemas.microsoft.com/office/drawing/2014/main" xmlns="" id="{CB7EFC25-C4A1-4B6D-9D83-EB0C5C867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121" y="3604181"/>
              <a:ext cx="2539" cy="380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  <p:sp>
          <p:nvSpPr>
            <p:cNvPr id="132" name="Полилиния 6144">
              <a:extLst>
                <a:ext uri="{FF2B5EF4-FFF2-40B4-BE49-F238E27FC236}">
                  <a16:creationId xmlns:a16="http://schemas.microsoft.com/office/drawing/2014/main" xmlns="" id="{A1FD1648-3A31-4D6B-B480-071FDCB67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0105" y="3582584"/>
              <a:ext cx="5081" cy="3809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  <p:sp>
          <p:nvSpPr>
            <p:cNvPr id="133" name="Полилиния 6149">
              <a:extLst>
                <a:ext uri="{FF2B5EF4-FFF2-40B4-BE49-F238E27FC236}">
                  <a16:creationId xmlns:a16="http://schemas.microsoft.com/office/drawing/2014/main" xmlns="" id="{35C694B1-D165-404F-8D9E-97E505B5C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3726" y="3592044"/>
              <a:ext cx="3175" cy="1586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  <p:sp>
          <p:nvSpPr>
            <p:cNvPr id="134" name="Полилиния 6150">
              <a:extLst>
                <a:ext uri="{FF2B5EF4-FFF2-40B4-BE49-F238E27FC236}">
                  <a16:creationId xmlns:a16="http://schemas.microsoft.com/office/drawing/2014/main" xmlns="" id="{3E9D458F-DABF-4B99-8418-70F83E657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330" y="3600797"/>
              <a:ext cx="3809" cy="253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rtlCol="0"/>
            <a:lstStyle/>
            <a:p>
              <a:pPr rtl="0"/>
              <a:endParaRPr lang="ru-RU" b="1" dirty="0"/>
            </a:p>
          </p:txBody>
        </p:sp>
      </p:grpSp>
      <p:sp>
        <p:nvSpPr>
          <p:cNvPr id="1028" name="Овал 1027">
            <a:extLst>
              <a:ext uri="{FF2B5EF4-FFF2-40B4-BE49-F238E27FC236}">
                <a16:creationId xmlns:a16="http://schemas.microsoft.com/office/drawing/2014/main" xmlns="" id="{C98C02B3-B192-4C19-95D4-A5FA419DA95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8467385" y="4060864"/>
            <a:ext cx="581993" cy="501511"/>
          </a:xfrm>
          <a:prstGeom prst="ellipse">
            <a:avLst/>
          </a:prstGeom>
          <a:solidFill>
            <a:srgbClr val="CE295E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92" name="Овал 191">
            <a:extLst>
              <a:ext uri="{FF2B5EF4-FFF2-40B4-BE49-F238E27FC236}">
                <a16:creationId xmlns:a16="http://schemas.microsoft.com/office/drawing/2014/main" xmlns="" id="{7917D667-8C6B-4BE2-89A8-EE34784ECF4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8467385" y="4877162"/>
            <a:ext cx="581993" cy="581993"/>
          </a:xfrm>
          <a:prstGeom prst="ellipse">
            <a:avLst/>
          </a:prstGeom>
          <a:solidFill>
            <a:srgbClr val="404040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93" name="Овал 192">
            <a:extLst>
              <a:ext uri="{FF2B5EF4-FFF2-40B4-BE49-F238E27FC236}">
                <a16:creationId xmlns:a16="http://schemas.microsoft.com/office/drawing/2014/main" xmlns="" id="{2EDD0A13-925F-4A1B-ABFB-3C67C135796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8467385" y="5693459"/>
            <a:ext cx="581993" cy="581993"/>
          </a:xfrm>
          <a:prstGeom prst="ellipse">
            <a:avLst/>
          </a:prstGeom>
          <a:solidFill>
            <a:srgbClr val="7F7F7F"/>
          </a:solidFill>
          <a:ln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94" name="Полилиния 154" descr="Это логотип Facebook.">
            <a:extLst>
              <a:ext uri="{FF2B5EF4-FFF2-40B4-BE49-F238E27FC236}">
                <a16:creationId xmlns:a16="http://schemas.microsoft.com/office/drawing/2014/main" xmlns="" id="{BA54671E-ACFD-4428-B4B7-A37E5BA61CB3}"/>
              </a:ext>
            </a:extLst>
          </p:cNvPr>
          <p:cNvSpPr>
            <a:spLocks/>
          </p:cNvSpPr>
          <p:nvPr/>
        </p:nvSpPr>
        <p:spPr bwMode="auto">
          <a:xfrm>
            <a:off x="8689204" y="4222451"/>
            <a:ext cx="138355" cy="258819"/>
          </a:xfrm>
          <a:custGeom>
            <a:avLst/>
            <a:gdLst>
              <a:gd name="T0" fmla="*/ 49 w 49"/>
              <a:gd name="T1" fmla="*/ 28 h 92"/>
              <a:gd name="T2" fmla="*/ 32 w 49"/>
              <a:gd name="T3" fmla="*/ 28 h 92"/>
              <a:gd name="T4" fmla="*/ 32 w 49"/>
              <a:gd name="T5" fmla="*/ 20 h 92"/>
              <a:gd name="T6" fmla="*/ 36 w 49"/>
              <a:gd name="T7" fmla="*/ 16 h 92"/>
              <a:gd name="T8" fmla="*/ 48 w 49"/>
              <a:gd name="T9" fmla="*/ 16 h 92"/>
              <a:gd name="T10" fmla="*/ 48 w 49"/>
              <a:gd name="T11" fmla="*/ 0 h 92"/>
              <a:gd name="T12" fmla="*/ 31 w 49"/>
              <a:gd name="T13" fmla="*/ 0 h 92"/>
              <a:gd name="T14" fmla="*/ 12 w 49"/>
              <a:gd name="T15" fmla="*/ 19 h 92"/>
              <a:gd name="T16" fmla="*/ 12 w 49"/>
              <a:gd name="T17" fmla="*/ 28 h 92"/>
              <a:gd name="T18" fmla="*/ 0 w 49"/>
              <a:gd name="T19" fmla="*/ 28 h 92"/>
              <a:gd name="T20" fmla="*/ 0 w 49"/>
              <a:gd name="T21" fmla="*/ 44 h 92"/>
              <a:gd name="T22" fmla="*/ 12 w 49"/>
              <a:gd name="T23" fmla="*/ 44 h 92"/>
              <a:gd name="T24" fmla="*/ 12 w 49"/>
              <a:gd name="T25" fmla="*/ 92 h 92"/>
              <a:gd name="T26" fmla="*/ 32 w 49"/>
              <a:gd name="T27" fmla="*/ 92 h 92"/>
              <a:gd name="T28" fmla="*/ 32 w 49"/>
              <a:gd name="T29" fmla="*/ 44 h 92"/>
              <a:gd name="T30" fmla="*/ 47 w 49"/>
              <a:gd name="T31" fmla="*/ 44 h 92"/>
              <a:gd name="T32" fmla="*/ 49 w 49"/>
              <a:gd name="T33" fmla="*/ 28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9" h="92">
                <a:moveTo>
                  <a:pt x="49" y="28"/>
                </a:moveTo>
                <a:cubicBezTo>
                  <a:pt x="32" y="28"/>
                  <a:pt x="32" y="28"/>
                  <a:pt x="32" y="28"/>
                </a:cubicBezTo>
                <a:cubicBezTo>
                  <a:pt x="32" y="20"/>
                  <a:pt x="32" y="20"/>
                  <a:pt x="32" y="20"/>
                </a:cubicBezTo>
                <a:cubicBezTo>
                  <a:pt x="32" y="17"/>
                  <a:pt x="34" y="16"/>
                  <a:pt x="36" y="16"/>
                </a:cubicBezTo>
                <a:cubicBezTo>
                  <a:pt x="38" y="16"/>
                  <a:pt x="48" y="16"/>
                  <a:pt x="48" y="16"/>
                </a:cubicBezTo>
                <a:cubicBezTo>
                  <a:pt x="48" y="0"/>
                  <a:pt x="48" y="0"/>
                  <a:pt x="48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15" y="0"/>
                  <a:pt x="12" y="12"/>
                  <a:pt x="12" y="19"/>
                </a:cubicBezTo>
                <a:cubicBezTo>
                  <a:pt x="12" y="28"/>
                  <a:pt x="12" y="28"/>
                  <a:pt x="12" y="2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44"/>
                  <a:pt x="0" y="44"/>
                  <a:pt x="0" y="44"/>
                </a:cubicBezTo>
                <a:cubicBezTo>
                  <a:pt x="12" y="44"/>
                  <a:pt x="12" y="44"/>
                  <a:pt x="12" y="44"/>
                </a:cubicBezTo>
                <a:cubicBezTo>
                  <a:pt x="12" y="65"/>
                  <a:pt x="12" y="92"/>
                  <a:pt x="12" y="92"/>
                </a:cubicBezTo>
                <a:cubicBezTo>
                  <a:pt x="32" y="92"/>
                  <a:pt x="32" y="92"/>
                  <a:pt x="32" y="92"/>
                </a:cubicBezTo>
                <a:cubicBezTo>
                  <a:pt x="32" y="92"/>
                  <a:pt x="32" y="64"/>
                  <a:pt x="32" y="44"/>
                </a:cubicBezTo>
                <a:cubicBezTo>
                  <a:pt x="47" y="44"/>
                  <a:pt x="47" y="44"/>
                  <a:pt x="47" y="44"/>
                </a:cubicBezTo>
                <a:lnTo>
                  <a:pt x="49" y="2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ru-RU" dirty="0"/>
          </a:p>
        </p:txBody>
      </p:sp>
      <p:sp>
        <p:nvSpPr>
          <p:cNvPr id="196" name="Полилиния 162" descr="Это логотип Twitter.">
            <a:extLst>
              <a:ext uri="{FF2B5EF4-FFF2-40B4-BE49-F238E27FC236}">
                <a16:creationId xmlns:a16="http://schemas.microsoft.com/office/drawing/2014/main" xmlns="" id="{8AD2DF00-0982-4B28-B4A0-DF7B4B6DA358}"/>
              </a:ext>
            </a:extLst>
          </p:cNvPr>
          <p:cNvSpPr>
            <a:spLocks/>
          </p:cNvSpPr>
          <p:nvPr/>
        </p:nvSpPr>
        <p:spPr bwMode="auto">
          <a:xfrm>
            <a:off x="8631357" y="5066778"/>
            <a:ext cx="254048" cy="202761"/>
          </a:xfrm>
          <a:custGeom>
            <a:avLst/>
            <a:gdLst>
              <a:gd name="T0" fmla="*/ 90 w 90"/>
              <a:gd name="T1" fmla="*/ 9 h 72"/>
              <a:gd name="T2" fmla="*/ 81 w 90"/>
              <a:gd name="T3" fmla="*/ 9 h 72"/>
              <a:gd name="T4" fmla="*/ 86 w 90"/>
              <a:gd name="T5" fmla="*/ 1 h 72"/>
              <a:gd name="T6" fmla="*/ 75 w 90"/>
              <a:gd name="T7" fmla="*/ 6 h 72"/>
              <a:gd name="T8" fmla="*/ 61 w 90"/>
              <a:gd name="T9" fmla="*/ 0 h 72"/>
              <a:gd name="T10" fmla="*/ 43 w 90"/>
              <a:gd name="T11" fmla="*/ 18 h 72"/>
              <a:gd name="T12" fmla="*/ 44 w 90"/>
              <a:gd name="T13" fmla="*/ 22 h 72"/>
              <a:gd name="T14" fmla="*/ 6 w 90"/>
              <a:gd name="T15" fmla="*/ 3 h 72"/>
              <a:gd name="T16" fmla="*/ 4 w 90"/>
              <a:gd name="T17" fmla="*/ 12 h 72"/>
              <a:gd name="T18" fmla="*/ 12 w 90"/>
              <a:gd name="T19" fmla="*/ 28 h 72"/>
              <a:gd name="T20" fmla="*/ 4 w 90"/>
              <a:gd name="T21" fmla="*/ 25 h 72"/>
              <a:gd name="T22" fmla="*/ 4 w 90"/>
              <a:gd name="T23" fmla="*/ 26 h 72"/>
              <a:gd name="T24" fmla="*/ 18 w 90"/>
              <a:gd name="T25" fmla="*/ 43 h 72"/>
              <a:gd name="T26" fmla="*/ 10 w 90"/>
              <a:gd name="T27" fmla="*/ 44 h 72"/>
              <a:gd name="T28" fmla="*/ 27 w 90"/>
              <a:gd name="T29" fmla="*/ 56 h 72"/>
              <a:gd name="T30" fmla="*/ 0 w 90"/>
              <a:gd name="T31" fmla="*/ 64 h 72"/>
              <a:gd name="T32" fmla="*/ 28 w 90"/>
              <a:gd name="T33" fmla="*/ 72 h 72"/>
              <a:gd name="T34" fmla="*/ 80 w 90"/>
              <a:gd name="T35" fmla="*/ 20 h 72"/>
              <a:gd name="T36" fmla="*/ 80 w 90"/>
              <a:gd name="T37" fmla="*/ 18 h 72"/>
              <a:gd name="T38" fmla="*/ 90 w 90"/>
              <a:gd name="T39" fmla="*/ 9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0" h="72">
                <a:moveTo>
                  <a:pt x="90" y="9"/>
                </a:moveTo>
                <a:cubicBezTo>
                  <a:pt x="87" y="11"/>
                  <a:pt x="84" y="11"/>
                  <a:pt x="81" y="9"/>
                </a:cubicBezTo>
                <a:cubicBezTo>
                  <a:pt x="85" y="7"/>
                  <a:pt x="85" y="6"/>
                  <a:pt x="86" y="1"/>
                </a:cubicBezTo>
                <a:cubicBezTo>
                  <a:pt x="83" y="3"/>
                  <a:pt x="79" y="5"/>
                  <a:pt x="75" y="6"/>
                </a:cubicBezTo>
                <a:cubicBezTo>
                  <a:pt x="71" y="2"/>
                  <a:pt x="67" y="0"/>
                  <a:pt x="61" y="0"/>
                </a:cubicBezTo>
                <a:cubicBezTo>
                  <a:pt x="51" y="0"/>
                  <a:pt x="43" y="8"/>
                  <a:pt x="43" y="18"/>
                </a:cubicBezTo>
                <a:cubicBezTo>
                  <a:pt x="43" y="20"/>
                  <a:pt x="43" y="21"/>
                  <a:pt x="44" y="22"/>
                </a:cubicBezTo>
                <a:cubicBezTo>
                  <a:pt x="29" y="22"/>
                  <a:pt x="15" y="14"/>
                  <a:pt x="6" y="3"/>
                </a:cubicBezTo>
                <a:cubicBezTo>
                  <a:pt x="5" y="6"/>
                  <a:pt x="4" y="9"/>
                  <a:pt x="4" y="12"/>
                </a:cubicBezTo>
                <a:cubicBezTo>
                  <a:pt x="4" y="19"/>
                  <a:pt x="7" y="24"/>
                  <a:pt x="12" y="28"/>
                </a:cubicBezTo>
                <a:cubicBezTo>
                  <a:pt x="9" y="27"/>
                  <a:pt x="6" y="27"/>
                  <a:pt x="4" y="25"/>
                </a:cubicBezTo>
                <a:cubicBezTo>
                  <a:pt x="4" y="25"/>
                  <a:pt x="4" y="25"/>
                  <a:pt x="4" y="26"/>
                </a:cubicBezTo>
                <a:cubicBezTo>
                  <a:pt x="4" y="34"/>
                  <a:pt x="10" y="42"/>
                  <a:pt x="18" y="43"/>
                </a:cubicBezTo>
                <a:cubicBezTo>
                  <a:pt x="15" y="44"/>
                  <a:pt x="13" y="44"/>
                  <a:pt x="10" y="44"/>
                </a:cubicBezTo>
                <a:cubicBezTo>
                  <a:pt x="12" y="51"/>
                  <a:pt x="19" y="56"/>
                  <a:pt x="27" y="56"/>
                </a:cubicBezTo>
                <a:cubicBezTo>
                  <a:pt x="19" y="62"/>
                  <a:pt x="9" y="65"/>
                  <a:pt x="0" y="64"/>
                </a:cubicBezTo>
                <a:cubicBezTo>
                  <a:pt x="8" y="69"/>
                  <a:pt x="18" y="72"/>
                  <a:pt x="28" y="72"/>
                </a:cubicBezTo>
                <a:cubicBezTo>
                  <a:pt x="61" y="72"/>
                  <a:pt x="80" y="44"/>
                  <a:pt x="80" y="20"/>
                </a:cubicBezTo>
                <a:cubicBezTo>
                  <a:pt x="80" y="19"/>
                  <a:pt x="80" y="19"/>
                  <a:pt x="80" y="18"/>
                </a:cubicBezTo>
                <a:cubicBezTo>
                  <a:pt x="83" y="15"/>
                  <a:pt x="87" y="13"/>
                  <a:pt x="90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ru-RU" dirty="0"/>
          </a:p>
        </p:txBody>
      </p:sp>
      <p:grpSp>
        <p:nvGrpSpPr>
          <p:cNvPr id="197" name="Группа 196" descr="Это логотип Instagram.">
            <a:extLst>
              <a:ext uri="{FF2B5EF4-FFF2-40B4-BE49-F238E27FC236}">
                <a16:creationId xmlns:a16="http://schemas.microsoft.com/office/drawing/2014/main" xmlns="" id="{105EB04D-523A-471B-94D7-64FDA15599AA}"/>
              </a:ext>
            </a:extLst>
          </p:cNvPr>
          <p:cNvGrpSpPr/>
          <p:nvPr/>
        </p:nvGrpSpPr>
        <p:grpSpPr>
          <a:xfrm>
            <a:off x="8634339" y="5859817"/>
            <a:ext cx="248085" cy="249277"/>
            <a:chOff x="3406775" y="2181225"/>
            <a:chExt cx="330200" cy="331788"/>
          </a:xfrm>
          <a:solidFill>
            <a:schemeClr val="bg1"/>
          </a:solidFill>
        </p:grpSpPr>
        <p:sp>
          <p:nvSpPr>
            <p:cNvPr id="198" name="Овал 190">
              <a:extLst>
                <a:ext uri="{FF2B5EF4-FFF2-40B4-BE49-F238E27FC236}">
                  <a16:creationId xmlns:a16="http://schemas.microsoft.com/office/drawing/2014/main" xmlns="" id="{BD285FB7-C65E-4A4F-9730-2C7BDE0855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1388" y="2257425"/>
              <a:ext cx="180975" cy="1793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199" name="Полилиния 191">
              <a:extLst>
                <a:ext uri="{FF2B5EF4-FFF2-40B4-BE49-F238E27FC236}">
                  <a16:creationId xmlns:a16="http://schemas.microsoft.com/office/drawing/2014/main" xmlns="" id="{BBC06FF8-9B23-4376-9786-14D97DD1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6938" y="2181225"/>
              <a:ext cx="14288" cy="112713"/>
            </a:xfrm>
            <a:custGeom>
              <a:avLst/>
              <a:gdLst>
                <a:gd name="T0" fmla="*/ 4 w 4"/>
                <a:gd name="T1" fmla="*/ 0 h 30"/>
                <a:gd name="T2" fmla="*/ 0 w 4"/>
                <a:gd name="T3" fmla="*/ 1 h 30"/>
                <a:gd name="T4" fmla="*/ 0 w 4"/>
                <a:gd name="T5" fmla="*/ 30 h 30"/>
                <a:gd name="T6" fmla="*/ 4 w 4"/>
                <a:gd name="T7" fmla="*/ 30 h 30"/>
                <a:gd name="T8" fmla="*/ 4 w 4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0">
                  <a:moveTo>
                    <a:pt x="4" y="0"/>
                  </a:moveTo>
                  <a:cubicBezTo>
                    <a:pt x="3" y="0"/>
                    <a:pt x="1" y="1"/>
                    <a:pt x="0" y="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" y="30"/>
                    <a:pt x="4" y="30"/>
                    <a:pt x="4" y="30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200" name="Полилиния 192">
              <a:extLst>
                <a:ext uri="{FF2B5EF4-FFF2-40B4-BE49-F238E27FC236}">
                  <a16:creationId xmlns:a16="http://schemas.microsoft.com/office/drawing/2014/main" xmlns="" id="{C6700C49-7AD6-494F-83F0-8DEBBC73A8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0" y="2181225"/>
              <a:ext cx="14288" cy="112713"/>
            </a:xfrm>
            <a:custGeom>
              <a:avLst/>
              <a:gdLst>
                <a:gd name="T0" fmla="*/ 4 w 4"/>
                <a:gd name="T1" fmla="*/ 30 h 30"/>
                <a:gd name="T2" fmla="*/ 4 w 4"/>
                <a:gd name="T3" fmla="*/ 0 h 30"/>
                <a:gd name="T4" fmla="*/ 0 w 4"/>
                <a:gd name="T5" fmla="*/ 0 h 30"/>
                <a:gd name="T6" fmla="*/ 0 w 4"/>
                <a:gd name="T7" fmla="*/ 30 h 30"/>
                <a:gd name="T8" fmla="*/ 4 w 4"/>
                <a:gd name="T9" fmla="*/ 30 h 30"/>
                <a:gd name="T10" fmla="*/ 4 w 4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0">
                  <a:moveTo>
                    <a:pt x="4" y="3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  <p:sp>
          <p:nvSpPr>
            <p:cNvPr id="201" name="Полилиния 193">
              <a:extLst>
                <a:ext uri="{FF2B5EF4-FFF2-40B4-BE49-F238E27FC236}">
                  <a16:creationId xmlns:a16="http://schemas.microsoft.com/office/drawing/2014/main" xmlns="" id="{4134947C-4D7B-463E-A659-A8F440E310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6775" y="2181225"/>
              <a:ext cx="330200" cy="331788"/>
            </a:xfrm>
            <a:custGeom>
              <a:avLst/>
              <a:gdLst>
                <a:gd name="T0" fmla="*/ 88 w 88"/>
                <a:gd name="T1" fmla="*/ 71 h 88"/>
                <a:gd name="T2" fmla="*/ 88 w 88"/>
                <a:gd name="T3" fmla="*/ 30 h 88"/>
                <a:gd name="T4" fmla="*/ 88 w 88"/>
                <a:gd name="T5" fmla="*/ 17 h 88"/>
                <a:gd name="T6" fmla="*/ 88 w 88"/>
                <a:gd name="T7" fmla="*/ 14 h 88"/>
                <a:gd name="T8" fmla="*/ 74 w 88"/>
                <a:gd name="T9" fmla="*/ 0 h 88"/>
                <a:gd name="T10" fmla="*/ 24 w 88"/>
                <a:gd name="T11" fmla="*/ 0 h 88"/>
                <a:gd name="T12" fmla="*/ 24 w 88"/>
                <a:gd name="T13" fmla="*/ 24 h 88"/>
                <a:gd name="T14" fmla="*/ 44 w 88"/>
                <a:gd name="T15" fmla="*/ 16 h 88"/>
                <a:gd name="T16" fmla="*/ 68 w 88"/>
                <a:gd name="T17" fmla="*/ 30 h 88"/>
                <a:gd name="T18" fmla="*/ 84 w 88"/>
                <a:gd name="T19" fmla="*/ 30 h 88"/>
                <a:gd name="T20" fmla="*/ 84 w 88"/>
                <a:gd name="T21" fmla="*/ 71 h 88"/>
                <a:gd name="T22" fmla="*/ 71 w 88"/>
                <a:gd name="T23" fmla="*/ 84 h 88"/>
                <a:gd name="T24" fmla="*/ 17 w 88"/>
                <a:gd name="T25" fmla="*/ 84 h 88"/>
                <a:gd name="T26" fmla="*/ 4 w 88"/>
                <a:gd name="T27" fmla="*/ 71 h 88"/>
                <a:gd name="T28" fmla="*/ 4 w 88"/>
                <a:gd name="T29" fmla="*/ 30 h 88"/>
                <a:gd name="T30" fmla="*/ 4 w 88"/>
                <a:gd name="T31" fmla="*/ 17 h 88"/>
                <a:gd name="T32" fmla="*/ 4 w 88"/>
                <a:gd name="T33" fmla="*/ 4 h 88"/>
                <a:gd name="T34" fmla="*/ 0 w 88"/>
                <a:gd name="T35" fmla="*/ 14 h 88"/>
                <a:gd name="T36" fmla="*/ 0 w 88"/>
                <a:gd name="T37" fmla="*/ 17 h 88"/>
                <a:gd name="T38" fmla="*/ 0 w 88"/>
                <a:gd name="T39" fmla="*/ 30 h 88"/>
                <a:gd name="T40" fmla="*/ 0 w 88"/>
                <a:gd name="T41" fmla="*/ 71 h 88"/>
                <a:gd name="T42" fmla="*/ 17 w 88"/>
                <a:gd name="T43" fmla="*/ 88 h 88"/>
                <a:gd name="T44" fmla="*/ 71 w 88"/>
                <a:gd name="T45" fmla="*/ 88 h 88"/>
                <a:gd name="T46" fmla="*/ 88 w 88"/>
                <a:gd name="T47" fmla="*/ 71 h 88"/>
                <a:gd name="T48" fmla="*/ 82 w 88"/>
                <a:gd name="T49" fmla="*/ 24 h 88"/>
                <a:gd name="T50" fmla="*/ 70 w 88"/>
                <a:gd name="T51" fmla="*/ 24 h 88"/>
                <a:gd name="T52" fmla="*/ 68 w 88"/>
                <a:gd name="T53" fmla="*/ 22 h 88"/>
                <a:gd name="T54" fmla="*/ 68 w 88"/>
                <a:gd name="T55" fmla="*/ 10 h 88"/>
                <a:gd name="T56" fmla="*/ 70 w 88"/>
                <a:gd name="T57" fmla="*/ 8 h 88"/>
                <a:gd name="T58" fmla="*/ 82 w 88"/>
                <a:gd name="T59" fmla="*/ 8 h 88"/>
                <a:gd name="T60" fmla="*/ 84 w 88"/>
                <a:gd name="T61" fmla="*/ 10 h 88"/>
                <a:gd name="T62" fmla="*/ 84 w 88"/>
                <a:gd name="T63" fmla="*/ 17 h 88"/>
                <a:gd name="T64" fmla="*/ 84 w 88"/>
                <a:gd name="T65" fmla="*/ 22 h 88"/>
                <a:gd name="T66" fmla="*/ 82 w 88"/>
                <a:gd name="T67" fmla="*/ 2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8">
                  <a:moveTo>
                    <a:pt x="88" y="71"/>
                  </a:moveTo>
                  <a:cubicBezTo>
                    <a:pt x="88" y="30"/>
                    <a:pt x="88" y="30"/>
                    <a:pt x="88" y="30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88" y="6"/>
                    <a:pt x="82" y="0"/>
                    <a:pt x="7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9" y="19"/>
                    <a:pt x="36" y="16"/>
                    <a:pt x="44" y="16"/>
                  </a:cubicBezTo>
                  <a:cubicBezTo>
                    <a:pt x="54" y="16"/>
                    <a:pt x="63" y="22"/>
                    <a:pt x="68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71"/>
                    <a:pt x="84" y="71"/>
                    <a:pt x="84" y="71"/>
                  </a:cubicBezTo>
                  <a:cubicBezTo>
                    <a:pt x="84" y="78"/>
                    <a:pt x="78" y="84"/>
                    <a:pt x="71" y="84"/>
                  </a:cubicBezTo>
                  <a:cubicBezTo>
                    <a:pt x="17" y="84"/>
                    <a:pt x="17" y="84"/>
                    <a:pt x="17" y="84"/>
                  </a:cubicBezTo>
                  <a:cubicBezTo>
                    <a:pt x="10" y="84"/>
                    <a:pt x="4" y="78"/>
                    <a:pt x="4" y="71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7"/>
                    <a:pt x="0" y="10"/>
                    <a:pt x="0" y="1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81"/>
                    <a:pt x="7" y="88"/>
                    <a:pt x="17" y="88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81" y="88"/>
                    <a:pt x="88" y="81"/>
                    <a:pt x="88" y="71"/>
                  </a:cubicBezTo>
                  <a:close/>
                  <a:moveTo>
                    <a:pt x="82" y="24"/>
                  </a:moveTo>
                  <a:cubicBezTo>
                    <a:pt x="70" y="24"/>
                    <a:pt x="70" y="24"/>
                    <a:pt x="70" y="24"/>
                  </a:cubicBezTo>
                  <a:cubicBezTo>
                    <a:pt x="69" y="24"/>
                    <a:pt x="68" y="23"/>
                    <a:pt x="68" y="22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8" y="9"/>
                    <a:pt x="69" y="8"/>
                    <a:pt x="70" y="8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3" y="8"/>
                    <a:pt x="84" y="9"/>
                    <a:pt x="84" y="10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23"/>
                    <a:pt x="83" y="24"/>
                    <a:pt x="8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ru-RU" dirty="0"/>
            </a:p>
          </p:txBody>
        </p:sp>
      </p:grpSp>
      <p:sp>
        <p:nvSpPr>
          <p:cNvPr id="202" name="Прямоугольник 201">
            <a:extLst>
              <a:ext uri="{FF2B5EF4-FFF2-40B4-BE49-F238E27FC236}">
                <a16:creationId xmlns:a16="http://schemas.microsoft.com/office/drawing/2014/main" xmlns="" id="{70D38E9A-94A7-447A-89C1-EB62E888BD09}"/>
              </a:ext>
            </a:extLst>
          </p:cNvPr>
          <p:cNvSpPr/>
          <p:nvPr/>
        </p:nvSpPr>
        <p:spPr>
          <a:xfrm>
            <a:off x="9168342" y="4028694"/>
            <a:ext cx="2718064" cy="64633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rtl="0">
              <a:spcBef>
                <a:spcPts val="600"/>
              </a:spcBef>
            </a:pPr>
            <a:r>
              <a:rPr lang="ru-RU" sz="1400" b="1" dirty="0">
                <a:solidFill>
                  <a:schemeClr val="accent1"/>
                </a:solidFill>
              </a:rPr>
              <a:t>Дальнейшая интеграция цифровых сред электронной сделки и налогового администрирования</a:t>
            </a:r>
          </a:p>
        </p:txBody>
      </p:sp>
      <p:sp>
        <p:nvSpPr>
          <p:cNvPr id="203" name="Прямоугольник 202">
            <a:extLst>
              <a:ext uri="{FF2B5EF4-FFF2-40B4-BE49-F238E27FC236}">
                <a16:creationId xmlns:a16="http://schemas.microsoft.com/office/drawing/2014/main" xmlns="" id="{F628A559-BC49-4742-82C4-4124FF63A8B1}"/>
              </a:ext>
            </a:extLst>
          </p:cNvPr>
          <p:cNvSpPr/>
          <p:nvPr/>
        </p:nvSpPr>
        <p:spPr>
          <a:xfrm>
            <a:off x="9127613" y="4709716"/>
            <a:ext cx="2718064" cy="646331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rtl="0">
              <a:spcBef>
                <a:spcPts val="600"/>
              </a:spcBef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азвитие сервисов для налогоплательщиков-участников СНГ  </a:t>
            </a:r>
          </a:p>
        </p:txBody>
      </p:sp>
      <p:sp>
        <p:nvSpPr>
          <p:cNvPr id="204" name="Прямоугольник 203">
            <a:extLst>
              <a:ext uri="{FF2B5EF4-FFF2-40B4-BE49-F238E27FC236}">
                <a16:creationId xmlns:a16="http://schemas.microsoft.com/office/drawing/2014/main" xmlns="" id="{CEBFB0FE-B591-4089-A1B4-FF85CA99D9DA}"/>
              </a:ext>
            </a:extLst>
          </p:cNvPr>
          <p:cNvSpPr/>
          <p:nvPr/>
        </p:nvSpPr>
        <p:spPr>
          <a:xfrm>
            <a:off x="9105436" y="5313599"/>
            <a:ext cx="3067342" cy="1138773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rtl="0">
              <a:spcBef>
                <a:spcPts val="600"/>
              </a:spcBef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азвитие  цифровых сервисов информирования и коммуникации с участниками меж</a:t>
            </a: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ународных цепочек поставок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при участии Республики Таджикистан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9824F8FA-A65A-B4C7-B038-E3AADC8165D1}"/>
              </a:ext>
            </a:extLst>
          </p:cNvPr>
          <p:cNvSpPr/>
          <p:nvPr/>
        </p:nvSpPr>
        <p:spPr>
          <a:xfrm>
            <a:off x="8467385" y="3368093"/>
            <a:ext cx="3419021" cy="4191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rtl="0"/>
            <a:r>
              <a:rPr lang="ru-RU" sz="1600" dirty="0">
                <a:solidFill>
                  <a:schemeClr val="bg1"/>
                </a:solidFill>
              </a:rPr>
              <a:t>Индивидуальные предприниматели (78 %) </a:t>
            </a:r>
          </a:p>
        </p:txBody>
      </p:sp>
    </p:spTree>
    <p:extLst>
      <p:ext uri="{BB962C8B-B14F-4D97-AF65-F5344CB8AC3E}">
        <p14:creationId xmlns:p14="http://schemas.microsoft.com/office/powerpoint/2010/main" val="24429600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 hidden="1">
            <a:extLst>
              <a:ext uri="{FF2B5EF4-FFF2-40B4-BE49-F238E27FC236}">
                <a16:creationId xmlns:a16="http://schemas.microsoft.com/office/drawing/2014/main" xmlns="" id="{5EAEA38E-A85B-4034-B49D-36862302342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10515600" cy="1325563"/>
          </a:xfrm>
        </p:spPr>
        <p:txBody>
          <a:bodyPr rtlCol="0">
            <a:normAutofit fontScale="90000"/>
          </a:bodyPr>
          <a:lstStyle>
            <a:defPPr>
              <a:defRPr lang="ru-RU"/>
            </a:defPPr>
          </a:lstStyle>
          <a:p>
            <a:pPr rtl="0"/>
            <a:r>
              <a:rPr lang="ru-RU" dirty="0"/>
              <a:t>Слайд 6 сбалансированной системы показателей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7A5D2A43-E613-4861-B777-A0FBFF47453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sp>
        <p:nvSpPr>
          <p:cNvPr id="13" name="Надпись 12">
            <a:extLst>
              <a:ext uri="{FF2B5EF4-FFF2-40B4-BE49-F238E27FC236}">
                <a16:creationId xmlns:a16="http://schemas.microsoft.com/office/drawing/2014/main" xmlns="" id="{63C92C2E-8888-42AB-A36D-D6F2B362B0CD}"/>
              </a:ext>
            </a:extLst>
          </p:cNvPr>
          <p:cNvSpPr txBox="1"/>
          <p:nvPr/>
        </p:nvSpPr>
        <p:spPr>
          <a:xfrm>
            <a:off x="1401682" y="475943"/>
            <a:ext cx="939806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</a:lstStyle>
          <a:p>
            <a:pPr algn="ctr" rtl="0"/>
            <a:r>
              <a:rPr lang="ru-RU" sz="3600" dirty="0">
                <a:latin typeface="+mj-lt"/>
              </a:rPr>
              <a:t>Технологии прослеживания сделки. </a:t>
            </a:r>
          </a:p>
        </p:txBody>
      </p:sp>
      <p:sp>
        <p:nvSpPr>
          <p:cNvPr id="118" name="Надпись 117">
            <a:extLst>
              <a:ext uri="{FF2B5EF4-FFF2-40B4-BE49-F238E27FC236}">
                <a16:creationId xmlns:a16="http://schemas.microsoft.com/office/drawing/2014/main" xmlns="" id="{D27FAFDD-4949-41BF-8D68-1EDF4AB38190}"/>
              </a:ext>
            </a:extLst>
          </p:cNvPr>
          <p:cNvSpPr txBox="1"/>
          <p:nvPr/>
        </p:nvSpPr>
        <p:spPr>
          <a:xfrm>
            <a:off x="1509673" y="1268827"/>
            <a:ext cx="92641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</a:lstStyle>
          <a:p>
            <a:pPr algn="ctr" rtl="0"/>
            <a:r>
              <a:rPr lang="ru-RU" sz="2000" dirty="0">
                <a:latin typeface="+mj-lt"/>
              </a:rPr>
              <a:t>Автоматизация администрирования НДС</a:t>
            </a:r>
            <a:endParaRPr lang="ru-RU" sz="2000" dirty="0"/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xmlns="" id="{CF18BD6A-7A50-4D14-99B3-5C321D74392B}"/>
              </a:ext>
            </a:extLst>
          </p:cNvPr>
          <p:cNvSpPr/>
          <p:nvPr/>
        </p:nvSpPr>
        <p:spPr>
          <a:xfrm>
            <a:off x="2126458" y="1684439"/>
            <a:ext cx="1419225" cy="4191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r>
              <a:rPr lang="ru-RU" sz="1400" dirty="0">
                <a:solidFill>
                  <a:schemeClr val="tx1"/>
                </a:solidFill>
              </a:rPr>
              <a:t>Сделка </a:t>
            </a: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xmlns="" id="{93E1D3EB-19C6-463C-BA3C-70912EBA3AA7}"/>
              </a:ext>
            </a:extLst>
          </p:cNvPr>
          <p:cNvSpPr/>
          <p:nvPr/>
        </p:nvSpPr>
        <p:spPr>
          <a:xfrm>
            <a:off x="5386388" y="1684439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r>
              <a:rPr lang="ru-RU" sz="1400" dirty="0">
                <a:solidFill>
                  <a:prstClr val="white"/>
                </a:solidFill>
              </a:rPr>
              <a:t>Тест на применимость</a:t>
            </a:r>
          </a:p>
        </p:txBody>
      </p:sp>
      <p:cxnSp>
        <p:nvCxnSpPr>
          <p:cNvPr id="99" name="Прямая соединительная линия со стрелкой 98">
            <a:extLst>
              <a:ext uri="{FF2B5EF4-FFF2-40B4-BE49-F238E27FC236}">
                <a16:creationId xmlns:a16="http://schemas.microsoft.com/office/drawing/2014/main" xmlns="" id="{A5D12A48-D06E-451A-A587-30F165FF0D4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stCxn id="87" idx="2"/>
            <a:endCxn id="88" idx="0"/>
          </p:cNvCxnSpPr>
          <p:nvPr/>
        </p:nvCxnSpPr>
        <p:spPr>
          <a:xfrm>
            <a:off x="2836071" y="2103539"/>
            <a:ext cx="2" cy="38753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единительная линия со стрелкой 102">
            <a:extLst>
              <a:ext uri="{FF2B5EF4-FFF2-40B4-BE49-F238E27FC236}">
                <a16:creationId xmlns:a16="http://schemas.microsoft.com/office/drawing/2014/main" xmlns="" id="{BC3B028D-85D5-4E3C-98E6-C2DDA408C86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stCxn id="93" idx="2"/>
            <a:endCxn id="92" idx="0"/>
          </p:cNvCxnSpPr>
          <p:nvPr/>
        </p:nvCxnSpPr>
        <p:spPr>
          <a:xfrm>
            <a:off x="6096000" y="2103540"/>
            <a:ext cx="0" cy="38753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xmlns="" id="{42121974-F50C-417B-BF7F-C5A2E6127C52}"/>
              </a:ext>
            </a:extLst>
          </p:cNvPr>
          <p:cNvSpPr/>
          <p:nvPr/>
        </p:nvSpPr>
        <p:spPr>
          <a:xfrm>
            <a:off x="2021091" y="2491076"/>
            <a:ext cx="1629963" cy="7223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r>
              <a:rPr lang="ru-RU" sz="1400" dirty="0">
                <a:solidFill>
                  <a:prstClr val="white"/>
                </a:solidFill>
              </a:rPr>
              <a:t>Цифровые входы (ККТ, счета)</a:t>
            </a: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xmlns="" id="{E929685B-1D4E-4B07-96C2-023D2EFA61DE}"/>
              </a:ext>
            </a:extLst>
          </p:cNvPr>
          <p:cNvSpPr/>
          <p:nvPr/>
        </p:nvSpPr>
        <p:spPr>
          <a:xfrm>
            <a:off x="5386388" y="2491076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r>
              <a:rPr lang="ru-RU" sz="1400" dirty="0">
                <a:solidFill>
                  <a:prstClr val="white"/>
                </a:solidFill>
              </a:rPr>
              <a:t>Контроль</a:t>
            </a:r>
          </a:p>
        </p:txBody>
      </p:sp>
      <p:cxnSp>
        <p:nvCxnSpPr>
          <p:cNvPr id="106" name="Прямая соединительная линия 105">
            <a:extLst>
              <a:ext uri="{FF2B5EF4-FFF2-40B4-BE49-F238E27FC236}">
                <a16:creationId xmlns:a16="http://schemas.microsoft.com/office/drawing/2014/main" xmlns="" id="{D1EB989A-9896-4B3F-B92F-B042472E839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stCxn id="92" idx="3"/>
            <a:endCxn id="96" idx="1"/>
          </p:cNvCxnSpPr>
          <p:nvPr/>
        </p:nvCxnSpPr>
        <p:spPr>
          <a:xfrm>
            <a:off x="6805612" y="2700626"/>
            <a:ext cx="210740" cy="0"/>
          </a:xfrm>
          <a:prstGeom prst="line">
            <a:avLst/>
          </a:prstGeom>
          <a:ln>
            <a:solidFill>
              <a:schemeClr val="tx2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xmlns="" id="{B858982C-C418-4017-A439-9781F01ED7E3}"/>
              </a:ext>
            </a:extLst>
          </p:cNvPr>
          <p:cNvSpPr/>
          <p:nvPr/>
        </p:nvSpPr>
        <p:spPr>
          <a:xfrm>
            <a:off x="7016353" y="2491076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r>
              <a:rPr lang="ru-RU" sz="1400" dirty="0">
                <a:solidFill>
                  <a:prstClr val="white"/>
                </a:solidFill>
              </a:rPr>
              <a:t>Анализ Рисков</a:t>
            </a:r>
          </a:p>
        </p:txBody>
      </p:sp>
      <p:cxnSp>
        <p:nvCxnSpPr>
          <p:cNvPr id="107" name="Прямая соединительная линия 106">
            <a:extLst>
              <a:ext uri="{FF2B5EF4-FFF2-40B4-BE49-F238E27FC236}">
                <a16:creationId xmlns:a16="http://schemas.microsoft.com/office/drawing/2014/main" xmlns="" id="{630D6D37-FAFB-4A48-B319-2DCDD9B56DE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stCxn id="96" idx="3"/>
            <a:endCxn id="97" idx="1"/>
          </p:cNvCxnSpPr>
          <p:nvPr/>
        </p:nvCxnSpPr>
        <p:spPr>
          <a:xfrm flipV="1">
            <a:off x="8435578" y="2491785"/>
            <a:ext cx="210741" cy="208841"/>
          </a:xfrm>
          <a:prstGeom prst="line">
            <a:avLst/>
          </a:prstGeom>
          <a:ln>
            <a:solidFill>
              <a:schemeClr val="tx2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xmlns="" id="{BB3D2411-3E3C-4333-B637-78F73AB788B8}"/>
              </a:ext>
            </a:extLst>
          </p:cNvPr>
          <p:cNvSpPr/>
          <p:nvPr/>
        </p:nvSpPr>
        <p:spPr>
          <a:xfrm>
            <a:off x="8646319" y="2073394"/>
            <a:ext cx="1419225" cy="83678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r>
              <a:rPr lang="ru-RU" sz="1400" dirty="0">
                <a:solidFill>
                  <a:schemeClr val="tx1"/>
                </a:solidFill>
              </a:rPr>
              <a:t>Сервисное сопровождение Портал НК РТ</a:t>
            </a:r>
          </a:p>
        </p:txBody>
      </p:sp>
      <p:cxnSp>
        <p:nvCxnSpPr>
          <p:cNvPr id="100" name="Прямая соединительная линия со стрелкой 99">
            <a:extLst>
              <a:ext uri="{FF2B5EF4-FFF2-40B4-BE49-F238E27FC236}">
                <a16:creationId xmlns:a16="http://schemas.microsoft.com/office/drawing/2014/main" xmlns="" id="{1A130D89-F681-4A3B-9049-9C37FC9CC37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stCxn id="88" idx="2"/>
            <a:endCxn id="89" idx="0"/>
          </p:cNvCxnSpPr>
          <p:nvPr/>
        </p:nvCxnSpPr>
        <p:spPr>
          <a:xfrm flipH="1">
            <a:off x="2836071" y="3213453"/>
            <a:ext cx="2" cy="1344548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со стрелкой 103">
            <a:extLst>
              <a:ext uri="{FF2B5EF4-FFF2-40B4-BE49-F238E27FC236}">
                <a16:creationId xmlns:a16="http://schemas.microsoft.com/office/drawing/2014/main" xmlns="" id="{9711ED3C-D7AD-42D4-9687-292E16267E7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stCxn id="92" idx="2"/>
            <a:endCxn id="91" idx="0"/>
          </p:cNvCxnSpPr>
          <p:nvPr/>
        </p:nvCxnSpPr>
        <p:spPr>
          <a:xfrm>
            <a:off x="6096001" y="2910176"/>
            <a:ext cx="971875" cy="30327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>
            <a:extLst>
              <a:ext uri="{FF2B5EF4-FFF2-40B4-BE49-F238E27FC236}">
                <a16:creationId xmlns:a16="http://schemas.microsoft.com/office/drawing/2014/main" xmlns="" id="{80BF3C12-5670-4E5D-93BA-D74D49061DE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stCxn id="97" idx="2"/>
            <a:endCxn id="98" idx="0"/>
          </p:cNvCxnSpPr>
          <p:nvPr/>
        </p:nvCxnSpPr>
        <p:spPr>
          <a:xfrm flipH="1">
            <a:off x="9355928" y="2910176"/>
            <a:ext cx="4" cy="1416843"/>
          </a:xfrm>
          <a:prstGeom prst="line">
            <a:avLst/>
          </a:prstGeom>
          <a:ln>
            <a:solidFill>
              <a:schemeClr val="tx2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Прямая соединительная линия 101">
            <a:extLst>
              <a:ext uri="{FF2B5EF4-FFF2-40B4-BE49-F238E27FC236}">
                <a16:creationId xmlns:a16="http://schemas.microsoft.com/office/drawing/2014/main" xmlns="" id="{1341F916-074E-4920-B358-4BFFAA4876B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endCxn id="90" idx="1"/>
          </p:cNvCxnSpPr>
          <p:nvPr/>
        </p:nvCxnSpPr>
        <p:spPr>
          <a:xfrm>
            <a:off x="2836070" y="3423003"/>
            <a:ext cx="920352" cy="0"/>
          </a:xfrm>
          <a:prstGeom prst="lin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xmlns="" id="{B4160C21-F361-48A2-A166-F75EBD284F0F}"/>
              </a:ext>
            </a:extLst>
          </p:cNvPr>
          <p:cNvSpPr/>
          <p:nvPr/>
        </p:nvSpPr>
        <p:spPr>
          <a:xfrm>
            <a:off x="3756423" y="321345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r>
              <a:rPr lang="ru-RU" sz="1400" dirty="0">
                <a:solidFill>
                  <a:prstClr val="white"/>
                </a:solidFill>
              </a:rPr>
              <a:t>Он-лайн  фиксация </a:t>
            </a:r>
          </a:p>
        </p:txBody>
      </p:sp>
      <p:cxnSp>
        <p:nvCxnSpPr>
          <p:cNvPr id="101" name="Прямая соединительная линия 100">
            <a:extLst>
              <a:ext uri="{FF2B5EF4-FFF2-40B4-BE49-F238E27FC236}">
                <a16:creationId xmlns:a16="http://schemas.microsoft.com/office/drawing/2014/main" xmlns="" id="{6032CE92-3197-44A3-A31A-981D7C2CE8D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  <a:stCxn id="90" idx="3"/>
            <a:endCxn id="91" idx="1"/>
          </p:cNvCxnSpPr>
          <p:nvPr/>
        </p:nvCxnSpPr>
        <p:spPr>
          <a:xfrm>
            <a:off x="5175648" y="3423003"/>
            <a:ext cx="210740" cy="0"/>
          </a:xfrm>
          <a:prstGeom prst="line">
            <a:avLst/>
          </a:prstGeom>
          <a:ln>
            <a:solidFill>
              <a:schemeClr val="tx2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xmlns="" id="{462D02FB-C308-4ACF-94D8-8906D7A3A925}"/>
              </a:ext>
            </a:extLst>
          </p:cNvPr>
          <p:cNvSpPr/>
          <p:nvPr/>
        </p:nvSpPr>
        <p:spPr>
          <a:xfrm>
            <a:off x="5386388" y="3213453"/>
            <a:ext cx="3362976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r>
              <a:rPr lang="ru-RU" sz="1400" dirty="0">
                <a:solidFill>
                  <a:prstClr val="white"/>
                </a:solidFill>
              </a:rPr>
              <a:t>Анализ рисков и сетевой анализ цепочки поставок, бизнес-связей  и т.д.</a:t>
            </a:r>
          </a:p>
        </p:txBody>
      </p:sp>
      <p:cxnSp>
        <p:nvCxnSpPr>
          <p:cNvPr id="105" name="Соединительная линия уступом 2052">
            <a:extLst>
              <a:ext uri="{FF2B5EF4-FFF2-40B4-BE49-F238E27FC236}">
                <a16:creationId xmlns:a16="http://schemas.microsoft.com/office/drawing/2014/main" xmlns="" id="{C39FEEB9-AA9B-48B0-87E3-42864E2C88C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stCxn id="90" idx="2"/>
            <a:endCxn id="94" idx="1"/>
          </p:cNvCxnSpPr>
          <p:nvPr/>
        </p:nvCxnSpPr>
        <p:spPr>
          <a:xfrm rot="16200000" flipH="1">
            <a:off x="4669799" y="3428790"/>
            <a:ext cx="512827" cy="920352"/>
          </a:xfrm>
          <a:prstGeom prst="bentConnector2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xmlns="" id="{71856F54-C247-481E-B645-9912A2CB5CB1}"/>
              </a:ext>
            </a:extLst>
          </p:cNvPr>
          <p:cNvSpPr/>
          <p:nvPr/>
        </p:nvSpPr>
        <p:spPr>
          <a:xfrm>
            <a:off x="5386388" y="3935830"/>
            <a:ext cx="1419225" cy="4191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r>
              <a:rPr lang="ru-RU" sz="1400" dirty="0">
                <a:solidFill>
                  <a:schemeClr val="tx1"/>
                </a:solidFill>
              </a:rPr>
              <a:t>Счет-фактура</a:t>
            </a:r>
          </a:p>
        </p:txBody>
      </p:sp>
      <p:cxnSp>
        <p:nvCxnSpPr>
          <p:cNvPr id="109" name="Прямая соединительная линия 108">
            <a:extLst>
              <a:ext uri="{FF2B5EF4-FFF2-40B4-BE49-F238E27FC236}">
                <a16:creationId xmlns:a16="http://schemas.microsoft.com/office/drawing/2014/main" xmlns="" id="{B05A11C5-8898-4D6C-AFD1-BFA7B629DF5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/>
        </p:nvCxnSpPr>
        <p:spPr>
          <a:xfrm>
            <a:off x="6700243" y="4502119"/>
            <a:ext cx="1840705" cy="8899"/>
          </a:xfrm>
          <a:prstGeom prst="lin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xmlns="" id="{B6CA5371-C167-4D69-82A1-5F7BD8001E16}"/>
              </a:ext>
            </a:extLst>
          </p:cNvPr>
          <p:cNvSpPr/>
          <p:nvPr/>
        </p:nvSpPr>
        <p:spPr>
          <a:xfrm>
            <a:off x="8646315" y="4327019"/>
            <a:ext cx="1419225" cy="4191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r>
              <a:rPr lang="ru-RU" sz="1400" dirty="0">
                <a:solidFill>
                  <a:prstClr val="white"/>
                </a:solidFill>
              </a:rPr>
              <a:t>Корректировки </a:t>
            </a:r>
          </a:p>
        </p:txBody>
      </p:sp>
      <p:cxnSp>
        <p:nvCxnSpPr>
          <p:cNvPr id="110" name="Прямая соединительная линия со стрелкой 109">
            <a:extLst>
              <a:ext uri="{FF2B5EF4-FFF2-40B4-BE49-F238E27FC236}">
                <a16:creationId xmlns:a16="http://schemas.microsoft.com/office/drawing/2014/main" xmlns="" id="{24BDC773-99C9-4AA8-8028-E8372CB25DE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stCxn id="94" idx="2"/>
            <a:endCxn id="95" idx="0"/>
          </p:cNvCxnSpPr>
          <p:nvPr/>
        </p:nvCxnSpPr>
        <p:spPr>
          <a:xfrm>
            <a:off x="6096000" y="4354931"/>
            <a:ext cx="0" cy="30327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xmlns="" id="{A1C54160-E82D-4FDD-B13C-7088B9F50E97}"/>
              </a:ext>
            </a:extLst>
          </p:cNvPr>
          <p:cNvSpPr/>
          <p:nvPr/>
        </p:nvSpPr>
        <p:spPr>
          <a:xfrm>
            <a:off x="2126458" y="4558001"/>
            <a:ext cx="1419225" cy="4191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r>
              <a:rPr lang="ru-RU" sz="1400" dirty="0">
                <a:solidFill>
                  <a:prstClr val="white"/>
                </a:solidFill>
              </a:rPr>
              <a:t>Он-лайн склад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xmlns="" id="{5C5C719B-F6E5-4316-904E-AFF9BE7AFF86}"/>
              </a:ext>
            </a:extLst>
          </p:cNvPr>
          <p:cNvSpPr/>
          <p:nvPr/>
        </p:nvSpPr>
        <p:spPr>
          <a:xfrm>
            <a:off x="5386388" y="4658207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r>
              <a:rPr lang="ru-RU" sz="1400" dirty="0">
                <a:solidFill>
                  <a:prstClr val="white"/>
                </a:solidFill>
              </a:rPr>
              <a:t>Налоговая декларация</a:t>
            </a:r>
          </a:p>
        </p:txBody>
      </p:sp>
      <p:cxnSp>
        <p:nvCxnSpPr>
          <p:cNvPr id="112" name="Прямая соединительная линия со стрелкой 111">
            <a:extLst>
              <a:ext uri="{FF2B5EF4-FFF2-40B4-BE49-F238E27FC236}">
                <a16:creationId xmlns:a16="http://schemas.microsoft.com/office/drawing/2014/main" xmlns="" id="{374D43FD-18AD-46B6-9289-88193B4F4E8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stCxn id="95" idx="2"/>
          </p:cNvCxnSpPr>
          <p:nvPr/>
        </p:nvCxnSpPr>
        <p:spPr>
          <a:xfrm>
            <a:off x="6096000" y="5077307"/>
            <a:ext cx="0" cy="321076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Прямоугольник 110">
            <a:extLst>
              <a:ext uri="{FF2B5EF4-FFF2-40B4-BE49-F238E27FC236}">
                <a16:creationId xmlns:a16="http://schemas.microsoft.com/office/drawing/2014/main" xmlns="" id="{9388A474-93BB-447A-97FB-53185800DC1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5386388" y="5398383"/>
            <a:ext cx="4679152" cy="10304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xmlns="" id="{3962C27C-2780-421B-A554-79F4655F0D2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5520067" y="5573514"/>
            <a:ext cx="680229" cy="68022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sp>
        <p:nvSpPr>
          <p:cNvPr id="113" name="Надпись 112">
            <a:extLst>
              <a:ext uri="{FF2B5EF4-FFF2-40B4-BE49-F238E27FC236}">
                <a16:creationId xmlns:a16="http://schemas.microsoft.com/office/drawing/2014/main" xmlns="" id="{B141192B-B52E-4C38-8B5F-C21751B795F6}"/>
              </a:ext>
            </a:extLst>
          </p:cNvPr>
          <p:cNvSpPr txBox="1"/>
          <p:nvPr/>
        </p:nvSpPr>
        <p:spPr>
          <a:xfrm>
            <a:off x="6413974" y="5482741"/>
            <a:ext cx="3499474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</a:lstStyle>
          <a:p>
            <a:pPr rtl="0"/>
            <a:r>
              <a:rPr lang="ru-RU" sz="1400" dirty="0">
                <a:solidFill>
                  <a:prstClr val="white"/>
                </a:solidFill>
              </a:rPr>
              <a:t>Формирование налоговой базы  и расчет налога. Цифровая архивация и  сервисное сопровождение  расчетов и подачи декларации в личной кабинете </a:t>
            </a:r>
          </a:p>
        </p:txBody>
      </p:sp>
      <p:sp>
        <p:nvSpPr>
          <p:cNvPr id="117" name="Полилиния 3518" descr="Это изображение содержит значок папки &quot;Входящие&quot;. ">
            <a:extLst>
              <a:ext uri="{FF2B5EF4-FFF2-40B4-BE49-F238E27FC236}">
                <a16:creationId xmlns:a16="http://schemas.microsoft.com/office/drawing/2014/main" xmlns="" id="{21764520-7BD4-46C9-89F1-B8816020D453}"/>
              </a:ext>
            </a:extLst>
          </p:cNvPr>
          <p:cNvSpPr>
            <a:spLocks noEditPoints="1"/>
          </p:cNvSpPr>
          <p:nvPr/>
        </p:nvSpPr>
        <p:spPr bwMode="auto">
          <a:xfrm>
            <a:off x="5716514" y="5775516"/>
            <a:ext cx="287337" cy="276225"/>
          </a:xfrm>
          <a:custGeom>
            <a:avLst/>
            <a:gdLst>
              <a:gd name="T0" fmla="*/ 482 w 720"/>
              <a:gd name="T1" fmla="*/ 464 h 696"/>
              <a:gd name="T2" fmla="*/ 476 w 720"/>
              <a:gd name="T3" fmla="*/ 523 h 696"/>
              <a:gd name="T4" fmla="*/ 451 w 720"/>
              <a:gd name="T5" fmla="*/ 549 h 696"/>
              <a:gd name="T6" fmla="*/ 295 w 720"/>
              <a:gd name="T7" fmla="*/ 553 h 696"/>
              <a:gd name="T8" fmla="*/ 275 w 720"/>
              <a:gd name="T9" fmla="*/ 542 h 696"/>
              <a:gd name="T10" fmla="*/ 264 w 720"/>
              <a:gd name="T11" fmla="*/ 512 h 696"/>
              <a:gd name="T12" fmla="*/ 261 w 720"/>
              <a:gd name="T13" fmla="*/ 460 h 696"/>
              <a:gd name="T14" fmla="*/ 127 w 720"/>
              <a:gd name="T15" fmla="*/ 312 h 696"/>
              <a:gd name="T16" fmla="*/ 148 w 720"/>
              <a:gd name="T17" fmla="*/ 416 h 696"/>
              <a:gd name="T18" fmla="*/ 569 w 720"/>
              <a:gd name="T19" fmla="*/ 419 h 696"/>
              <a:gd name="T20" fmla="*/ 577 w 720"/>
              <a:gd name="T21" fmla="*/ 312 h 696"/>
              <a:gd name="T22" fmla="*/ 254 w 720"/>
              <a:gd name="T23" fmla="*/ 339 h 696"/>
              <a:gd name="T24" fmla="*/ 478 w 720"/>
              <a:gd name="T25" fmla="*/ 347 h 696"/>
              <a:gd name="T26" fmla="*/ 471 w 720"/>
              <a:gd name="T27" fmla="*/ 363 h 696"/>
              <a:gd name="T28" fmla="*/ 245 w 720"/>
              <a:gd name="T29" fmla="*/ 360 h 696"/>
              <a:gd name="T30" fmla="*/ 245 w 720"/>
              <a:gd name="T31" fmla="*/ 343 h 696"/>
              <a:gd name="T32" fmla="*/ 466 w 720"/>
              <a:gd name="T33" fmla="*/ 265 h 696"/>
              <a:gd name="T34" fmla="*/ 479 w 720"/>
              <a:gd name="T35" fmla="*/ 276 h 696"/>
              <a:gd name="T36" fmla="*/ 466 w 720"/>
              <a:gd name="T37" fmla="*/ 288 h 696"/>
              <a:gd name="T38" fmla="*/ 243 w 720"/>
              <a:gd name="T39" fmla="*/ 282 h 696"/>
              <a:gd name="T40" fmla="*/ 249 w 720"/>
              <a:gd name="T41" fmla="*/ 265 h 696"/>
              <a:gd name="T42" fmla="*/ 471 w 720"/>
              <a:gd name="T43" fmla="*/ 193 h 696"/>
              <a:gd name="T44" fmla="*/ 478 w 720"/>
              <a:gd name="T45" fmla="*/ 208 h 696"/>
              <a:gd name="T46" fmla="*/ 254 w 720"/>
              <a:gd name="T47" fmla="*/ 216 h 696"/>
              <a:gd name="T48" fmla="*/ 243 w 720"/>
              <a:gd name="T49" fmla="*/ 205 h 696"/>
              <a:gd name="T50" fmla="*/ 254 w 720"/>
              <a:gd name="T51" fmla="*/ 192 h 696"/>
              <a:gd name="T52" fmla="*/ 293 w 720"/>
              <a:gd name="T53" fmla="*/ 76 h 696"/>
              <a:gd name="T54" fmla="*/ 293 w 720"/>
              <a:gd name="T55" fmla="*/ 93 h 696"/>
              <a:gd name="T56" fmla="*/ 249 w 720"/>
              <a:gd name="T57" fmla="*/ 95 h 696"/>
              <a:gd name="T58" fmla="*/ 243 w 720"/>
              <a:gd name="T59" fmla="*/ 80 h 696"/>
              <a:gd name="T60" fmla="*/ 315 w 720"/>
              <a:gd name="T61" fmla="*/ 120 h 696"/>
              <a:gd name="T62" fmla="*/ 478 w 720"/>
              <a:gd name="T63" fmla="*/ 128 h 696"/>
              <a:gd name="T64" fmla="*/ 471 w 720"/>
              <a:gd name="T65" fmla="*/ 143 h 696"/>
              <a:gd name="T66" fmla="*/ 307 w 720"/>
              <a:gd name="T67" fmla="*/ 140 h 696"/>
              <a:gd name="T68" fmla="*/ 307 w 720"/>
              <a:gd name="T69" fmla="*/ 124 h 696"/>
              <a:gd name="T70" fmla="*/ 720 w 720"/>
              <a:gd name="T71" fmla="*/ 467 h 696"/>
              <a:gd name="T72" fmla="*/ 719 w 720"/>
              <a:gd name="T73" fmla="*/ 463 h 696"/>
              <a:gd name="T74" fmla="*/ 606 w 720"/>
              <a:gd name="T75" fmla="*/ 289 h 696"/>
              <a:gd name="T76" fmla="*/ 577 w 720"/>
              <a:gd name="T77" fmla="*/ 12 h 696"/>
              <a:gd name="T78" fmla="*/ 565 w 720"/>
              <a:gd name="T79" fmla="*/ 0 h 696"/>
              <a:gd name="T80" fmla="*/ 145 w 720"/>
              <a:gd name="T81" fmla="*/ 7 h 696"/>
              <a:gd name="T82" fmla="*/ 117 w 720"/>
              <a:gd name="T83" fmla="*/ 289 h 696"/>
              <a:gd name="T84" fmla="*/ 1 w 720"/>
              <a:gd name="T85" fmla="*/ 463 h 696"/>
              <a:gd name="T86" fmla="*/ 0 w 720"/>
              <a:gd name="T87" fmla="*/ 465 h 696"/>
              <a:gd name="T88" fmla="*/ 0 w 720"/>
              <a:gd name="T89" fmla="*/ 469 h 696"/>
              <a:gd name="T90" fmla="*/ 8 w 720"/>
              <a:gd name="T91" fmla="*/ 696 h 696"/>
              <a:gd name="T92" fmla="*/ 718 w 720"/>
              <a:gd name="T93" fmla="*/ 694 h 696"/>
              <a:gd name="T94" fmla="*/ 720 w 720"/>
              <a:gd name="T95" fmla="*/ 468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20" h="696">
                <a:moveTo>
                  <a:pt x="493" y="456"/>
                </a:moveTo>
                <a:lnTo>
                  <a:pt x="488" y="458"/>
                </a:lnTo>
                <a:lnTo>
                  <a:pt x="484" y="460"/>
                </a:lnTo>
                <a:lnTo>
                  <a:pt x="482" y="464"/>
                </a:lnTo>
                <a:lnTo>
                  <a:pt x="480" y="469"/>
                </a:lnTo>
                <a:lnTo>
                  <a:pt x="480" y="505"/>
                </a:lnTo>
                <a:lnTo>
                  <a:pt x="479" y="514"/>
                </a:lnTo>
                <a:lnTo>
                  <a:pt x="476" y="523"/>
                </a:lnTo>
                <a:lnTo>
                  <a:pt x="473" y="532"/>
                </a:lnTo>
                <a:lnTo>
                  <a:pt x="466" y="538"/>
                </a:lnTo>
                <a:lnTo>
                  <a:pt x="460" y="545"/>
                </a:lnTo>
                <a:lnTo>
                  <a:pt x="451" y="549"/>
                </a:lnTo>
                <a:lnTo>
                  <a:pt x="442" y="551"/>
                </a:lnTo>
                <a:lnTo>
                  <a:pt x="433" y="553"/>
                </a:lnTo>
                <a:lnTo>
                  <a:pt x="300" y="553"/>
                </a:lnTo>
                <a:lnTo>
                  <a:pt x="295" y="553"/>
                </a:lnTo>
                <a:lnTo>
                  <a:pt x="290" y="551"/>
                </a:lnTo>
                <a:lnTo>
                  <a:pt x="285" y="550"/>
                </a:lnTo>
                <a:lnTo>
                  <a:pt x="281" y="547"/>
                </a:lnTo>
                <a:lnTo>
                  <a:pt x="275" y="542"/>
                </a:lnTo>
                <a:lnTo>
                  <a:pt x="271" y="536"/>
                </a:lnTo>
                <a:lnTo>
                  <a:pt x="267" y="528"/>
                </a:lnTo>
                <a:lnTo>
                  <a:pt x="266" y="519"/>
                </a:lnTo>
                <a:lnTo>
                  <a:pt x="264" y="512"/>
                </a:lnTo>
                <a:lnTo>
                  <a:pt x="264" y="505"/>
                </a:lnTo>
                <a:lnTo>
                  <a:pt x="264" y="469"/>
                </a:lnTo>
                <a:lnTo>
                  <a:pt x="263" y="464"/>
                </a:lnTo>
                <a:lnTo>
                  <a:pt x="261" y="460"/>
                </a:lnTo>
                <a:lnTo>
                  <a:pt x="257" y="458"/>
                </a:lnTo>
                <a:lnTo>
                  <a:pt x="252" y="456"/>
                </a:lnTo>
                <a:lnTo>
                  <a:pt x="33" y="456"/>
                </a:lnTo>
                <a:lnTo>
                  <a:pt x="127" y="312"/>
                </a:lnTo>
                <a:lnTo>
                  <a:pt x="144" y="312"/>
                </a:lnTo>
                <a:lnTo>
                  <a:pt x="144" y="409"/>
                </a:lnTo>
                <a:lnTo>
                  <a:pt x="145" y="413"/>
                </a:lnTo>
                <a:lnTo>
                  <a:pt x="148" y="416"/>
                </a:lnTo>
                <a:lnTo>
                  <a:pt x="151" y="419"/>
                </a:lnTo>
                <a:lnTo>
                  <a:pt x="157" y="420"/>
                </a:lnTo>
                <a:lnTo>
                  <a:pt x="565" y="420"/>
                </a:lnTo>
                <a:lnTo>
                  <a:pt x="569" y="419"/>
                </a:lnTo>
                <a:lnTo>
                  <a:pt x="573" y="416"/>
                </a:lnTo>
                <a:lnTo>
                  <a:pt x="575" y="413"/>
                </a:lnTo>
                <a:lnTo>
                  <a:pt x="577" y="409"/>
                </a:lnTo>
                <a:lnTo>
                  <a:pt x="577" y="312"/>
                </a:lnTo>
                <a:lnTo>
                  <a:pt x="595" y="312"/>
                </a:lnTo>
                <a:lnTo>
                  <a:pt x="687" y="456"/>
                </a:lnTo>
                <a:lnTo>
                  <a:pt x="493" y="456"/>
                </a:lnTo>
                <a:close/>
                <a:moveTo>
                  <a:pt x="254" y="339"/>
                </a:moveTo>
                <a:lnTo>
                  <a:pt x="466" y="339"/>
                </a:lnTo>
                <a:lnTo>
                  <a:pt x="471" y="341"/>
                </a:lnTo>
                <a:lnTo>
                  <a:pt x="475" y="343"/>
                </a:lnTo>
                <a:lnTo>
                  <a:pt x="478" y="347"/>
                </a:lnTo>
                <a:lnTo>
                  <a:pt x="479" y="351"/>
                </a:lnTo>
                <a:lnTo>
                  <a:pt x="478" y="356"/>
                </a:lnTo>
                <a:lnTo>
                  <a:pt x="475" y="360"/>
                </a:lnTo>
                <a:lnTo>
                  <a:pt x="471" y="363"/>
                </a:lnTo>
                <a:lnTo>
                  <a:pt x="466" y="364"/>
                </a:lnTo>
                <a:lnTo>
                  <a:pt x="254" y="364"/>
                </a:lnTo>
                <a:lnTo>
                  <a:pt x="249" y="363"/>
                </a:lnTo>
                <a:lnTo>
                  <a:pt x="245" y="360"/>
                </a:lnTo>
                <a:lnTo>
                  <a:pt x="243" y="356"/>
                </a:lnTo>
                <a:lnTo>
                  <a:pt x="243" y="351"/>
                </a:lnTo>
                <a:lnTo>
                  <a:pt x="243" y="347"/>
                </a:lnTo>
                <a:lnTo>
                  <a:pt x="245" y="343"/>
                </a:lnTo>
                <a:lnTo>
                  <a:pt x="249" y="341"/>
                </a:lnTo>
                <a:lnTo>
                  <a:pt x="254" y="339"/>
                </a:lnTo>
                <a:close/>
                <a:moveTo>
                  <a:pt x="254" y="265"/>
                </a:moveTo>
                <a:lnTo>
                  <a:pt x="466" y="265"/>
                </a:lnTo>
                <a:lnTo>
                  <a:pt x="471" y="265"/>
                </a:lnTo>
                <a:lnTo>
                  <a:pt x="475" y="268"/>
                </a:lnTo>
                <a:lnTo>
                  <a:pt x="478" y="271"/>
                </a:lnTo>
                <a:lnTo>
                  <a:pt x="479" y="276"/>
                </a:lnTo>
                <a:lnTo>
                  <a:pt x="478" y="282"/>
                </a:lnTo>
                <a:lnTo>
                  <a:pt x="475" y="285"/>
                </a:lnTo>
                <a:lnTo>
                  <a:pt x="471" y="288"/>
                </a:lnTo>
                <a:lnTo>
                  <a:pt x="466" y="288"/>
                </a:lnTo>
                <a:lnTo>
                  <a:pt x="254" y="288"/>
                </a:lnTo>
                <a:lnTo>
                  <a:pt x="249" y="288"/>
                </a:lnTo>
                <a:lnTo>
                  <a:pt x="245" y="284"/>
                </a:lnTo>
                <a:lnTo>
                  <a:pt x="243" y="282"/>
                </a:lnTo>
                <a:lnTo>
                  <a:pt x="243" y="276"/>
                </a:lnTo>
                <a:lnTo>
                  <a:pt x="243" y="271"/>
                </a:lnTo>
                <a:lnTo>
                  <a:pt x="245" y="268"/>
                </a:lnTo>
                <a:lnTo>
                  <a:pt x="249" y="265"/>
                </a:lnTo>
                <a:lnTo>
                  <a:pt x="254" y="265"/>
                </a:lnTo>
                <a:close/>
                <a:moveTo>
                  <a:pt x="254" y="192"/>
                </a:moveTo>
                <a:lnTo>
                  <a:pt x="466" y="192"/>
                </a:lnTo>
                <a:lnTo>
                  <a:pt x="471" y="193"/>
                </a:lnTo>
                <a:lnTo>
                  <a:pt x="475" y="196"/>
                </a:lnTo>
                <a:lnTo>
                  <a:pt x="478" y="199"/>
                </a:lnTo>
                <a:lnTo>
                  <a:pt x="479" y="205"/>
                </a:lnTo>
                <a:lnTo>
                  <a:pt x="478" y="208"/>
                </a:lnTo>
                <a:lnTo>
                  <a:pt x="475" y="212"/>
                </a:lnTo>
                <a:lnTo>
                  <a:pt x="471" y="215"/>
                </a:lnTo>
                <a:lnTo>
                  <a:pt x="466" y="216"/>
                </a:lnTo>
                <a:lnTo>
                  <a:pt x="254" y="216"/>
                </a:lnTo>
                <a:lnTo>
                  <a:pt x="249" y="215"/>
                </a:lnTo>
                <a:lnTo>
                  <a:pt x="245" y="212"/>
                </a:lnTo>
                <a:lnTo>
                  <a:pt x="243" y="208"/>
                </a:lnTo>
                <a:lnTo>
                  <a:pt x="243" y="205"/>
                </a:lnTo>
                <a:lnTo>
                  <a:pt x="243" y="199"/>
                </a:lnTo>
                <a:lnTo>
                  <a:pt x="245" y="196"/>
                </a:lnTo>
                <a:lnTo>
                  <a:pt x="249" y="193"/>
                </a:lnTo>
                <a:lnTo>
                  <a:pt x="254" y="192"/>
                </a:lnTo>
                <a:close/>
                <a:moveTo>
                  <a:pt x="254" y="72"/>
                </a:moveTo>
                <a:lnTo>
                  <a:pt x="285" y="72"/>
                </a:lnTo>
                <a:lnTo>
                  <a:pt x="289" y="74"/>
                </a:lnTo>
                <a:lnTo>
                  <a:pt x="293" y="76"/>
                </a:lnTo>
                <a:lnTo>
                  <a:pt x="295" y="80"/>
                </a:lnTo>
                <a:lnTo>
                  <a:pt x="297" y="84"/>
                </a:lnTo>
                <a:lnTo>
                  <a:pt x="295" y="89"/>
                </a:lnTo>
                <a:lnTo>
                  <a:pt x="293" y="93"/>
                </a:lnTo>
                <a:lnTo>
                  <a:pt x="289" y="95"/>
                </a:lnTo>
                <a:lnTo>
                  <a:pt x="285" y="97"/>
                </a:lnTo>
                <a:lnTo>
                  <a:pt x="254" y="95"/>
                </a:lnTo>
                <a:lnTo>
                  <a:pt x="249" y="95"/>
                </a:lnTo>
                <a:lnTo>
                  <a:pt x="245" y="93"/>
                </a:lnTo>
                <a:lnTo>
                  <a:pt x="243" y="89"/>
                </a:lnTo>
                <a:lnTo>
                  <a:pt x="243" y="84"/>
                </a:lnTo>
                <a:lnTo>
                  <a:pt x="243" y="80"/>
                </a:lnTo>
                <a:lnTo>
                  <a:pt x="245" y="76"/>
                </a:lnTo>
                <a:lnTo>
                  <a:pt x="249" y="74"/>
                </a:lnTo>
                <a:lnTo>
                  <a:pt x="254" y="72"/>
                </a:lnTo>
                <a:close/>
                <a:moveTo>
                  <a:pt x="315" y="120"/>
                </a:moveTo>
                <a:lnTo>
                  <a:pt x="466" y="120"/>
                </a:lnTo>
                <a:lnTo>
                  <a:pt x="471" y="121"/>
                </a:lnTo>
                <a:lnTo>
                  <a:pt x="475" y="124"/>
                </a:lnTo>
                <a:lnTo>
                  <a:pt x="478" y="128"/>
                </a:lnTo>
                <a:lnTo>
                  <a:pt x="479" y="133"/>
                </a:lnTo>
                <a:lnTo>
                  <a:pt x="478" y="137"/>
                </a:lnTo>
                <a:lnTo>
                  <a:pt x="475" y="140"/>
                </a:lnTo>
                <a:lnTo>
                  <a:pt x="471" y="143"/>
                </a:lnTo>
                <a:lnTo>
                  <a:pt x="466" y="144"/>
                </a:lnTo>
                <a:lnTo>
                  <a:pt x="315" y="144"/>
                </a:lnTo>
                <a:lnTo>
                  <a:pt x="311" y="143"/>
                </a:lnTo>
                <a:lnTo>
                  <a:pt x="307" y="140"/>
                </a:lnTo>
                <a:lnTo>
                  <a:pt x="304" y="137"/>
                </a:lnTo>
                <a:lnTo>
                  <a:pt x="303" y="133"/>
                </a:lnTo>
                <a:lnTo>
                  <a:pt x="304" y="128"/>
                </a:lnTo>
                <a:lnTo>
                  <a:pt x="307" y="124"/>
                </a:lnTo>
                <a:lnTo>
                  <a:pt x="311" y="121"/>
                </a:lnTo>
                <a:lnTo>
                  <a:pt x="315" y="120"/>
                </a:lnTo>
                <a:close/>
                <a:moveTo>
                  <a:pt x="720" y="468"/>
                </a:moveTo>
                <a:lnTo>
                  <a:pt x="720" y="467"/>
                </a:lnTo>
                <a:lnTo>
                  <a:pt x="720" y="465"/>
                </a:lnTo>
                <a:lnTo>
                  <a:pt x="720" y="464"/>
                </a:lnTo>
                <a:lnTo>
                  <a:pt x="719" y="463"/>
                </a:lnTo>
                <a:lnTo>
                  <a:pt x="719" y="463"/>
                </a:lnTo>
                <a:lnTo>
                  <a:pt x="719" y="463"/>
                </a:lnTo>
                <a:lnTo>
                  <a:pt x="611" y="294"/>
                </a:lnTo>
                <a:lnTo>
                  <a:pt x="609" y="292"/>
                </a:lnTo>
                <a:lnTo>
                  <a:pt x="606" y="289"/>
                </a:lnTo>
                <a:lnTo>
                  <a:pt x="604" y="289"/>
                </a:lnTo>
                <a:lnTo>
                  <a:pt x="601" y="288"/>
                </a:lnTo>
                <a:lnTo>
                  <a:pt x="577" y="288"/>
                </a:lnTo>
                <a:lnTo>
                  <a:pt x="577" y="12"/>
                </a:lnTo>
                <a:lnTo>
                  <a:pt x="575" y="7"/>
                </a:lnTo>
                <a:lnTo>
                  <a:pt x="573" y="3"/>
                </a:lnTo>
                <a:lnTo>
                  <a:pt x="569" y="0"/>
                </a:lnTo>
                <a:lnTo>
                  <a:pt x="565" y="0"/>
                </a:lnTo>
                <a:lnTo>
                  <a:pt x="157" y="0"/>
                </a:lnTo>
                <a:lnTo>
                  <a:pt x="151" y="0"/>
                </a:lnTo>
                <a:lnTo>
                  <a:pt x="148" y="3"/>
                </a:lnTo>
                <a:lnTo>
                  <a:pt x="145" y="7"/>
                </a:lnTo>
                <a:lnTo>
                  <a:pt x="144" y="12"/>
                </a:lnTo>
                <a:lnTo>
                  <a:pt x="144" y="288"/>
                </a:lnTo>
                <a:lnTo>
                  <a:pt x="119" y="288"/>
                </a:lnTo>
                <a:lnTo>
                  <a:pt x="117" y="289"/>
                </a:lnTo>
                <a:lnTo>
                  <a:pt x="114" y="289"/>
                </a:lnTo>
                <a:lnTo>
                  <a:pt x="112" y="292"/>
                </a:lnTo>
                <a:lnTo>
                  <a:pt x="110" y="294"/>
                </a:lnTo>
                <a:lnTo>
                  <a:pt x="1" y="463"/>
                </a:lnTo>
                <a:lnTo>
                  <a:pt x="1" y="463"/>
                </a:lnTo>
                <a:lnTo>
                  <a:pt x="1" y="463"/>
                </a:lnTo>
                <a:lnTo>
                  <a:pt x="1" y="464"/>
                </a:lnTo>
                <a:lnTo>
                  <a:pt x="0" y="465"/>
                </a:lnTo>
                <a:lnTo>
                  <a:pt x="0" y="467"/>
                </a:lnTo>
                <a:lnTo>
                  <a:pt x="0" y="468"/>
                </a:lnTo>
                <a:lnTo>
                  <a:pt x="0" y="468"/>
                </a:lnTo>
                <a:lnTo>
                  <a:pt x="0" y="469"/>
                </a:lnTo>
                <a:lnTo>
                  <a:pt x="0" y="685"/>
                </a:lnTo>
                <a:lnTo>
                  <a:pt x="1" y="690"/>
                </a:lnTo>
                <a:lnTo>
                  <a:pt x="4" y="694"/>
                </a:lnTo>
                <a:lnTo>
                  <a:pt x="8" y="696"/>
                </a:lnTo>
                <a:lnTo>
                  <a:pt x="11" y="696"/>
                </a:lnTo>
                <a:lnTo>
                  <a:pt x="709" y="696"/>
                </a:lnTo>
                <a:lnTo>
                  <a:pt x="714" y="696"/>
                </a:lnTo>
                <a:lnTo>
                  <a:pt x="718" y="694"/>
                </a:lnTo>
                <a:lnTo>
                  <a:pt x="720" y="690"/>
                </a:lnTo>
                <a:lnTo>
                  <a:pt x="720" y="685"/>
                </a:lnTo>
                <a:lnTo>
                  <a:pt x="720" y="469"/>
                </a:lnTo>
                <a:lnTo>
                  <a:pt x="720" y="468"/>
                </a:lnTo>
                <a:lnTo>
                  <a:pt x="720" y="4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</a:lstStyle>
          <a:p>
            <a:pPr rtl="0"/>
            <a:endParaRPr lang="ru-RU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878E9E76-0170-4D84-BCC3-07E8CC1CF33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defPPr>
              <a:defRPr lang="ru-RU"/>
            </a:defPPr>
          </a:lstStyle>
          <a:p>
            <a:pPr rtl="0"/>
            <a:fld id="{50B45972-4F69-4522-B753-6C543C0AF7A3}" type="datetime1">
              <a:rPr lang="ru-RU" smtClean="0"/>
              <a:t>07.10.2022</a:t>
            </a:fld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defPPr>
              <a:defRPr lang="ru-RU"/>
            </a:defPPr>
          </a:lstStyle>
          <a:p>
            <a:pPr rtl="0"/>
            <a:fld id="{5A4A7955-6230-48B4-BD8B-A7C460F75945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20671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05AD1DB-6CC8-DC0F-74C8-6ED2CAF1C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тимизация налогового администрирования </a:t>
            </a:r>
          </a:p>
        </p:txBody>
      </p:sp>
      <p:graphicFrame>
        <p:nvGraphicFramePr>
          <p:cNvPr id="3" name="Таблица 19">
            <a:extLst>
              <a:ext uri="{FF2B5EF4-FFF2-40B4-BE49-F238E27FC236}">
                <a16:creationId xmlns:a16="http://schemas.microsoft.com/office/drawing/2014/main" xmlns="" id="{9DB4E469-2EB8-8F58-5B6F-EE649711EB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2055165"/>
              </p:ext>
            </p:extLst>
          </p:nvPr>
        </p:nvGraphicFramePr>
        <p:xfrm>
          <a:off x="1090569" y="1954579"/>
          <a:ext cx="5765101" cy="4422776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5765101">
                  <a:extLst>
                    <a:ext uri="{9D8B030D-6E8A-4147-A177-3AD203B41FA5}">
                      <a16:colId xmlns:a16="http://schemas.microsoft.com/office/drawing/2014/main" xmlns="" val="493813631"/>
                    </a:ext>
                  </a:extLst>
                </a:gridCol>
              </a:tblGrid>
              <a:tr h="559906">
                <a:tc>
                  <a:txBody>
                    <a:bodyPr/>
                    <a:lstStyle/>
                    <a:p>
                      <a:pPr algn="l" rtl="0"/>
                      <a:r>
                        <a:rPr lang="ru-RU" sz="1600" noProof="0" dirty="0">
                          <a:solidFill>
                            <a:schemeClr val="bg1"/>
                          </a:solidFill>
                        </a:rPr>
                        <a:t>Повышение эффективности  налогового администрирования Республики Таджикистан</a:t>
                      </a:r>
                      <a:endParaRPr lang="ru-RU" sz="11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0369641"/>
                  </a:ext>
                </a:extLst>
              </a:tr>
              <a:tr h="23574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Сокращение</a:t>
                      </a:r>
                      <a:r>
                        <a:rPr lang="ru-RU" sz="105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 </a:t>
                      </a:r>
                      <a:r>
                        <a:rPr lang="ru-RU" sz="130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общего количества налоговых проверок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Сокращение выездных  налоговых проверок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Сокращение </a:t>
                      </a:r>
                      <a:r>
                        <a:rPr lang="ru-RU" sz="240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налогового разрыв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Рост </a:t>
                      </a:r>
                      <a:r>
                        <a:rPr lang="ru-RU" sz="200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досудебного урегулирования</a:t>
                      </a:r>
                      <a:r>
                        <a:rPr lang="ru-RU" sz="105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 налоговых споров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Сокращения  </a:t>
                      </a:r>
                      <a:r>
                        <a:rPr lang="ru-RU" sz="1400" noProof="0" dirty="0">
                          <a:solidFill>
                            <a:srgbClr val="0070C0"/>
                          </a:solidFill>
                        </a:rPr>
                        <a:t>максимального времени   взаимодействия  налогоплательщика</a:t>
                      </a:r>
                      <a:r>
                        <a:rPr lang="ru-RU" sz="140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 </a:t>
                      </a:r>
                      <a:r>
                        <a:rPr lang="ru-RU" sz="105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после подачи декларации </a:t>
                      </a:r>
                      <a:r>
                        <a:rPr lang="ru-RU" sz="1600" b="1" noProof="0" dirty="0">
                          <a:solidFill>
                            <a:schemeClr val="accent1"/>
                          </a:solidFill>
                        </a:rPr>
                        <a:t>(50 </a:t>
                      </a:r>
                      <a:r>
                        <a:rPr lang="ru-RU" sz="1600" b="1" noProof="0" dirty="0" err="1">
                          <a:solidFill>
                            <a:schemeClr val="accent1"/>
                          </a:solidFill>
                        </a:rPr>
                        <a:t>дн</a:t>
                      </a:r>
                      <a:r>
                        <a:rPr lang="ru-RU" sz="1600" b="1" noProof="0" dirty="0">
                          <a:solidFill>
                            <a:schemeClr val="accent1"/>
                          </a:solidFill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noProof="0" dirty="0">
                          <a:solidFill>
                            <a:schemeClr val="tx1"/>
                          </a:solidFill>
                        </a:rPr>
                        <a:t>Снижение </a:t>
                      </a:r>
                      <a:r>
                        <a:rPr lang="ru-RU" sz="1800" b="0" noProof="0" dirty="0">
                          <a:solidFill>
                            <a:schemeClr val="tx1"/>
                          </a:solidFill>
                        </a:rPr>
                        <a:t>трансакционных издержек </a:t>
                      </a:r>
                      <a:r>
                        <a:rPr lang="ru-RU" sz="1600" b="1" noProof="0" dirty="0">
                          <a:solidFill>
                            <a:schemeClr val="accent1"/>
                          </a:solidFill>
                        </a:rPr>
                        <a:t>на администрирование и контроль  </a:t>
                      </a:r>
                      <a:r>
                        <a:rPr lang="ru-RU" sz="1400" b="0" noProof="0" dirty="0">
                          <a:solidFill>
                            <a:schemeClr val="tx1"/>
                          </a:solidFill>
                        </a:rPr>
                        <a:t>по цепочке «налогоплательщик – налоговый комитет – заинтересованные стороны»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1782274"/>
                  </a:ext>
                </a:extLst>
              </a:tr>
              <a:tr h="2652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noProof="0" dirty="0">
                        <a:gradFill>
                          <a:gsLst>
                            <a:gs pos="18000">
                              <a:schemeClr val="tx1"/>
                            </a:gs>
                            <a:gs pos="36000">
                              <a:schemeClr val="tx1"/>
                            </a:gs>
                          </a:gsLst>
                          <a:lin ang="5400000" scaled="1"/>
                        </a:gra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93317174"/>
                  </a:ext>
                </a:extLst>
              </a:tr>
              <a:tr h="2946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noProof="0" dirty="0">
                          <a:solidFill>
                            <a:schemeClr val="accent3">
                              <a:lumMod val="20000"/>
                              <a:lumOff val="80000"/>
                            </a:schemeClr>
                          </a:solidFill>
                        </a:rPr>
                        <a:t>Показатели  собираемости налогов - финансы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08639897"/>
                  </a:ext>
                </a:extLst>
              </a:tr>
              <a:tr h="7956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spc="-3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Налоговые доходы </a:t>
                      </a:r>
                      <a:r>
                        <a:rPr lang="ru-RU" sz="1600" b="0" spc="-3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в бюджете Республики </a:t>
                      </a:r>
                      <a:r>
                        <a:rPr lang="ru-RU" sz="1600" b="0" spc="-30" noProof="0" dirty="0" err="1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Таджкистан</a:t>
                      </a:r>
                      <a:r>
                        <a:rPr lang="ru-RU" sz="1600" b="0" spc="-30" noProof="0" dirty="0">
                          <a:gradFill>
                            <a:gsLst>
                              <a:gs pos="18000">
                                <a:schemeClr val="tx1"/>
                              </a:gs>
                              <a:gs pos="36000">
                                <a:schemeClr val="tx1"/>
                              </a:gs>
                            </a:gsLst>
                            <a:lin ang="5400000" scaled="1"/>
                          </a:gradFill>
                        </a:rPr>
                        <a:t> – стабильная -  </a:t>
                      </a:r>
                      <a:r>
                        <a:rPr lang="ru-RU" sz="1600" b="0" spc="-30" noProof="0" dirty="0">
                          <a:solidFill>
                            <a:schemeClr val="accent1"/>
                          </a:solidFill>
                        </a:rPr>
                        <a:t>динамика роста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16136156"/>
                  </a:ext>
                </a:extLst>
              </a:tr>
            </a:tbl>
          </a:graphicData>
        </a:graphic>
      </p:graphicFrame>
      <p:pic>
        <p:nvPicPr>
          <p:cNvPr id="4" name="Immagine 2">
            <a:extLst>
              <a:ext uri="{FF2B5EF4-FFF2-40B4-BE49-F238E27FC236}">
                <a16:creationId xmlns:a16="http://schemas.microsoft.com/office/drawing/2014/main" xmlns="" id="{65462844-1FA8-E694-2303-37C1FC5280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1119064"/>
            <a:ext cx="5758390" cy="3712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670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 hidden="1">
            <a:extLst>
              <a:ext uri="{FF2B5EF4-FFF2-40B4-BE49-F238E27FC236}">
                <a16:creationId xmlns:a16="http://schemas.microsoft.com/office/drawing/2014/main" xmlns="" id="{B3BD514C-5618-4AB2-94AF-5ED97FCD465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10515600" cy="1325563"/>
          </a:xfrm>
        </p:spPr>
        <p:txBody>
          <a:bodyPr rtlCol="0">
            <a:normAutofit fontScale="90000"/>
          </a:bodyPr>
          <a:lstStyle>
            <a:defPPr>
              <a:defRPr lang="ru-RU"/>
            </a:defPPr>
          </a:lstStyle>
          <a:p>
            <a:pPr rtl="0"/>
            <a:r>
              <a:rPr lang="ru-RU" dirty="0"/>
              <a:t>Слайд 9 сбалансированной системы показателей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7A5D2A43-E613-4861-B777-A0FBFF47453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sp>
        <p:nvSpPr>
          <p:cNvPr id="13" name="Надпись 12">
            <a:extLst>
              <a:ext uri="{FF2B5EF4-FFF2-40B4-BE49-F238E27FC236}">
                <a16:creationId xmlns:a16="http://schemas.microsoft.com/office/drawing/2014/main" xmlns="" id="{63C92C2E-8888-42AB-A36D-D6F2B362B0CD}"/>
              </a:ext>
            </a:extLst>
          </p:cNvPr>
          <p:cNvSpPr txBox="1"/>
          <p:nvPr/>
        </p:nvSpPr>
        <p:spPr>
          <a:xfrm>
            <a:off x="1471924" y="200998"/>
            <a:ext cx="9255197" cy="11079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ru-RU"/>
            </a:defPPr>
          </a:lstStyle>
          <a:p>
            <a:pPr algn="ctr" rtl="0"/>
            <a:r>
              <a:rPr lang="ru-RU" sz="3600" dirty="0">
                <a:latin typeface="+mj-lt"/>
              </a:rPr>
              <a:t>Динамика налоговых доходов Республики Таджикистан</a:t>
            </a:r>
          </a:p>
        </p:txBody>
      </p:sp>
      <p:graphicFrame>
        <p:nvGraphicFramePr>
          <p:cNvPr id="16" name="Диаграмма 15" descr="Это диаграмма. ">
            <a:extLst>
              <a:ext uri="{FF2B5EF4-FFF2-40B4-BE49-F238E27FC236}">
                <a16:creationId xmlns:a16="http://schemas.microsoft.com/office/drawing/2014/main" xmlns="" id="{41159194-449F-F2B6-0380-0C589E5665CC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2094898"/>
              </p:ext>
            </p:extLst>
          </p:nvPr>
        </p:nvGraphicFramePr>
        <p:xfrm>
          <a:off x="1538890" y="1178702"/>
          <a:ext cx="9618467" cy="4253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6" name="Графический объект 5" descr="Деньги">
            <a:extLst>
              <a:ext uri="{FF2B5EF4-FFF2-40B4-BE49-F238E27FC236}">
                <a16:creationId xmlns:a16="http://schemas.microsoft.com/office/drawing/2014/main" xmlns="" id="{3CE7A446-42FD-4639-BB09-5157124A095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13898" y="1386567"/>
            <a:ext cx="215444" cy="215444"/>
          </a:xfrm>
          <a:prstGeom prst="rect">
            <a:avLst/>
          </a:prstGeom>
        </p:spPr>
      </p:pic>
      <p:grpSp>
        <p:nvGrpSpPr>
          <p:cNvPr id="178" name="Группа 177" descr="Это изображение содержит значок грузовика. ">
            <a:extLst>
              <a:ext uri="{FF2B5EF4-FFF2-40B4-BE49-F238E27FC236}">
                <a16:creationId xmlns:a16="http://schemas.microsoft.com/office/drawing/2014/main" xmlns="" id="{08905B85-E6BE-44CA-B230-B498D7457F46}"/>
              </a:ext>
            </a:extLst>
          </p:cNvPr>
          <p:cNvGrpSpPr/>
          <p:nvPr/>
        </p:nvGrpSpPr>
        <p:grpSpPr>
          <a:xfrm>
            <a:off x="5653034" y="2585435"/>
            <a:ext cx="215881" cy="187256"/>
            <a:chOff x="2598738" y="2530475"/>
            <a:chExt cx="287338" cy="249238"/>
          </a:xfrm>
          <a:solidFill>
            <a:schemeClr val="bg1"/>
          </a:solidFill>
        </p:grpSpPr>
        <p:sp>
          <p:nvSpPr>
            <p:cNvPr id="179" name="Полилиния 527">
              <a:extLst>
                <a:ext uri="{FF2B5EF4-FFF2-40B4-BE49-F238E27FC236}">
                  <a16:creationId xmlns:a16="http://schemas.microsoft.com/office/drawing/2014/main" xmlns="" id="{9D5D291A-EE04-4BBB-A753-B9585AC75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888" y="2625725"/>
              <a:ext cx="123825" cy="134938"/>
            </a:xfrm>
            <a:custGeom>
              <a:avLst/>
              <a:gdLst>
                <a:gd name="T0" fmla="*/ 187 w 391"/>
                <a:gd name="T1" fmla="*/ 0 h 421"/>
                <a:gd name="T2" fmla="*/ 172 w 391"/>
                <a:gd name="T3" fmla="*/ 19 h 421"/>
                <a:gd name="T4" fmla="*/ 155 w 391"/>
                <a:gd name="T5" fmla="*/ 36 h 421"/>
                <a:gd name="T6" fmla="*/ 135 w 391"/>
                <a:gd name="T7" fmla="*/ 52 h 421"/>
                <a:gd name="T8" fmla="*/ 113 w 391"/>
                <a:gd name="T9" fmla="*/ 65 h 421"/>
                <a:gd name="T10" fmla="*/ 91 w 391"/>
                <a:gd name="T11" fmla="*/ 76 h 421"/>
                <a:gd name="T12" fmla="*/ 67 w 391"/>
                <a:gd name="T13" fmla="*/ 83 h 421"/>
                <a:gd name="T14" fmla="*/ 41 w 391"/>
                <a:gd name="T15" fmla="*/ 89 h 421"/>
                <a:gd name="T16" fmla="*/ 15 w 391"/>
                <a:gd name="T17" fmla="*/ 90 h 421"/>
                <a:gd name="T18" fmla="*/ 0 w 391"/>
                <a:gd name="T19" fmla="*/ 89 h 421"/>
                <a:gd name="T20" fmla="*/ 1 w 391"/>
                <a:gd name="T21" fmla="*/ 410 h 421"/>
                <a:gd name="T22" fmla="*/ 3 w 391"/>
                <a:gd name="T23" fmla="*/ 415 h 421"/>
                <a:gd name="T24" fmla="*/ 6 w 391"/>
                <a:gd name="T25" fmla="*/ 418 h 421"/>
                <a:gd name="T26" fmla="*/ 11 w 391"/>
                <a:gd name="T27" fmla="*/ 421 h 421"/>
                <a:gd name="T28" fmla="*/ 77 w 391"/>
                <a:gd name="T29" fmla="*/ 421 h 421"/>
                <a:gd name="T30" fmla="*/ 75 w 391"/>
                <a:gd name="T31" fmla="*/ 406 h 421"/>
                <a:gd name="T32" fmla="*/ 77 w 391"/>
                <a:gd name="T33" fmla="*/ 385 h 421"/>
                <a:gd name="T34" fmla="*/ 83 w 391"/>
                <a:gd name="T35" fmla="*/ 366 h 421"/>
                <a:gd name="T36" fmla="*/ 93 w 391"/>
                <a:gd name="T37" fmla="*/ 347 h 421"/>
                <a:gd name="T38" fmla="*/ 106 w 391"/>
                <a:gd name="T39" fmla="*/ 331 h 421"/>
                <a:gd name="T40" fmla="*/ 122 w 391"/>
                <a:gd name="T41" fmla="*/ 318 h 421"/>
                <a:gd name="T42" fmla="*/ 139 w 391"/>
                <a:gd name="T43" fmla="*/ 309 h 421"/>
                <a:gd name="T44" fmla="*/ 159 w 391"/>
                <a:gd name="T45" fmla="*/ 303 h 421"/>
                <a:gd name="T46" fmla="*/ 181 w 391"/>
                <a:gd name="T47" fmla="*/ 301 h 421"/>
                <a:gd name="T48" fmla="*/ 201 w 391"/>
                <a:gd name="T49" fmla="*/ 303 h 421"/>
                <a:gd name="T50" fmla="*/ 222 w 391"/>
                <a:gd name="T51" fmla="*/ 309 h 421"/>
                <a:gd name="T52" fmla="*/ 240 w 391"/>
                <a:gd name="T53" fmla="*/ 318 h 421"/>
                <a:gd name="T54" fmla="*/ 255 w 391"/>
                <a:gd name="T55" fmla="*/ 331 h 421"/>
                <a:gd name="T56" fmla="*/ 268 w 391"/>
                <a:gd name="T57" fmla="*/ 347 h 421"/>
                <a:gd name="T58" fmla="*/ 277 w 391"/>
                <a:gd name="T59" fmla="*/ 366 h 421"/>
                <a:gd name="T60" fmla="*/ 284 w 391"/>
                <a:gd name="T61" fmla="*/ 385 h 421"/>
                <a:gd name="T62" fmla="*/ 286 w 391"/>
                <a:gd name="T63" fmla="*/ 406 h 421"/>
                <a:gd name="T64" fmla="*/ 285 w 391"/>
                <a:gd name="T65" fmla="*/ 421 h 421"/>
                <a:gd name="T66" fmla="*/ 379 w 391"/>
                <a:gd name="T67" fmla="*/ 420 h 421"/>
                <a:gd name="T68" fmla="*/ 385 w 391"/>
                <a:gd name="T69" fmla="*/ 418 h 421"/>
                <a:gd name="T70" fmla="*/ 389 w 391"/>
                <a:gd name="T71" fmla="*/ 415 h 421"/>
                <a:gd name="T72" fmla="*/ 391 w 391"/>
                <a:gd name="T73" fmla="*/ 410 h 421"/>
                <a:gd name="T74" fmla="*/ 391 w 391"/>
                <a:gd name="T75" fmla="*/ 15 h 421"/>
                <a:gd name="T76" fmla="*/ 390 w 391"/>
                <a:gd name="T77" fmla="*/ 8 h 421"/>
                <a:gd name="T78" fmla="*/ 387 w 391"/>
                <a:gd name="T79" fmla="*/ 4 h 421"/>
                <a:gd name="T80" fmla="*/ 382 w 391"/>
                <a:gd name="T81" fmla="*/ 1 h 421"/>
                <a:gd name="T82" fmla="*/ 376 w 391"/>
                <a:gd name="T83" fmla="*/ 0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91" h="421">
                  <a:moveTo>
                    <a:pt x="376" y="0"/>
                  </a:moveTo>
                  <a:lnTo>
                    <a:pt x="187" y="0"/>
                  </a:lnTo>
                  <a:lnTo>
                    <a:pt x="180" y="9"/>
                  </a:lnTo>
                  <a:lnTo>
                    <a:pt x="172" y="19"/>
                  </a:lnTo>
                  <a:lnTo>
                    <a:pt x="164" y="28"/>
                  </a:lnTo>
                  <a:lnTo>
                    <a:pt x="155" y="36"/>
                  </a:lnTo>
                  <a:lnTo>
                    <a:pt x="145" y="45"/>
                  </a:lnTo>
                  <a:lnTo>
                    <a:pt x="135" y="52"/>
                  </a:lnTo>
                  <a:lnTo>
                    <a:pt x="125" y="59"/>
                  </a:lnTo>
                  <a:lnTo>
                    <a:pt x="113" y="65"/>
                  </a:lnTo>
                  <a:lnTo>
                    <a:pt x="103" y="71"/>
                  </a:lnTo>
                  <a:lnTo>
                    <a:pt x="91" y="76"/>
                  </a:lnTo>
                  <a:lnTo>
                    <a:pt x="79" y="80"/>
                  </a:lnTo>
                  <a:lnTo>
                    <a:pt x="67" y="83"/>
                  </a:lnTo>
                  <a:lnTo>
                    <a:pt x="54" y="87"/>
                  </a:lnTo>
                  <a:lnTo>
                    <a:pt x="41" y="89"/>
                  </a:lnTo>
                  <a:lnTo>
                    <a:pt x="29" y="90"/>
                  </a:lnTo>
                  <a:lnTo>
                    <a:pt x="15" y="90"/>
                  </a:lnTo>
                  <a:lnTo>
                    <a:pt x="7" y="90"/>
                  </a:lnTo>
                  <a:lnTo>
                    <a:pt x="0" y="89"/>
                  </a:lnTo>
                  <a:lnTo>
                    <a:pt x="0" y="406"/>
                  </a:lnTo>
                  <a:lnTo>
                    <a:pt x="1" y="410"/>
                  </a:lnTo>
                  <a:lnTo>
                    <a:pt x="1" y="412"/>
                  </a:lnTo>
                  <a:lnTo>
                    <a:pt x="3" y="415"/>
                  </a:lnTo>
                  <a:lnTo>
                    <a:pt x="4" y="417"/>
                  </a:lnTo>
                  <a:lnTo>
                    <a:pt x="6" y="418"/>
                  </a:lnTo>
                  <a:lnTo>
                    <a:pt x="9" y="420"/>
                  </a:lnTo>
                  <a:lnTo>
                    <a:pt x="11" y="421"/>
                  </a:lnTo>
                  <a:lnTo>
                    <a:pt x="15" y="421"/>
                  </a:lnTo>
                  <a:lnTo>
                    <a:pt x="77" y="421"/>
                  </a:lnTo>
                  <a:lnTo>
                    <a:pt x="76" y="414"/>
                  </a:lnTo>
                  <a:lnTo>
                    <a:pt x="75" y="406"/>
                  </a:lnTo>
                  <a:lnTo>
                    <a:pt x="76" y="396"/>
                  </a:lnTo>
                  <a:lnTo>
                    <a:pt x="77" y="385"/>
                  </a:lnTo>
                  <a:lnTo>
                    <a:pt x="80" y="375"/>
                  </a:lnTo>
                  <a:lnTo>
                    <a:pt x="83" y="366"/>
                  </a:lnTo>
                  <a:lnTo>
                    <a:pt x="88" y="356"/>
                  </a:lnTo>
                  <a:lnTo>
                    <a:pt x="93" y="347"/>
                  </a:lnTo>
                  <a:lnTo>
                    <a:pt x="99" y="339"/>
                  </a:lnTo>
                  <a:lnTo>
                    <a:pt x="106" y="331"/>
                  </a:lnTo>
                  <a:lnTo>
                    <a:pt x="113" y="325"/>
                  </a:lnTo>
                  <a:lnTo>
                    <a:pt x="122" y="318"/>
                  </a:lnTo>
                  <a:lnTo>
                    <a:pt x="130" y="313"/>
                  </a:lnTo>
                  <a:lnTo>
                    <a:pt x="139" y="309"/>
                  </a:lnTo>
                  <a:lnTo>
                    <a:pt x="150" y="305"/>
                  </a:lnTo>
                  <a:lnTo>
                    <a:pt x="159" y="303"/>
                  </a:lnTo>
                  <a:lnTo>
                    <a:pt x="170" y="301"/>
                  </a:lnTo>
                  <a:lnTo>
                    <a:pt x="181" y="301"/>
                  </a:lnTo>
                  <a:lnTo>
                    <a:pt x="192" y="301"/>
                  </a:lnTo>
                  <a:lnTo>
                    <a:pt x="201" y="303"/>
                  </a:lnTo>
                  <a:lnTo>
                    <a:pt x="212" y="305"/>
                  </a:lnTo>
                  <a:lnTo>
                    <a:pt x="222" y="309"/>
                  </a:lnTo>
                  <a:lnTo>
                    <a:pt x="230" y="313"/>
                  </a:lnTo>
                  <a:lnTo>
                    <a:pt x="240" y="318"/>
                  </a:lnTo>
                  <a:lnTo>
                    <a:pt x="247" y="325"/>
                  </a:lnTo>
                  <a:lnTo>
                    <a:pt x="255" y="331"/>
                  </a:lnTo>
                  <a:lnTo>
                    <a:pt x="261" y="339"/>
                  </a:lnTo>
                  <a:lnTo>
                    <a:pt x="268" y="347"/>
                  </a:lnTo>
                  <a:lnTo>
                    <a:pt x="273" y="356"/>
                  </a:lnTo>
                  <a:lnTo>
                    <a:pt x="277" y="366"/>
                  </a:lnTo>
                  <a:lnTo>
                    <a:pt x="282" y="375"/>
                  </a:lnTo>
                  <a:lnTo>
                    <a:pt x="284" y="385"/>
                  </a:lnTo>
                  <a:lnTo>
                    <a:pt x="285" y="396"/>
                  </a:lnTo>
                  <a:lnTo>
                    <a:pt x="286" y="406"/>
                  </a:lnTo>
                  <a:lnTo>
                    <a:pt x="286" y="414"/>
                  </a:lnTo>
                  <a:lnTo>
                    <a:pt x="285" y="421"/>
                  </a:lnTo>
                  <a:lnTo>
                    <a:pt x="376" y="421"/>
                  </a:lnTo>
                  <a:lnTo>
                    <a:pt x="379" y="420"/>
                  </a:lnTo>
                  <a:lnTo>
                    <a:pt x="382" y="420"/>
                  </a:lnTo>
                  <a:lnTo>
                    <a:pt x="385" y="418"/>
                  </a:lnTo>
                  <a:lnTo>
                    <a:pt x="387" y="417"/>
                  </a:lnTo>
                  <a:lnTo>
                    <a:pt x="389" y="415"/>
                  </a:lnTo>
                  <a:lnTo>
                    <a:pt x="390" y="412"/>
                  </a:lnTo>
                  <a:lnTo>
                    <a:pt x="391" y="410"/>
                  </a:lnTo>
                  <a:lnTo>
                    <a:pt x="391" y="406"/>
                  </a:lnTo>
                  <a:lnTo>
                    <a:pt x="391" y="15"/>
                  </a:lnTo>
                  <a:lnTo>
                    <a:pt x="391" y="12"/>
                  </a:lnTo>
                  <a:lnTo>
                    <a:pt x="390" y="8"/>
                  </a:lnTo>
                  <a:lnTo>
                    <a:pt x="389" y="6"/>
                  </a:lnTo>
                  <a:lnTo>
                    <a:pt x="387" y="4"/>
                  </a:lnTo>
                  <a:lnTo>
                    <a:pt x="385" y="2"/>
                  </a:lnTo>
                  <a:lnTo>
                    <a:pt x="382" y="1"/>
                  </a:lnTo>
                  <a:lnTo>
                    <a:pt x="379" y="0"/>
                  </a:lnTo>
                  <a:lnTo>
                    <a:pt x="376" y="0"/>
                  </a:lnTo>
                  <a:lnTo>
                    <a:pt x="3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80" name="Полилиния 528">
              <a:extLst>
                <a:ext uri="{FF2B5EF4-FFF2-40B4-BE49-F238E27FC236}">
                  <a16:creationId xmlns:a16="http://schemas.microsoft.com/office/drawing/2014/main" xmlns="" id="{EB2747B3-FD70-4CD7-AD46-B5E325FB0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8738" y="2692400"/>
              <a:ext cx="47625" cy="9525"/>
            </a:xfrm>
            <a:custGeom>
              <a:avLst/>
              <a:gdLst>
                <a:gd name="T0" fmla="*/ 136 w 151"/>
                <a:gd name="T1" fmla="*/ 0 h 30"/>
                <a:gd name="T2" fmla="*/ 15 w 151"/>
                <a:gd name="T3" fmla="*/ 0 h 30"/>
                <a:gd name="T4" fmla="*/ 12 w 151"/>
                <a:gd name="T5" fmla="*/ 1 h 30"/>
                <a:gd name="T6" fmla="*/ 9 w 151"/>
                <a:gd name="T7" fmla="*/ 1 h 30"/>
                <a:gd name="T8" fmla="*/ 7 w 151"/>
                <a:gd name="T9" fmla="*/ 3 h 30"/>
                <a:gd name="T10" fmla="*/ 5 w 151"/>
                <a:gd name="T11" fmla="*/ 4 h 30"/>
                <a:gd name="T12" fmla="*/ 3 w 151"/>
                <a:gd name="T13" fmla="*/ 6 h 30"/>
                <a:gd name="T14" fmla="*/ 2 w 151"/>
                <a:gd name="T15" fmla="*/ 10 h 30"/>
                <a:gd name="T16" fmla="*/ 0 w 151"/>
                <a:gd name="T17" fmla="*/ 13 h 30"/>
                <a:gd name="T18" fmla="*/ 0 w 151"/>
                <a:gd name="T19" fmla="*/ 15 h 30"/>
                <a:gd name="T20" fmla="*/ 0 w 151"/>
                <a:gd name="T21" fmla="*/ 18 h 30"/>
                <a:gd name="T22" fmla="*/ 2 w 151"/>
                <a:gd name="T23" fmla="*/ 21 h 30"/>
                <a:gd name="T24" fmla="*/ 3 w 151"/>
                <a:gd name="T25" fmla="*/ 24 h 30"/>
                <a:gd name="T26" fmla="*/ 5 w 151"/>
                <a:gd name="T27" fmla="*/ 26 h 30"/>
                <a:gd name="T28" fmla="*/ 7 w 151"/>
                <a:gd name="T29" fmla="*/ 28 h 30"/>
                <a:gd name="T30" fmla="*/ 9 w 151"/>
                <a:gd name="T31" fmla="*/ 29 h 30"/>
                <a:gd name="T32" fmla="*/ 12 w 151"/>
                <a:gd name="T33" fmla="*/ 30 h 30"/>
                <a:gd name="T34" fmla="*/ 15 w 151"/>
                <a:gd name="T35" fmla="*/ 30 h 30"/>
                <a:gd name="T36" fmla="*/ 136 w 151"/>
                <a:gd name="T37" fmla="*/ 30 h 30"/>
                <a:gd name="T38" fmla="*/ 139 w 151"/>
                <a:gd name="T39" fmla="*/ 30 h 30"/>
                <a:gd name="T40" fmla="*/ 142 w 151"/>
                <a:gd name="T41" fmla="*/ 29 h 30"/>
                <a:gd name="T42" fmla="*/ 144 w 151"/>
                <a:gd name="T43" fmla="*/ 28 h 30"/>
                <a:gd name="T44" fmla="*/ 146 w 151"/>
                <a:gd name="T45" fmla="*/ 26 h 30"/>
                <a:gd name="T46" fmla="*/ 148 w 151"/>
                <a:gd name="T47" fmla="*/ 24 h 30"/>
                <a:gd name="T48" fmla="*/ 150 w 151"/>
                <a:gd name="T49" fmla="*/ 21 h 30"/>
                <a:gd name="T50" fmla="*/ 151 w 151"/>
                <a:gd name="T51" fmla="*/ 18 h 30"/>
                <a:gd name="T52" fmla="*/ 151 w 151"/>
                <a:gd name="T53" fmla="*/ 15 h 30"/>
                <a:gd name="T54" fmla="*/ 151 w 151"/>
                <a:gd name="T55" fmla="*/ 13 h 30"/>
                <a:gd name="T56" fmla="*/ 150 w 151"/>
                <a:gd name="T57" fmla="*/ 10 h 30"/>
                <a:gd name="T58" fmla="*/ 148 w 151"/>
                <a:gd name="T59" fmla="*/ 8 h 30"/>
                <a:gd name="T60" fmla="*/ 146 w 151"/>
                <a:gd name="T61" fmla="*/ 4 h 30"/>
                <a:gd name="T62" fmla="*/ 144 w 151"/>
                <a:gd name="T63" fmla="*/ 3 h 30"/>
                <a:gd name="T64" fmla="*/ 142 w 151"/>
                <a:gd name="T65" fmla="*/ 1 h 30"/>
                <a:gd name="T66" fmla="*/ 139 w 151"/>
                <a:gd name="T67" fmla="*/ 1 h 30"/>
                <a:gd name="T68" fmla="*/ 136 w 15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30">
                  <a:moveTo>
                    <a:pt x="136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36" y="30"/>
                  </a:lnTo>
                  <a:lnTo>
                    <a:pt x="139" y="30"/>
                  </a:lnTo>
                  <a:lnTo>
                    <a:pt x="142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50" y="21"/>
                  </a:lnTo>
                  <a:lnTo>
                    <a:pt x="151" y="18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0" y="10"/>
                  </a:lnTo>
                  <a:lnTo>
                    <a:pt x="148" y="8"/>
                  </a:lnTo>
                  <a:lnTo>
                    <a:pt x="146" y="4"/>
                  </a:lnTo>
                  <a:lnTo>
                    <a:pt x="144" y="3"/>
                  </a:lnTo>
                  <a:lnTo>
                    <a:pt x="142" y="1"/>
                  </a:lnTo>
                  <a:lnTo>
                    <a:pt x="139" y="1"/>
                  </a:lnTo>
                  <a:lnTo>
                    <a:pt x="1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81" name="Полилиния 529">
              <a:extLst>
                <a:ext uri="{FF2B5EF4-FFF2-40B4-BE49-F238E27FC236}">
                  <a16:creationId xmlns:a16="http://schemas.microsoft.com/office/drawing/2014/main" xmlns="" id="{F64736AE-FBBC-434D-9228-01D50D433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7788" y="2711450"/>
              <a:ext cx="28575" cy="11113"/>
            </a:xfrm>
            <a:custGeom>
              <a:avLst/>
              <a:gdLst>
                <a:gd name="T0" fmla="*/ 76 w 91"/>
                <a:gd name="T1" fmla="*/ 0 h 31"/>
                <a:gd name="T2" fmla="*/ 16 w 91"/>
                <a:gd name="T3" fmla="*/ 0 h 31"/>
                <a:gd name="T4" fmla="*/ 12 w 91"/>
                <a:gd name="T5" fmla="*/ 1 h 31"/>
                <a:gd name="T6" fmla="*/ 10 w 91"/>
                <a:gd name="T7" fmla="*/ 1 h 31"/>
                <a:gd name="T8" fmla="*/ 7 w 91"/>
                <a:gd name="T9" fmla="*/ 3 h 31"/>
                <a:gd name="T10" fmla="*/ 5 w 91"/>
                <a:gd name="T11" fmla="*/ 5 h 31"/>
                <a:gd name="T12" fmla="*/ 3 w 91"/>
                <a:gd name="T13" fmla="*/ 8 h 31"/>
                <a:gd name="T14" fmla="*/ 2 w 91"/>
                <a:gd name="T15" fmla="*/ 10 h 31"/>
                <a:gd name="T16" fmla="*/ 0 w 91"/>
                <a:gd name="T17" fmla="*/ 13 h 31"/>
                <a:gd name="T18" fmla="*/ 0 w 91"/>
                <a:gd name="T19" fmla="*/ 15 h 31"/>
                <a:gd name="T20" fmla="*/ 0 w 91"/>
                <a:gd name="T21" fmla="*/ 18 h 31"/>
                <a:gd name="T22" fmla="*/ 2 w 91"/>
                <a:gd name="T23" fmla="*/ 22 h 31"/>
                <a:gd name="T24" fmla="*/ 3 w 91"/>
                <a:gd name="T25" fmla="*/ 24 h 31"/>
                <a:gd name="T26" fmla="*/ 5 w 91"/>
                <a:gd name="T27" fmla="*/ 26 h 31"/>
                <a:gd name="T28" fmla="*/ 7 w 91"/>
                <a:gd name="T29" fmla="*/ 28 h 31"/>
                <a:gd name="T30" fmla="*/ 10 w 91"/>
                <a:gd name="T31" fmla="*/ 29 h 31"/>
                <a:gd name="T32" fmla="*/ 12 w 91"/>
                <a:gd name="T33" fmla="*/ 30 h 31"/>
                <a:gd name="T34" fmla="*/ 16 w 91"/>
                <a:gd name="T35" fmla="*/ 31 h 31"/>
                <a:gd name="T36" fmla="*/ 76 w 91"/>
                <a:gd name="T37" fmla="*/ 31 h 31"/>
                <a:gd name="T38" fmla="*/ 79 w 91"/>
                <a:gd name="T39" fmla="*/ 30 h 31"/>
                <a:gd name="T40" fmla="*/ 82 w 91"/>
                <a:gd name="T41" fmla="*/ 29 h 31"/>
                <a:gd name="T42" fmla="*/ 84 w 91"/>
                <a:gd name="T43" fmla="*/ 28 h 31"/>
                <a:gd name="T44" fmla="*/ 86 w 91"/>
                <a:gd name="T45" fmla="*/ 26 h 31"/>
                <a:gd name="T46" fmla="*/ 88 w 91"/>
                <a:gd name="T47" fmla="*/ 24 h 31"/>
                <a:gd name="T48" fmla="*/ 90 w 91"/>
                <a:gd name="T49" fmla="*/ 22 h 31"/>
                <a:gd name="T50" fmla="*/ 91 w 91"/>
                <a:gd name="T51" fmla="*/ 18 h 31"/>
                <a:gd name="T52" fmla="*/ 91 w 91"/>
                <a:gd name="T53" fmla="*/ 15 h 31"/>
                <a:gd name="T54" fmla="*/ 91 w 91"/>
                <a:gd name="T55" fmla="*/ 13 h 31"/>
                <a:gd name="T56" fmla="*/ 90 w 91"/>
                <a:gd name="T57" fmla="*/ 10 h 31"/>
                <a:gd name="T58" fmla="*/ 88 w 91"/>
                <a:gd name="T59" fmla="*/ 8 h 31"/>
                <a:gd name="T60" fmla="*/ 86 w 91"/>
                <a:gd name="T61" fmla="*/ 5 h 31"/>
                <a:gd name="T62" fmla="*/ 84 w 91"/>
                <a:gd name="T63" fmla="*/ 3 h 31"/>
                <a:gd name="T64" fmla="*/ 82 w 91"/>
                <a:gd name="T65" fmla="*/ 2 h 31"/>
                <a:gd name="T66" fmla="*/ 79 w 91"/>
                <a:gd name="T67" fmla="*/ 1 h 31"/>
                <a:gd name="T68" fmla="*/ 76 w 91"/>
                <a:gd name="T69" fmla="*/ 0 h 31"/>
                <a:gd name="T70" fmla="*/ 76 w 91"/>
                <a:gd name="T7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1" h="31">
                  <a:moveTo>
                    <a:pt x="76" y="0"/>
                  </a:moveTo>
                  <a:lnTo>
                    <a:pt x="16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8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6" y="31"/>
                  </a:lnTo>
                  <a:lnTo>
                    <a:pt x="76" y="31"/>
                  </a:lnTo>
                  <a:lnTo>
                    <a:pt x="79" y="30"/>
                  </a:lnTo>
                  <a:lnTo>
                    <a:pt x="82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90" y="22"/>
                  </a:lnTo>
                  <a:lnTo>
                    <a:pt x="91" y="18"/>
                  </a:lnTo>
                  <a:lnTo>
                    <a:pt x="91" y="15"/>
                  </a:lnTo>
                  <a:lnTo>
                    <a:pt x="91" y="13"/>
                  </a:lnTo>
                  <a:lnTo>
                    <a:pt x="90" y="10"/>
                  </a:lnTo>
                  <a:lnTo>
                    <a:pt x="88" y="8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2" y="2"/>
                  </a:lnTo>
                  <a:lnTo>
                    <a:pt x="79" y="1"/>
                  </a:lnTo>
                  <a:lnTo>
                    <a:pt x="76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82" name="Полилиния 530">
              <a:extLst>
                <a:ext uri="{FF2B5EF4-FFF2-40B4-BE49-F238E27FC236}">
                  <a16:creationId xmlns:a16="http://schemas.microsoft.com/office/drawing/2014/main" xmlns="" id="{654504E9-D8C6-406C-9420-7CA513645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313" y="2732088"/>
              <a:ext cx="19050" cy="9525"/>
            </a:xfrm>
            <a:custGeom>
              <a:avLst/>
              <a:gdLst>
                <a:gd name="T0" fmla="*/ 45 w 60"/>
                <a:gd name="T1" fmla="*/ 0 h 30"/>
                <a:gd name="T2" fmla="*/ 15 w 60"/>
                <a:gd name="T3" fmla="*/ 0 h 30"/>
                <a:gd name="T4" fmla="*/ 11 w 60"/>
                <a:gd name="T5" fmla="*/ 0 h 30"/>
                <a:gd name="T6" fmla="*/ 9 w 60"/>
                <a:gd name="T7" fmla="*/ 1 h 30"/>
                <a:gd name="T8" fmla="*/ 6 w 60"/>
                <a:gd name="T9" fmla="*/ 2 h 30"/>
                <a:gd name="T10" fmla="*/ 4 w 60"/>
                <a:gd name="T11" fmla="*/ 5 h 30"/>
                <a:gd name="T12" fmla="*/ 2 w 60"/>
                <a:gd name="T13" fmla="*/ 7 h 30"/>
                <a:gd name="T14" fmla="*/ 1 w 60"/>
                <a:gd name="T15" fmla="*/ 9 h 30"/>
                <a:gd name="T16" fmla="*/ 0 w 60"/>
                <a:gd name="T17" fmla="*/ 12 h 30"/>
                <a:gd name="T18" fmla="*/ 0 w 60"/>
                <a:gd name="T19" fmla="*/ 15 h 30"/>
                <a:gd name="T20" fmla="*/ 0 w 60"/>
                <a:gd name="T21" fmla="*/ 17 h 30"/>
                <a:gd name="T22" fmla="*/ 1 w 60"/>
                <a:gd name="T23" fmla="*/ 21 h 30"/>
                <a:gd name="T24" fmla="*/ 2 w 60"/>
                <a:gd name="T25" fmla="*/ 23 h 30"/>
                <a:gd name="T26" fmla="*/ 4 w 60"/>
                <a:gd name="T27" fmla="*/ 26 h 30"/>
                <a:gd name="T28" fmla="*/ 6 w 60"/>
                <a:gd name="T29" fmla="*/ 27 h 30"/>
                <a:gd name="T30" fmla="*/ 9 w 60"/>
                <a:gd name="T31" fmla="*/ 29 h 30"/>
                <a:gd name="T32" fmla="*/ 11 w 60"/>
                <a:gd name="T33" fmla="*/ 29 h 30"/>
                <a:gd name="T34" fmla="*/ 15 w 60"/>
                <a:gd name="T35" fmla="*/ 30 h 30"/>
                <a:gd name="T36" fmla="*/ 45 w 60"/>
                <a:gd name="T37" fmla="*/ 30 h 30"/>
                <a:gd name="T38" fmla="*/ 48 w 60"/>
                <a:gd name="T39" fmla="*/ 29 h 30"/>
                <a:gd name="T40" fmla="*/ 51 w 60"/>
                <a:gd name="T41" fmla="*/ 29 h 30"/>
                <a:gd name="T42" fmla="*/ 53 w 60"/>
                <a:gd name="T43" fmla="*/ 27 h 30"/>
                <a:gd name="T44" fmla="*/ 55 w 60"/>
                <a:gd name="T45" fmla="*/ 26 h 30"/>
                <a:gd name="T46" fmla="*/ 57 w 60"/>
                <a:gd name="T47" fmla="*/ 23 h 30"/>
                <a:gd name="T48" fmla="*/ 59 w 60"/>
                <a:gd name="T49" fmla="*/ 21 h 30"/>
                <a:gd name="T50" fmla="*/ 60 w 60"/>
                <a:gd name="T51" fmla="*/ 17 h 30"/>
                <a:gd name="T52" fmla="*/ 60 w 60"/>
                <a:gd name="T53" fmla="*/ 15 h 30"/>
                <a:gd name="T54" fmla="*/ 60 w 60"/>
                <a:gd name="T55" fmla="*/ 12 h 30"/>
                <a:gd name="T56" fmla="*/ 59 w 60"/>
                <a:gd name="T57" fmla="*/ 9 h 30"/>
                <a:gd name="T58" fmla="*/ 57 w 60"/>
                <a:gd name="T59" fmla="*/ 7 h 30"/>
                <a:gd name="T60" fmla="*/ 55 w 60"/>
                <a:gd name="T61" fmla="*/ 5 h 30"/>
                <a:gd name="T62" fmla="*/ 53 w 60"/>
                <a:gd name="T63" fmla="*/ 2 h 30"/>
                <a:gd name="T64" fmla="*/ 51 w 60"/>
                <a:gd name="T65" fmla="*/ 1 h 30"/>
                <a:gd name="T66" fmla="*/ 48 w 60"/>
                <a:gd name="T67" fmla="*/ 0 h 30"/>
                <a:gd name="T68" fmla="*/ 4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45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1" y="29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29"/>
                  </a:lnTo>
                  <a:lnTo>
                    <a:pt x="51" y="29"/>
                  </a:lnTo>
                  <a:lnTo>
                    <a:pt x="53" y="27"/>
                  </a:lnTo>
                  <a:lnTo>
                    <a:pt x="55" y="26"/>
                  </a:lnTo>
                  <a:lnTo>
                    <a:pt x="57" y="23"/>
                  </a:lnTo>
                  <a:lnTo>
                    <a:pt x="59" y="21"/>
                  </a:lnTo>
                  <a:lnTo>
                    <a:pt x="60" y="17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9"/>
                  </a:lnTo>
                  <a:lnTo>
                    <a:pt x="57" y="7"/>
                  </a:lnTo>
                  <a:lnTo>
                    <a:pt x="55" y="5"/>
                  </a:lnTo>
                  <a:lnTo>
                    <a:pt x="53" y="2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83" name="Полилиния 531">
              <a:extLst>
                <a:ext uri="{FF2B5EF4-FFF2-40B4-BE49-F238E27FC236}">
                  <a16:creationId xmlns:a16="http://schemas.microsoft.com/office/drawing/2014/main" xmlns="" id="{772896F4-70A5-48C1-AAF4-08544CD8B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3500" y="2530475"/>
              <a:ext cx="114300" cy="114300"/>
            </a:xfrm>
            <a:custGeom>
              <a:avLst/>
              <a:gdLst>
                <a:gd name="T0" fmla="*/ 167 w 362"/>
                <a:gd name="T1" fmla="*/ 103 h 362"/>
                <a:gd name="T2" fmla="*/ 169 w 362"/>
                <a:gd name="T3" fmla="*/ 98 h 362"/>
                <a:gd name="T4" fmla="*/ 172 w 362"/>
                <a:gd name="T5" fmla="*/ 94 h 362"/>
                <a:gd name="T6" fmla="*/ 177 w 362"/>
                <a:gd name="T7" fmla="*/ 92 h 362"/>
                <a:gd name="T8" fmla="*/ 184 w 362"/>
                <a:gd name="T9" fmla="*/ 92 h 362"/>
                <a:gd name="T10" fmla="*/ 189 w 362"/>
                <a:gd name="T11" fmla="*/ 94 h 362"/>
                <a:gd name="T12" fmla="*/ 193 w 362"/>
                <a:gd name="T13" fmla="*/ 98 h 362"/>
                <a:gd name="T14" fmla="*/ 196 w 362"/>
                <a:gd name="T15" fmla="*/ 103 h 362"/>
                <a:gd name="T16" fmla="*/ 196 w 362"/>
                <a:gd name="T17" fmla="*/ 181 h 362"/>
                <a:gd name="T18" fmla="*/ 244 w 362"/>
                <a:gd name="T19" fmla="*/ 182 h 362"/>
                <a:gd name="T20" fmla="*/ 249 w 362"/>
                <a:gd name="T21" fmla="*/ 184 h 362"/>
                <a:gd name="T22" fmla="*/ 254 w 362"/>
                <a:gd name="T23" fmla="*/ 188 h 362"/>
                <a:gd name="T24" fmla="*/ 256 w 362"/>
                <a:gd name="T25" fmla="*/ 193 h 362"/>
                <a:gd name="T26" fmla="*/ 256 w 362"/>
                <a:gd name="T27" fmla="*/ 199 h 362"/>
                <a:gd name="T28" fmla="*/ 254 w 362"/>
                <a:gd name="T29" fmla="*/ 204 h 362"/>
                <a:gd name="T30" fmla="*/ 249 w 362"/>
                <a:gd name="T31" fmla="*/ 208 h 362"/>
                <a:gd name="T32" fmla="*/ 244 w 362"/>
                <a:gd name="T33" fmla="*/ 211 h 362"/>
                <a:gd name="T34" fmla="*/ 181 w 362"/>
                <a:gd name="T35" fmla="*/ 212 h 362"/>
                <a:gd name="T36" fmla="*/ 175 w 362"/>
                <a:gd name="T37" fmla="*/ 211 h 362"/>
                <a:gd name="T38" fmla="*/ 170 w 362"/>
                <a:gd name="T39" fmla="*/ 206 h 362"/>
                <a:gd name="T40" fmla="*/ 167 w 362"/>
                <a:gd name="T41" fmla="*/ 202 h 362"/>
                <a:gd name="T42" fmla="*/ 166 w 362"/>
                <a:gd name="T43" fmla="*/ 197 h 362"/>
                <a:gd name="T44" fmla="*/ 181 w 362"/>
                <a:gd name="T45" fmla="*/ 362 h 362"/>
                <a:gd name="T46" fmla="*/ 217 w 362"/>
                <a:gd name="T47" fmla="*/ 359 h 362"/>
                <a:gd name="T48" fmla="*/ 251 w 362"/>
                <a:gd name="T49" fmla="*/ 348 h 362"/>
                <a:gd name="T50" fmla="*/ 281 w 362"/>
                <a:gd name="T51" fmla="*/ 331 h 362"/>
                <a:gd name="T52" fmla="*/ 308 w 362"/>
                <a:gd name="T53" fmla="*/ 309 h 362"/>
                <a:gd name="T54" fmla="*/ 331 w 362"/>
                <a:gd name="T55" fmla="*/ 282 h 362"/>
                <a:gd name="T56" fmla="*/ 347 w 362"/>
                <a:gd name="T57" fmla="*/ 251 h 362"/>
                <a:gd name="T58" fmla="*/ 358 w 362"/>
                <a:gd name="T59" fmla="*/ 217 h 362"/>
                <a:gd name="T60" fmla="*/ 362 w 362"/>
                <a:gd name="T61" fmla="*/ 182 h 362"/>
                <a:gd name="T62" fmla="*/ 358 w 362"/>
                <a:gd name="T63" fmla="*/ 145 h 362"/>
                <a:gd name="T64" fmla="*/ 347 w 362"/>
                <a:gd name="T65" fmla="*/ 111 h 362"/>
                <a:gd name="T66" fmla="*/ 331 w 362"/>
                <a:gd name="T67" fmla="*/ 80 h 362"/>
                <a:gd name="T68" fmla="*/ 308 w 362"/>
                <a:gd name="T69" fmla="*/ 53 h 362"/>
                <a:gd name="T70" fmla="*/ 281 w 362"/>
                <a:gd name="T71" fmla="*/ 31 h 362"/>
                <a:gd name="T72" fmla="*/ 251 w 362"/>
                <a:gd name="T73" fmla="*/ 14 h 362"/>
                <a:gd name="T74" fmla="*/ 217 w 362"/>
                <a:gd name="T75" fmla="*/ 5 h 362"/>
                <a:gd name="T76" fmla="*/ 181 w 362"/>
                <a:gd name="T77" fmla="*/ 0 h 362"/>
                <a:gd name="T78" fmla="*/ 144 w 362"/>
                <a:gd name="T79" fmla="*/ 5 h 362"/>
                <a:gd name="T80" fmla="*/ 111 w 362"/>
                <a:gd name="T81" fmla="*/ 14 h 362"/>
                <a:gd name="T82" fmla="*/ 80 w 362"/>
                <a:gd name="T83" fmla="*/ 31 h 362"/>
                <a:gd name="T84" fmla="*/ 53 w 362"/>
                <a:gd name="T85" fmla="*/ 53 h 362"/>
                <a:gd name="T86" fmla="*/ 32 w 362"/>
                <a:gd name="T87" fmla="*/ 80 h 362"/>
                <a:gd name="T88" fmla="*/ 14 w 362"/>
                <a:gd name="T89" fmla="*/ 111 h 362"/>
                <a:gd name="T90" fmla="*/ 4 w 362"/>
                <a:gd name="T91" fmla="*/ 145 h 362"/>
                <a:gd name="T92" fmla="*/ 0 w 362"/>
                <a:gd name="T93" fmla="*/ 182 h 362"/>
                <a:gd name="T94" fmla="*/ 4 w 362"/>
                <a:gd name="T95" fmla="*/ 217 h 362"/>
                <a:gd name="T96" fmla="*/ 14 w 362"/>
                <a:gd name="T97" fmla="*/ 251 h 362"/>
                <a:gd name="T98" fmla="*/ 32 w 362"/>
                <a:gd name="T99" fmla="*/ 282 h 362"/>
                <a:gd name="T100" fmla="*/ 53 w 362"/>
                <a:gd name="T101" fmla="*/ 309 h 362"/>
                <a:gd name="T102" fmla="*/ 80 w 362"/>
                <a:gd name="T103" fmla="*/ 331 h 362"/>
                <a:gd name="T104" fmla="*/ 111 w 362"/>
                <a:gd name="T105" fmla="*/ 348 h 362"/>
                <a:gd name="T106" fmla="*/ 144 w 362"/>
                <a:gd name="T107" fmla="*/ 359 h 362"/>
                <a:gd name="T108" fmla="*/ 181 w 362"/>
                <a:gd name="T109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362">
                  <a:moveTo>
                    <a:pt x="166" y="105"/>
                  </a:moveTo>
                  <a:lnTo>
                    <a:pt x="167" y="103"/>
                  </a:lnTo>
                  <a:lnTo>
                    <a:pt x="167" y="100"/>
                  </a:lnTo>
                  <a:lnTo>
                    <a:pt x="169" y="98"/>
                  </a:lnTo>
                  <a:lnTo>
                    <a:pt x="170" y="95"/>
                  </a:lnTo>
                  <a:lnTo>
                    <a:pt x="172" y="94"/>
                  </a:lnTo>
                  <a:lnTo>
                    <a:pt x="175" y="92"/>
                  </a:lnTo>
                  <a:lnTo>
                    <a:pt x="177" y="92"/>
                  </a:lnTo>
                  <a:lnTo>
                    <a:pt x="181" y="90"/>
                  </a:lnTo>
                  <a:lnTo>
                    <a:pt x="184" y="92"/>
                  </a:lnTo>
                  <a:lnTo>
                    <a:pt x="187" y="92"/>
                  </a:lnTo>
                  <a:lnTo>
                    <a:pt x="189" y="94"/>
                  </a:lnTo>
                  <a:lnTo>
                    <a:pt x="191" y="95"/>
                  </a:lnTo>
                  <a:lnTo>
                    <a:pt x="193" y="98"/>
                  </a:lnTo>
                  <a:lnTo>
                    <a:pt x="195" y="100"/>
                  </a:lnTo>
                  <a:lnTo>
                    <a:pt x="196" y="103"/>
                  </a:lnTo>
                  <a:lnTo>
                    <a:pt x="196" y="105"/>
                  </a:lnTo>
                  <a:lnTo>
                    <a:pt x="196" y="181"/>
                  </a:lnTo>
                  <a:lnTo>
                    <a:pt x="241" y="181"/>
                  </a:lnTo>
                  <a:lnTo>
                    <a:pt x="244" y="182"/>
                  </a:lnTo>
                  <a:lnTo>
                    <a:pt x="247" y="183"/>
                  </a:lnTo>
                  <a:lnTo>
                    <a:pt x="249" y="184"/>
                  </a:lnTo>
                  <a:lnTo>
                    <a:pt x="251" y="186"/>
                  </a:lnTo>
                  <a:lnTo>
                    <a:pt x="254" y="188"/>
                  </a:lnTo>
                  <a:lnTo>
                    <a:pt x="255" y="190"/>
                  </a:lnTo>
                  <a:lnTo>
                    <a:pt x="256" y="193"/>
                  </a:lnTo>
                  <a:lnTo>
                    <a:pt x="256" y="197"/>
                  </a:lnTo>
                  <a:lnTo>
                    <a:pt x="256" y="199"/>
                  </a:lnTo>
                  <a:lnTo>
                    <a:pt x="255" y="202"/>
                  </a:lnTo>
                  <a:lnTo>
                    <a:pt x="254" y="204"/>
                  </a:lnTo>
                  <a:lnTo>
                    <a:pt x="251" y="206"/>
                  </a:lnTo>
                  <a:lnTo>
                    <a:pt x="249" y="208"/>
                  </a:lnTo>
                  <a:lnTo>
                    <a:pt x="247" y="211"/>
                  </a:lnTo>
                  <a:lnTo>
                    <a:pt x="244" y="211"/>
                  </a:lnTo>
                  <a:lnTo>
                    <a:pt x="241" y="212"/>
                  </a:lnTo>
                  <a:lnTo>
                    <a:pt x="181" y="212"/>
                  </a:lnTo>
                  <a:lnTo>
                    <a:pt x="177" y="211"/>
                  </a:lnTo>
                  <a:lnTo>
                    <a:pt x="175" y="211"/>
                  </a:lnTo>
                  <a:lnTo>
                    <a:pt x="172" y="208"/>
                  </a:lnTo>
                  <a:lnTo>
                    <a:pt x="170" y="206"/>
                  </a:lnTo>
                  <a:lnTo>
                    <a:pt x="169" y="204"/>
                  </a:lnTo>
                  <a:lnTo>
                    <a:pt x="167" y="202"/>
                  </a:lnTo>
                  <a:lnTo>
                    <a:pt x="167" y="199"/>
                  </a:lnTo>
                  <a:lnTo>
                    <a:pt x="166" y="197"/>
                  </a:lnTo>
                  <a:lnTo>
                    <a:pt x="166" y="105"/>
                  </a:lnTo>
                  <a:close/>
                  <a:moveTo>
                    <a:pt x="181" y="362"/>
                  </a:moveTo>
                  <a:lnTo>
                    <a:pt x="200" y="361"/>
                  </a:lnTo>
                  <a:lnTo>
                    <a:pt x="217" y="359"/>
                  </a:lnTo>
                  <a:lnTo>
                    <a:pt x="234" y="353"/>
                  </a:lnTo>
                  <a:lnTo>
                    <a:pt x="251" y="348"/>
                  </a:lnTo>
                  <a:lnTo>
                    <a:pt x="268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1" y="282"/>
                  </a:lnTo>
                  <a:lnTo>
                    <a:pt x="339" y="267"/>
                  </a:lnTo>
                  <a:lnTo>
                    <a:pt x="347" y="251"/>
                  </a:lnTo>
                  <a:lnTo>
                    <a:pt x="353" y="235"/>
                  </a:lnTo>
                  <a:lnTo>
                    <a:pt x="358" y="217"/>
                  </a:lnTo>
                  <a:lnTo>
                    <a:pt x="361" y="200"/>
                  </a:lnTo>
                  <a:lnTo>
                    <a:pt x="362" y="182"/>
                  </a:lnTo>
                  <a:lnTo>
                    <a:pt x="361" y="162"/>
                  </a:lnTo>
                  <a:lnTo>
                    <a:pt x="358" y="145"/>
                  </a:lnTo>
                  <a:lnTo>
                    <a:pt x="353" y="127"/>
                  </a:lnTo>
                  <a:lnTo>
                    <a:pt x="347" y="111"/>
                  </a:lnTo>
                  <a:lnTo>
                    <a:pt x="339" y="95"/>
                  </a:lnTo>
                  <a:lnTo>
                    <a:pt x="331" y="80"/>
                  </a:lnTo>
                  <a:lnTo>
                    <a:pt x="320" y="66"/>
                  </a:lnTo>
                  <a:lnTo>
                    <a:pt x="308" y="53"/>
                  </a:lnTo>
                  <a:lnTo>
                    <a:pt x="295" y="42"/>
                  </a:lnTo>
                  <a:lnTo>
                    <a:pt x="281" y="31"/>
                  </a:lnTo>
                  <a:lnTo>
                    <a:pt x="268" y="22"/>
                  </a:lnTo>
                  <a:lnTo>
                    <a:pt x="251" y="14"/>
                  </a:lnTo>
                  <a:lnTo>
                    <a:pt x="234" y="9"/>
                  </a:lnTo>
                  <a:lnTo>
                    <a:pt x="217" y="5"/>
                  </a:lnTo>
                  <a:lnTo>
                    <a:pt x="200" y="1"/>
                  </a:lnTo>
                  <a:lnTo>
                    <a:pt x="181" y="0"/>
                  </a:lnTo>
                  <a:lnTo>
                    <a:pt x="162" y="1"/>
                  </a:lnTo>
                  <a:lnTo>
                    <a:pt x="144" y="5"/>
                  </a:lnTo>
                  <a:lnTo>
                    <a:pt x="127" y="9"/>
                  </a:lnTo>
                  <a:lnTo>
                    <a:pt x="111" y="14"/>
                  </a:lnTo>
                  <a:lnTo>
                    <a:pt x="95" y="22"/>
                  </a:lnTo>
                  <a:lnTo>
                    <a:pt x="80" y="31"/>
                  </a:lnTo>
                  <a:lnTo>
                    <a:pt x="66" y="42"/>
                  </a:lnTo>
                  <a:lnTo>
                    <a:pt x="53" y="53"/>
                  </a:lnTo>
                  <a:lnTo>
                    <a:pt x="41" y="66"/>
                  </a:lnTo>
                  <a:lnTo>
                    <a:pt x="32" y="80"/>
                  </a:lnTo>
                  <a:lnTo>
                    <a:pt x="22" y="95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4" y="145"/>
                  </a:lnTo>
                  <a:lnTo>
                    <a:pt x="2" y="162"/>
                  </a:lnTo>
                  <a:lnTo>
                    <a:pt x="0" y="182"/>
                  </a:lnTo>
                  <a:lnTo>
                    <a:pt x="2" y="200"/>
                  </a:lnTo>
                  <a:lnTo>
                    <a:pt x="4" y="217"/>
                  </a:lnTo>
                  <a:lnTo>
                    <a:pt x="8" y="235"/>
                  </a:lnTo>
                  <a:lnTo>
                    <a:pt x="14" y="251"/>
                  </a:lnTo>
                  <a:lnTo>
                    <a:pt x="22" y="267"/>
                  </a:lnTo>
                  <a:lnTo>
                    <a:pt x="32" y="282"/>
                  </a:lnTo>
                  <a:lnTo>
                    <a:pt x="41" y="296"/>
                  </a:lnTo>
                  <a:lnTo>
                    <a:pt x="53" y="309"/>
                  </a:lnTo>
                  <a:lnTo>
                    <a:pt x="66" y="320"/>
                  </a:lnTo>
                  <a:lnTo>
                    <a:pt x="80" y="331"/>
                  </a:lnTo>
                  <a:lnTo>
                    <a:pt x="95" y="340"/>
                  </a:lnTo>
                  <a:lnTo>
                    <a:pt x="111" y="348"/>
                  </a:lnTo>
                  <a:lnTo>
                    <a:pt x="127" y="353"/>
                  </a:lnTo>
                  <a:lnTo>
                    <a:pt x="144" y="359"/>
                  </a:lnTo>
                  <a:lnTo>
                    <a:pt x="162" y="361"/>
                  </a:lnTo>
                  <a:lnTo>
                    <a:pt x="181" y="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84" name="Полилиния 532">
              <a:extLst>
                <a:ext uri="{FF2B5EF4-FFF2-40B4-BE49-F238E27FC236}">
                  <a16:creationId xmlns:a16="http://schemas.microsoft.com/office/drawing/2014/main" xmlns="" id="{BD43402D-9E7D-4E9C-98DC-87507F6A6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9225" y="2732088"/>
              <a:ext cx="47625" cy="47625"/>
            </a:xfrm>
            <a:custGeom>
              <a:avLst/>
              <a:gdLst>
                <a:gd name="T0" fmla="*/ 67 w 150"/>
                <a:gd name="T1" fmla="*/ 0 h 150"/>
                <a:gd name="T2" fmla="*/ 52 w 150"/>
                <a:gd name="T3" fmla="*/ 3 h 150"/>
                <a:gd name="T4" fmla="*/ 38 w 150"/>
                <a:gd name="T5" fmla="*/ 9 h 150"/>
                <a:gd name="T6" fmla="*/ 27 w 150"/>
                <a:gd name="T7" fmla="*/ 17 h 150"/>
                <a:gd name="T8" fmla="*/ 17 w 150"/>
                <a:gd name="T9" fmla="*/ 27 h 150"/>
                <a:gd name="T10" fmla="*/ 8 w 150"/>
                <a:gd name="T11" fmla="*/ 39 h 150"/>
                <a:gd name="T12" fmla="*/ 3 w 150"/>
                <a:gd name="T13" fmla="*/ 53 h 150"/>
                <a:gd name="T14" fmla="*/ 0 w 150"/>
                <a:gd name="T15" fmla="*/ 68 h 150"/>
                <a:gd name="T16" fmla="*/ 0 w 150"/>
                <a:gd name="T17" fmla="*/ 83 h 150"/>
                <a:gd name="T18" fmla="*/ 3 w 150"/>
                <a:gd name="T19" fmla="*/ 98 h 150"/>
                <a:gd name="T20" fmla="*/ 8 w 150"/>
                <a:gd name="T21" fmla="*/ 111 h 150"/>
                <a:gd name="T22" fmla="*/ 17 w 150"/>
                <a:gd name="T23" fmla="*/ 123 h 150"/>
                <a:gd name="T24" fmla="*/ 27 w 150"/>
                <a:gd name="T25" fmla="*/ 133 h 150"/>
                <a:gd name="T26" fmla="*/ 38 w 150"/>
                <a:gd name="T27" fmla="*/ 141 h 150"/>
                <a:gd name="T28" fmla="*/ 52 w 150"/>
                <a:gd name="T29" fmla="*/ 147 h 150"/>
                <a:gd name="T30" fmla="*/ 67 w 150"/>
                <a:gd name="T31" fmla="*/ 150 h 150"/>
                <a:gd name="T32" fmla="*/ 82 w 150"/>
                <a:gd name="T33" fmla="*/ 150 h 150"/>
                <a:gd name="T34" fmla="*/ 97 w 150"/>
                <a:gd name="T35" fmla="*/ 147 h 150"/>
                <a:gd name="T36" fmla="*/ 110 w 150"/>
                <a:gd name="T37" fmla="*/ 141 h 150"/>
                <a:gd name="T38" fmla="*/ 122 w 150"/>
                <a:gd name="T39" fmla="*/ 133 h 150"/>
                <a:gd name="T40" fmla="*/ 133 w 150"/>
                <a:gd name="T41" fmla="*/ 123 h 150"/>
                <a:gd name="T42" fmla="*/ 140 w 150"/>
                <a:gd name="T43" fmla="*/ 111 h 150"/>
                <a:gd name="T44" fmla="*/ 147 w 150"/>
                <a:gd name="T45" fmla="*/ 98 h 150"/>
                <a:gd name="T46" fmla="*/ 150 w 150"/>
                <a:gd name="T47" fmla="*/ 83 h 150"/>
                <a:gd name="T48" fmla="*/ 150 w 150"/>
                <a:gd name="T49" fmla="*/ 68 h 150"/>
                <a:gd name="T50" fmla="*/ 147 w 150"/>
                <a:gd name="T51" fmla="*/ 53 h 150"/>
                <a:gd name="T52" fmla="*/ 140 w 150"/>
                <a:gd name="T53" fmla="*/ 39 h 150"/>
                <a:gd name="T54" fmla="*/ 133 w 150"/>
                <a:gd name="T55" fmla="*/ 27 h 150"/>
                <a:gd name="T56" fmla="*/ 122 w 150"/>
                <a:gd name="T57" fmla="*/ 17 h 150"/>
                <a:gd name="T58" fmla="*/ 110 w 150"/>
                <a:gd name="T59" fmla="*/ 9 h 150"/>
                <a:gd name="T60" fmla="*/ 97 w 150"/>
                <a:gd name="T61" fmla="*/ 3 h 150"/>
                <a:gd name="T62" fmla="*/ 82 w 150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0" h="150">
                  <a:moveTo>
                    <a:pt x="75" y="0"/>
                  </a:moveTo>
                  <a:lnTo>
                    <a:pt x="67" y="0"/>
                  </a:lnTo>
                  <a:lnTo>
                    <a:pt x="60" y="1"/>
                  </a:lnTo>
                  <a:lnTo>
                    <a:pt x="52" y="3"/>
                  </a:lnTo>
                  <a:lnTo>
                    <a:pt x="45" y="6"/>
                  </a:lnTo>
                  <a:lnTo>
                    <a:pt x="38" y="9"/>
                  </a:lnTo>
                  <a:lnTo>
                    <a:pt x="32" y="13"/>
                  </a:lnTo>
                  <a:lnTo>
                    <a:pt x="27" y="17"/>
                  </a:lnTo>
                  <a:lnTo>
                    <a:pt x="21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8" y="39"/>
                  </a:lnTo>
                  <a:lnTo>
                    <a:pt x="5" y="45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3" y="98"/>
                  </a:lnTo>
                  <a:lnTo>
                    <a:pt x="5" y="104"/>
                  </a:lnTo>
                  <a:lnTo>
                    <a:pt x="8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1" y="128"/>
                  </a:lnTo>
                  <a:lnTo>
                    <a:pt x="27" y="133"/>
                  </a:lnTo>
                  <a:lnTo>
                    <a:pt x="32" y="138"/>
                  </a:lnTo>
                  <a:lnTo>
                    <a:pt x="38" y="141"/>
                  </a:lnTo>
                  <a:lnTo>
                    <a:pt x="45" y="144"/>
                  </a:lnTo>
                  <a:lnTo>
                    <a:pt x="52" y="147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0"/>
                  </a:lnTo>
                  <a:lnTo>
                    <a:pt x="82" y="150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4" y="144"/>
                  </a:lnTo>
                  <a:lnTo>
                    <a:pt x="110" y="141"/>
                  </a:lnTo>
                  <a:lnTo>
                    <a:pt x="117" y="138"/>
                  </a:lnTo>
                  <a:lnTo>
                    <a:pt x="122" y="133"/>
                  </a:lnTo>
                  <a:lnTo>
                    <a:pt x="127" y="128"/>
                  </a:lnTo>
                  <a:lnTo>
                    <a:pt x="133" y="123"/>
                  </a:lnTo>
                  <a:lnTo>
                    <a:pt x="137" y="117"/>
                  </a:lnTo>
                  <a:lnTo>
                    <a:pt x="140" y="111"/>
                  </a:lnTo>
                  <a:lnTo>
                    <a:pt x="144" y="104"/>
                  </a:lnTo>
                  <a:lnTo>
                    <a:pt x="147" y="98"/>
                  </a:lnTo>
                  <a:lnTo>
                    <a:pt x="148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8"/>
                  </a:lnTo>
                  <a:lnTo>
                    <a:pt x="148" y="60"/>
                  </a:lnTo>
                  <a:lnTo>
                    <a:pt x="147" y="53"/>
                  </a:lnTo>
                  <a:lnTo>
                    <a:pt x="144" y="45"/>
                  </a:lnTo>
                  <a:lnTo>
                    <a:pt x="140" y="39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7" y="22"/>
                  </a:lnTo>
                  <a:lnTo>
                    <a:pt x="122" y="17"/>
                  </a:lnTo>
                  <a:lnTo>
                    <a:pt x="117" y="13"/>
                  </a:lnTo>
                  <a:lnTo>
                    <a:pt x="110" y="9"/>
                  </a:lnTo>
                  <a:lnTo>
                    <a:pt x="104" y="6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2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85" name="Полилиния 533">
              <a:extLst>
                <a:ext uri="{FF2B5EF4-FFF2-40B4-BE49-F238E27FC236}">
                  <a16:creationId xmlns:a16="http://schemas.microsoft.com/office/drawing/2014/main" xmlns="" id="{922A9BE5-B035-4BE9-B224-A631D6499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2654300"/>
              <a:ext cx="96838" cy="106363"/>
            </a:xfrm>
            <a:custGeom>
              <a:avLst/>
              <a:gdLst>
                <a:gd name="T0" fmla="*/ 30 w 301"/>
                <a:gd name="T1" fmla="*/ 30 h 331"/>
                <a:gd name="T2" fmla="*/ 250 w 301"/>
                <a:gd name="T3" fmla="*/ 150 h 331"/>
                <a:gd name="T4" fmla="*/ 301 w 301"/>
                <a:gd name="T5" fmla="*/ 165 h 331"/>
                <a:gd name="T6" fmla="*/ 300 w 301"/>
                <a:gd name="T7" fmla="*/ 161 h 331"/>
                <a:gd name="T8" fmla="*/ 300 w 301"/>
                <a:gd name="T9" fmla="*/ 160 h 331"/>
                <a:gd name="T10" fmla="*/ 297 w 301"/>
                <a:gd name="T11" fmla="*/ 155 h 331"/>
                <a:gd name="T12" fmla="*/ 297 w 301"/>
                <a:gd name="T13" fmla="*/ 155 h 331"/>
                <a:gd name="T14" fmla="*/ 144 w 301"/>
                <a:gd name="T15" fmla="*/ 2 h 331"/>
                <a:gd name="T16" fmla="*/ 138 w 301"/>
                <a:gd name="T17" fmla="*/ 0 h 331"/>
                <a:gd name="T18" fmla="*/ 15 w 301"/>
                <a:gd name="T19" fmla="*/ 0 h 331"/>
                <a:gd name="T20" fmla="*/ 10 w 301"/>
                <a:gd name="T21" fmla="*/ 1 h 331"/>
                <a:gd name="T22" fmla="*/ 4 w 301"/>
                <a:gd name="T23" fmla="*/ 4 h 331"/>
                <a:gd name="T24" fmla="*/ 1 w 301"/>
                <a:gd name="T25" fmla="*/ 10 h 331"/>
                <a:gd name="T26" fmla="*/ 0 w 301"/>
                <a:gd name="T27" fmla="*/ 15 h 331"/>
                <a:gd name="T28" fmla="*/ 0 w 301"/>
                <a:gd name="T29" fmla="*/ 316 h 331"/>
                <a:gd name="T30" fmla="*/ 1 w 301"/>
                <a:gd name="T31" fmla="*/ 322 h 331"/>
                <a:gd name="T32" fmla="*/ 4 w 301"/>
                <a:gd name="T33" fmla="*/ 327 h 331"/>
                <a:gd name="T34" fmla="*/ 10 w 301"/>
                <a:gd name="T35" fmla="*/ 330 h 331"/>
                <a:gd name="T36" fmla="*/ 15 w 301"/>
                <a:gd name="T37" fmla="*/ 331 h 331"/>
                <a:gd name="T38" fmla="*/ 31 w 301"/>
                <a:gd name="T39" fmla="*/ 324 h 331"/>
                <a:gd name="T40" fmla="*/ 31 w 301"/>
                <a:gd name="T41" fmla="*/ 306 h 331"/>
                <a:gd name="T42" fmla="*/ 35 w 301"/>
                <a:gd name="T43" fmla="*/ 285 h 331"/>
                <a:gd name="T44" fmla="*/ 43 w 301"/>
                <a:gd name="T45" fmla="*/ 266 h 331"/>
                <a:gd name="T46" fmla="*/ 55 w 301"/>
                <a:gd name="T47" fmla="*/ 249 h 331"/>
                <a:gd name="T48" fmla="*/ 69 w 301"/>
                <a:gd name="T49" fmla="*/ 235 h 331"/>
                <a:gd name="T50" fmla="*/ 86 w 301"/>
                <a:gd name="T51" fmla="*/ 223 h 331"/>
                <a:gd name="T52" fmla="*/ 104 w 301"/>
                <a:gd name="T53" fmla="*/ 215 h 331"/>
                <a:gd name="T54" fmla="*/ 126 w 301"/>
                <a:gd name="T55" fmla="*/ 211 h 331"/>
                <a:gd name="T56" fmla="*/ 147 w 301"/>
                <a:gd name="T57" fmla="*/ 211 h 331"/>
                <a:gd name="T58" fmla="*/ 167 w 301"/>
                <a:gd name="T59" fmla="*/ 215 h 331"/>
                <a:gd name="T60" fmla="*/ 186 w 301"/>
                <a:gd name="T61" fmla="*/ 223 h 331"/>
                <a:gd name="T62" fmla="*/ 203 w 301"/>
                <a:gd name="T63" fmla="*/ 235 h 331"/>
                <a:gd name="T64" fmla="*/ 217 w 301"/>
                <a:gd name="T65" fmla="*/ 249 h 331"/>
                <a:gd name="T66" fmla="*/ 229 w 301"/>
                <a:gd name="T67" fmla="*/ 266 h 331"/>
                <a:gd name="T68" fmla="*/ 236 w 301"/>
                <a:gd name="T69" fmla="*/ 285 h 331"/>
                <a:gd name="T70" fmla="*/ 240 w 301"/>
                <a:gd name="T71" fmla="*/ 306 h 331"/>
                <a:gd name="T72" fmla="*/ 241 w 301"/>
                <a:gd name="T73" fmla="*/ 324 h 331"/>
                <a:gd name="T74" fmla="*/ 286 w 301"/>
                <a:gd name="T75" fmla="*/ 331 h 331"/>
                <a:gd name="T76" fmla="*/ 292 w 301"/>
                <a:gd name="T77" fmla="*/ 330 h 331"/>
                <a:gd name="T78" fmla="*/ 297 w 301"/>
                <a:gd name="T79" fmla="*/ 327 h 331"/>
                <a:gd name="T80" fmla="*/ 300 w 301"/>
                <a:gd name="T81" fmla="*/ 322 h 331"/>
                <a:gd name="T82" fmla="*/ 301 w 301"/>
                <a:gd name="T83" fmla="*/ 316 h 331"/>
                <a:gd name="T84" fmla="*/ 301 w 301"/>
                <a:gd name="T85" fmla="*/ 165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" h="331">
                  <a:moveTo>
                    <a:pt x="30" y="150"/>
                  </a:moveTo>
                  <a:lnTo>
                    <a:pt x="30" y="30"/>
                  </a:lnTo>
                  <a:lnTo>
                    <a:pt x="130" y="30"/>
                  </a:lnTo>
                  <a:lnTo>
                    <a:pt x="250" y="150"/>
                  </a:lnTo>
                  <a:lnTo>
                    <a:pt x="30" y="150"/>
                  </a:lnTo>
                  <a:close/>
                  <a:moveTo>
                    <a:pt x="301" y="165"/>
                  </a:moveTo>
                  <a:lnTo>
                    <a:pt x="300" y="163"/>
                  </a:lnTo>
                  <a:lnTo>
                    <a:pt x="300" y="161"/>
                  </a:lnTo>
                  <a:lnTo>
                    <a:pt x="300" y="160"/>
                  </a:lnTo>
                  <a:lnTo>
                    <a:pt x="300" y="160"/>
                  </a:lnTo>
                  <a:lnTo>
                    <a:pt x="298" y="156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147" y="4"/>
                  </a:lnTo>
                  <a:lnTo>
                    <a:pt x="144" y="2"/>
                  </a:lnTo>
                  <a:lnTo>
                    <a:pt x="142" y="1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65"/>
                  </a:lnTo>
                  <a:lnTo>
                    <a:pt x="0" y="316"/>
                  </a:lnTo>
                  <a:lnTo>
                    <a:pt x="1" y="320"/>
                  </a:lnTo>
                  <a:lnTo>
                    <a:pt x="1" y="322"/>
                  </a:lnTo>
                  <a:lnTo>
                    <a:pt x="3" y="325"/>
                  </a:lnTo>
                  <a:lnTo>
                    <a:pt x="4" y="327"/>
                  </a:lnTo>
                  <a:lnTo>
                    <a:pt x="7" y="328"/>
                  </a:lnTo>
                  <a:lnTo>
                    <a:pt x="10" y="330"/>
                  </a:lnTo>
                  <a:lnTo>
                    <a:pt x="12" y="331"/>
                  </a:lnTo>
                  <a:lnTo>
                    <a:pt x="15" y="331"/>
                  </a:lnTo>
                  <a:lnTo>
                    <a:pt x="31" y="331"/>
                  </a:lnTo>
                  <a:lnTo>
                    <a:pt x="31" y="324"/>
                  </a:lnTo>
                  <a:lnTo>
                    <a:pt x="30" y="316"/>
                  </a:lnTo>
                  <a:lnTo>
                    <a:pt x="31" y="306"/>
                  </a:lnTo>
                  <a:lnTo>
                    <a:pt x="32" y="295"/>
                  </a:lnTo>
                  <a:lnTo>
                    <a:pt x="35" y="285"/>
                  </a:lnTo>
                  <a:lnTo>
                    <a:pt x="39" y="276"/>
                  </a:lnTo>
                  <a:lnTo>
                    <a:pt x="43" y="266"/>
                  </a:lnTo>
                  <a:lnTo>
                    <a:pt x="48" y="257"/>
                  </a:lnTo>
                  <a:lnTo>
                    <a:pt x="55" y="249"/>
                  </a:lnTo>
                  <a:lnTo>
                    <a:pt x="61" y="241"/>
                  </a:lnTo>
                  <a:lnTo>
                    <a:pt x="69" y="235"/>
                  </a:lnTo>
                  <a:lnTo>
                    <a:pt x="77" y="228"/>
                  </a:lnTo>
                  <a:lnTo>
                    <a:pt x="86" y="223"/>
                  </a:lnTo>
                  <a:lnTo>
                    <a:pt x="94" y="219"/>
                  </a:lnTo>
                  <a:lnTo>
                    <a:pt x="104" y="215"/>
                  </a:lnTo>
                  <a:lnTo>
                    <a:pt x="115" y="213"/>
                  </a:lnTo>
                  <a:lnTo>
                    <a:pt x="126" y="211"/>
                  </a:lnTo>
                  <a:lnTo>
                    <a:pt x="136" y="211"/>
                  </a:lnTo>
                  <a:lnTo>
                    <a:pt x="147" y="211"/>
                  </a:lnTo>
                  <a:lnTo>
                    <a:pt x="157" y="213"/>
                  </a:lnTo>
                  <a:lnTo>
                    <a:pt x="167" y="215"/>
                  </a:lnTo>
                  <a:lnTo>
                    <a:pt x="177" y="219"/>
                  </a:lnTo>
                  <a:lnTo>
                    <a:pt x="186" y="223"/>
                  </a:lnTo>
                  <a:lnTo>
                    <a:pt x="194" y="228"/>
                  </a:lnTo>
                  <a:lnTo>
                    <a:pt x="203" y="235"/>
                  </a:lnTo>
                  <a:lnTo>
                    <a:pt x="210" y="241"/>
                  </a:lnTo>
                  <a:lnTo>
                    <a:pt x="217" y="249"/>
                  </a:lnTo>
                  <a:lnTo>
                    <a:pt x="223" y="257"/>
                  </a:lnTo>
                  <a:lnTo>
                    <a:pt x="229" y="266"/>
                  </a:lnTo>
                  <a:lnTo>
                    <a:pt x="233" y="276"/>
                  </a:lnTo>
                  <a:lnTo>
                    <a:pt x="236" y="285"/>
                  </a:lnTo>
                  <a:lnTo>
                    <a:pt x="239" y="295"/>
                  </a:lnTo>
                  <a:lnTo>
                    <a:pt x="240" y="306"/>
                  </a:lnTo>
                  <a:lnTo>
                    <a:pt x="241" y="316"/>
                  </a:lnTo>
                  <a:lnTo>
                    <a:pt x="241" y="324"/>
                  </a:lnTo>
                  <a:lnTo>
                    <a:pt x="240" y="331"/>
                  </a:lnTo>
                  <a:lnTo>
                    <a:pt x="286" y="331"/>
                  </a:lnTo>
                  <a:lnTo>
                    <a:pt x="290" y="330"/>
                  </a:lnTo>
                  <a:lnTo>
                    <a:pt x="292" y="330"/>
                  </a:lnTo>
                  <a:lnTo>
                    <a:pt x="295" y="328"/>
                  </a:lnTo>
                  <a:lnTo>
                    <a:pt x="297" y="327"/>
                  </a:lnTo>
                  <a:lnTo>
                    <a:pt x="299" y="325"/>
                  </a:lnTo>
                  <a:lnTo>
                    <a:pt x="300" y="322"/>
                  </a:lnTo>
                  <a:lnTo>
                    <a:pt x="301" y="320"/>
                  </a:lnTo>
                  <a:lnTo>
                    <a:pt x="301" y="316"/>
                  </a:lnTo>
                  <a:lnTo>
                    <a:pt x="301" y="165"/>
                  </a:lnTo>
                  <a:lnTo>
                    <a:pt x="301" y="165"/>
                  </a:lnTo>
                  <a:lnTo>
                    <a:pt x="301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86" name="Полилиния 534">
              <a:extLst>
                <a:ext uri="{FF2B5EF4-FFF2-40B4-BE49-F238E27FC236}">
                  <a16:creationId xmlns:a16="http://schemas.microsoft.com/office/drawing/2014/main" xmlns="" id="{AE4B17A5-F296-4E67-A197-56215DF0B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8288" y="2732088"/>
              <a:ext cx="49213" cy="47625"/>
            </a:xfrm>
            <a:custGeom>
              <a:avLst/>
              <a:gdLst>
                <a:gd name="T0" fmla="*/ 68 w 151"/>
                <a:gd name="T1" fmla="*/ 0 h 150"/>
                <a:gd name="T2" fmla="*/ 54 w 151"/>
                <a:gd name="T3" fmla="*/ 3 h 150"/>
                <a:gd name="T4" fmla="*/ 40 w 151"/>
                <a:gd name="T5" fmla="*/ 9 h 150"/>
                <a:gd name="T6" fmla="*/ 28 w 151"/>
                <a:gd name="T7" fmla="*/ 17 h 150"/>
                <a:gd name="T8" fmla="*/ 17 w 151"/>
                <a:gd name="T9" fmla="*/ 27 h 150"/>
                <a:gd name="T10" fmla="*/ 10 w 151"/>
                <a:gd name="T11" fmla="*/ 39 h 150"/>
                <a:gd name="T12" fmla="*/ 4 w 151"/>
                <a:gd name="T13" fmla="*/ 53 h 150"/>
                <a:gd name="T14" fmla="*/ 1 w 151"/>
                <a:gd name="T15" fmla="*/ 68 h 150"/>
                <a:gd name="T16" fmla="*/ 1 w 151"/>
                <a:gd name="T17" fmla="*/ 83 h 150"/>
                <a:gd name="T18" fmla="*/ 4 w 151"/>
                <a:gd name="T19" fmla="*/ 98 h 150"/>
                <a:gd name="T20" fmla="*/ 10 w 151"/>
                <a:gd name="T21" fmla="*/ 111 h 150"/>
                <a:gd name="T22" fmla="*/ 17 w 151"/>
                <a:gd name="T23" fmla="*/ 123 h 150"/>
                <a:gd name="T24" fmla="*/ 28 w 151"/>
                <a:gd name="T25" fmla="*/ 133 h 150"/>
                <a:gd name="T26" fmla="*/ 40 w 151"/>
                <a:gd name="T27" fmla="*/ 141 h 150"/>
                <a:gd name="T28" fmla="*/ 54 w 151"/>
                <a:gd name="T29" fmla="*/ 147 h 150"/>
                <a:gd name="T30" fmla="*/ 68 w 151"/>
                <a:gd name="T31" fmla="*/ 150 h 150"/>
                <a:gd name="T32" fmla="*/ 84 w 151"/>
                <a:gd name="T33" fmla="*/ 150 h 150"/>
                <a:gd name="T34" fmla="*/ 98 w 151"/>
                <a:gd name="T35" fmla="*/ 147 h 150"/>
                <a:gd name="T36" fmla="*/ 112 w 151"/>
                <a:gd name="T37" fmla="*/ 141 h 150"/>
                <a:gd name="T38" fmla="*/ 124 w 151"/>
                <a:gd name="T39" fmla="*/ 133 h 150"/>
                <a:gd name="T40" fmla="*/ 134 w 151"/>
                <a:gd name="T41" fmla="*/ 123 h 150"/>
                <a:gd name="T42" fmla="*/ 142 w 151"/>
                <a:gd name="T43" fmla="*/ 111 h 150"/>
                <a:gd name="T44" fmla="*/ 148 w 151"/>
                <a:gd name="T45" fmla="*/ 98 h 150"/>
                <a:gd name="T46" fmla="*/ 150 w 151"/>
                <a:gd name="T47" fmla="*/ 83 h 150"/>
                <a:gd name="T48" fmla="*/ 150 w 151"/>
                <a:gd name="T49" fmla="*/ 68 h 150"/>
                <a:gd name="T50" fmla="*/ 148 w 151"/>
                <a:gd name="T51" fmla="*/ 53 h 150"/>
                <a:gd name="T52" fmla="*/ 142 w 151"/>
                <a:gd name="T53" fmla="*/ 39 h 150"/>
                <a:gd name="T54" fmla="*/ 134 w 151"/>
                <a:gd name="T55" fmla="*/ 27 h 150"/>
                <a:gd name="T56" fmla="*/ 124 w 151"/>
                <a:gd name="T57" fmla="*/ 17 h 150"/>
                <a:gd name="T58" fmla="*/ 112 w 151"/>
                <a:gd name="T59" fmla="*/ 9 h 150"/>
                <a:gd name="T60" fmla="*/ 98 w 151"/>
                <a:gd name="T61" fmla="*/ 3 h 150"/>
                <a:gd name="T62" fmla="*/ 84 w 151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150">
                  <a:moveTo>
                    <a:pt x="76" y="0"/>
                  </a:moveTo>
                  <a:lnTo>
                    <a:pt x="68" y="0"/>
                  </a:lnTo>
                  <a:lnTo>
                    <a:pt x="60" y="1"/>
                  </a:lnTo>
                  <a:lnTo>
                    <a:pt x="54" y="3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5"/>
                  </a:lnTo>
                  <a:lnTo>
                    <a:pt x="4" y="53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0"/>
                  </a:lnTo>
                  <a:lnTo>
                    <a:pt x="4" y="98"/>
                  </a:lnTo>
                  <a:lnTo>
                    <a:pt x="7" y="104"/>
                  </a:lnTo>
                  <a:lnTo>
                    <a:pt x="10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3" y="128"/>
                  </a:lnTo>
                  <a:lnTo>
                    <a:pt x="28" y="133"/>
                  </a:lnTo>
                  <a:lnTo>
                    <a:pt x="33" y="138"/>
                  </a:lnTo>
                  <a:lnTo>
                    <a:pt x="40" y="141"/>
                  </a:lnTo>
                  <a:lnTo>
                    <a:pt x="46" y="144"/>
                  </a:lnTo>
                  <a:lnTo>
                    <a:pt x="54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6" y="150"/>
                  </a:lnTo>
                  <a:lnTo>
                    <a:pt x="84" y="150"/>
                  </a:lnTo>
                  <a:lnTo>
                    <a:pt x="91" y="149"/>
                  </a:lnTo>
                  <a:lnTo>
                    <a:pt x="98" y="147"/>
                  </a:lnTo>
                  <a:lnTo>
                    <a:pt x="105" y="144"/>
                  </a:lnTo>
                  <a:lnTo>
                    <a:pt x="112" y="141"/>
                  </a:lnTo>
                  <a:lnTo>
                    <a:pt x="118" y="138"/>
                  </a:lnTo>
                  <a:lnTo>
                    <a:pt x="124" y="133"/>
                  </a:lnTo>
                  <a:lnTo>
                    <a:pt x="129" y="128"/>
                  </a:lnTo>
                  <a:lnTo>
                    <a:pt x="134" y="123"/>
                  </a:lnTo>
                  <a:lnTo>
                    <a:pt x="139" y="117"/>
                  </a:lnTo>
                  <a:lnTo>
                    <a:pt x="142" y="111"/>
                  </a:lnTo>
                  <a:lnTo>
                    <a:pt x="145" y="104"/>
                  </a:lnTo>
                  <a:lnTo>
                    <a:pt x="148" y="98"/>
                  </a:lnTo>
                  <a:lnTo>
                    <a:pt x="149" y="90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8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5"/>
                  </a:lnTo>
                  <a:lnTo>
                    <a:pt x="142" y="39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29" y="22"/>
                  </a:lnTo>
                  <a:lnTo>
                    <a:pt x="124" y="17"/>
                  </a:lnTo>
                  <a:lnTo>
                    <a:pt x="118" y="13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3"/>
                  </a:lnTo>
                  <a:lnTo>
                    <a:pt x="91" y="1"/>
                  </a:lnTo>
                  <a:lnTo>
                    <a:pt x="84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</p:grpSp>
      <p:grpSp>
        <p:nvGrpSpPr>
          <p:cNvPr id="173" name="Группа 172" descr="Это изображение содержит значок коробки.">
            <a:extLst>
              <a:ext uri="{FF2B5EF4-FFF2-40B4-BE49-F238E27FC236}">
                <a16:creationId xmlns:a16="http://schemas.microsoft.com/office/drawing/2014/main" xmlns="" id="{B4DADF5D-D10D-4DAE-BA2F-AAB6EC9DAD5C}"/>
              </a:ext>
            </a:extLst>
          </p:cNvPr>
          <p:cNvGrpSpPr/>
          <p:nvPr/>
        </p:nvGrpSpPr>
        <p:grpSpPr>
          <a:xfrm>
            <a:off x="8568309" y="1618514"/>
            <a:ext cx="196255" cy="194086"/>
            <a:chOff x="2598738" y="1919288"/>
            <a:chExt cx="287338" cy="284163"/>
          </a:xfrm>
          <a:solidFill>
            <a:schemeClr val="bg1"/>
          </a:solidFill>
        </p:grpSpPr>
        <p:sp>
          <p:nvSpPr>
            <p:cNvPr id="174" name="Полилиния 505">
              <a:extLst>
                <a:ext uri="{FF2B5EF4-FFF2-40B4-BE49-F238E27FC236}">
                  <a16:creationId xmlns:a16="http://schemas.microsoft.com/office/drawing/2014/main" xmlns="" id="{50CB5A38-494C-48D6-84EE-6074ECAF0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8738" y="1982788"/>
              <a:ext cx="142875" cy="220663"/>
            </a:xfrm>
            <a:custGeom>
              <a:avLst/>
              <a:gdLst>
                <a:gd name="T0" fmla="*/ 121 w 452"/>
                <a:gd name="T1" fmla="*/ 172 h 695"/>
                <a:gd name="T2" fmla="*/ 122 w 452"/>
                <a:gd name="T3" fmla="*/ 169 h 695"/>
                <a:gd name="T4" fmla="*/ 123 w 452"/>
                <a:gd name="T5" fmla="*/ 166 h 695"/>
                <a:gd name="T6" fmla="*/ 125 w 452"/>
                <a:gd name="T7" fmla="*/ 163 h 695"/>
                <a:gd name="T8" fmla="*/ 127 w 452"/>
                <a:gd name="T9" fmla="*/ 160 h 695"/>
                <a:gd name="T10" fmla="*/ 131 w 452"/>
                <a:gd name="T11" fmla="*/ 158 h 695"/>
                <a:gd name="T12" fmla="*/ 134 w 452"/>
                <a:gd name="T13" fmla="*/ 157 h 695"/>
                <a:gd name="T14" fmla="*/ 138 w 452"/>
                <a:gd name="T15" fmla="*/ 158 h 695"/>
                <a:gd name="T16" fmla="*/ 142 w 452"/>
                <a:gd name="T17" fmla="*/ 159 h 695"/>
                <a:gd name="T18" fmla="*/ 352 w 452"/>
                <a:gd name="T19" fmla="*/ 250 h 695"/>
                <a:gd name="T20" fmla="*/ 357 w 452"/>
                <a:gd name="T21" fmla="*/ 252 h 695"/>
                <a:gd name="T22" fmla="*/ 359 w 452"/>
                <a:gd name="T23" fmla="*/ 255 h 695"/>
                <a:gd name="T24" fmla="*/ 361 w 452"/>
                <a:gd name="T25" fmla="*/ 259 h 695"/>
                <a:gd name="T26" fmla="*/ 362 w 452"/>
                <a:gd name="T27" fmla="*/ 263 h 695"/>
                <a:gd name="T28" fmla="*/ 362 w 452"/>
                <a:gd name="T29" fmla="*/ 459 h 695"/>
                <a:gd name="T30" fmla="*/ 361 w 452"/>
                <a:gd name="T31" fmla="*/ 463 h 695"/>
                <a:gd name="T32" fmla="*/ 360 w 452"/>
                <a:gd name="T33" fmla="*/ 466 h 695"/>
                <a:gd name="T34" fmla="*/ 358 w 452"/>
                <a:gd name="T35" fmla="*/ 469 h 695"/>
                <a:gd name="T36" fmla="*/ 354 w 452"/>
                <a:gd name="T37" fmla="*/ 472 h 695"/>
                <a:gd name="T38" fmla="*/ 351 w 452"/>
                <a:gd name="T39" fmla="*/ 474 h 695"/>
                <a:gd name="T40" fmla="*/ 347 w 452"/>
                <a:gd name="T41" fmla="*/ 474 h 695"/>
                <a:gd name="T42" fmla="*/ 344 w 452"/>
                <a:gd name="T43" fmla="*/ 474 h 695"/>
                <a:gd name="T44" fmla="*/ 340 w 452"/>
                <a:gd name="T45" fmla="*/ 473 h 695"/>
                <a:gd name="T46" fmla="*/ 130 w 452"/>
                <a:gd name="T47" fmla="*/ 383 h 695"/>
                <a:gd name="T48" fmla="*/ 126 w 452"/>
                <a:gd name="T49" fmla="*/ 380 h 695"/>
                <a:gd name="T50" fmla="*/ 123 w 452"/>
                <a:gd name="T51" fmla="*/ 377 h 695"/>
                <a:gd name="T52" fmla="*/ 122 w 452"/>
                <a:gd name="T53" fmla="*/ 373 h 695"/>
                <a:gd name="T54" fmla="*/ 121 w 452"/>
                <a:gd name="T55" fmla="*/ 369 h 695"/>
                <a:gd name="T56" fmla="*/ 121 w 452"/>
                <a:gd name="T57" fmla="*/ 172 h 695"/>
                <a:gd name="T58" fmla="*/ 0 w 452"/>
                <a:gd name="T59" fmla="*/ 474 h 695"/>
                <a:gd name="T60" fmla="*/ 0 w 452"/>
                <a:gd name="T61" fmla="*/ 478 h 695"/>
                <a:gd name="T62" fmla="*/ 3 w 452"/>
                <a:gd name="T63" fmla="*/ 482 h 695"/>
                <a:gd name="T64" fmla="*/ 6 w 452"/>
                <a:gd name="T65" fmla="*/ 485 h 695"/>
                <a:gd name="T66" fmla="*/ 9 w 452"/>
                <a:gd name="T67" fmla="*/ 488 h 695"/>
                <a:gd name="T68" fmla="*/ 452 w 452"/>
                <a:gd name="T69" fmla="*/ 695 h 695"/>
                <a:gd name="T70" fmla="*/ 452 w 452"/>
                <a:gd name="T71" fmla="*/ 685 h 695"/>
                <a:gd name="T72" fmla="*/ 452 w 452"/>
                <a:gd name="T73" fmla="*/ 661 h 695"/>
                <a:gd name="T74" fmla="*/ 452 w 452"/>
                <a:gd name="T75" fmla="*/ 198 h 695"/>
                <a:gd name="T76" fmla="*/ 452 w 452"/>
                <a:gd name="T77" fmla="*/ 198 h 695"/>
                <a:gd name="T78" fmla="*/ 0 w 452"/>
                <a:gd name="T79" fmla="*/ 0 h 695"/>
                <a:gd name="T80" fmla="*/ 0 w 452"/>
                <a:gd name="T81" fmla="*/ 474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52" h="695">
                  <a:moveTo>
                    <a:pt x="121" y="172"/>
                  </a:moveTo>
                  <a:lnTo>
                    <a:pt x="122" y="169"/>
                  </a:lnTo>
                  <a:lnTo>
                    <a:pt x="123" y="166"/>
                  </a:lnTo>
                  <a:lnTo>
                    <a:pt x="125" y="163"/>
                  </a:lnTo>
                  <a:lnTo>
                    <a:pt x="127" y="160"/>
                  </a:lnTo>
                  <a:lnTo>
                    <a:pt x="131" y="158"/>
                  </a:lnTo>
                  <a:lnTo>
                    <a:pt x="134" y="157"/>
                  </a:lnTo>
                  <a:lnTo>
                    <a:pt x="138" y="158"/>
                  </a:lnTo>
                  <a:lnTo>
                    <a:pt x="142" y="159"/>
                  </a:lnTo>
                  <a:lnTo>
                    <a:pt x="352" y="250"/>
                  </a:lnTo>
                  <a:lnTo>
                    <a:pt x="357" y="252"/>
                  </a:lnTo>
                  <a:lnTo>
                    <a:pt x="359" y="255"/>
                  </a:lnTo>
                  <a:lnTo>
                    <a:pt x="361" y="259"/>
                  </a:lnTo>
                  <a:lnTo>
                    <a:pt x="362" y="263"/>
                  </a:lnTo>
                  <a:lnTo>
                    <a:pt x="362" y="459"/>
                  </a:lnTo>
                  <a:lnTo>
                    <a:pt x="361" y="463"/>
                  </a:lnTo>
                  <a:lnTo>
                    <a:pt x="360" y="466"/>
                  </a:lnTo>
                  <a:lnTo>
                    <a:pt x="358" y="469"/>
                  </a:lnTo>
                  <a:lnTo>
                    <a:pt x="354" y="472"/>
                  </a:lnTo>
                  <a:lnTo>
                    <a:pt x="351" y="474"/>
                  </a:lnTo>
                  <a:lnTo>
                    <a:pt x="347" y="474"/>
                  </a:lnTo>
                  <a:lnTo>
                    <a:pt x="344" y="474"/>
                  </a:lnTo>
                  <a:lnTo>
                    <a:pt x="340" y="473"/>
                  </a:lnTo>
                  <a:lnTo>
                    <a:pt x="130" y="383"/>
                  </a:lnTo>
                  <a:lnTo>
                    <a:pt x="126" y="380"/>
                  </a:lnTo>
                  <a:lnTo>
                    <a:pt x="123" y="377"/>
                  </a:lnTo>
                  <a:lnTo>
                    <a:pt x="122" y="373"/>
                  </a:lnTo>
                  <a:lnTo>
                    <a:pt x="121" y="369"/>
                  </a:lnTo>
                  <a:lnTo>
                    <a:pt x="121" y="172"/>
                  </a:lnTo>
                  <a:close/>
                  <a:moveTo>
                    <a:pt x="0" y="474"/>
                  </a:moveTo>
                  <a:lnTo>
                    <a:pt x="0" y="478"/>
                  </a:lnTo>
                  <a:lnTo>
                    <a:pt x="3" y="482"/>
                  </a:lnTo>
                  <a:lnTo>
                    <a:pt x="6" y="485"/>
                  </a:lnTo>
                  <a:lnTo>
                    <a:pt x="9" y="488"/>
                  </a:lnTo>
                  <a:lnTo>
                    <a:pt x="452" y="695"/>
                  </a:lnTo>
                  <a:lnTo>
                    <a:pt x="452" y="685"/>
                  </a:lnTo>
                  <a:lnTo>
                    <a:pt x="452" y="661"/>
                  </a:lnTo>
                  <a:lnTo>
                    <a:pt x="452" y="198"/>
                  </a:lnTo>
                  <a:lnTo>
                    <a:pt x="452" y="198"/>
                  </a:lnTo>
                  <a:lnTo>
                    <a:pt x="0" y="0"/>
                  </a:lnTo>
                  <a:lnTo>
                    <a:pt x="0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75" name="Полилиния 506">
              <a:extLst>
                <a:ext uri="{FF2B5EF4-FFF2-40B4-BE49-F238E27FC236}">
                  <a16:creationId xmlns:a16="http://schemas.microsoft.com/office/drawing/2014/main" xmlns="" id="{69EB9D60-F066-4676-AA31-F92F598AA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088" y="1947863"/>
              <a:ext cx="201613" cy="90488"/>
            </a:xfrm>
            <a:custGeom>
              <a:avLst/>
              <a:gdLst>
                <a:gd name="T0" fmla="*/ 212 w 639"/>
                <a:gd name="T1" fmla="*/ 0 h 281"/>
                <a:gd name="T2" fmla="*/ 0 w 639"/>
                <a:gd name="T3" fmla="*/ 85 h 281"/>
                <a:gd name="T4" fmla="*/ 449 w 639"/>
                <a:gd name="T5" fmla="*/ 281 h 281"/>
                <a:gd name="T6" fmla="*/ 639 w 639"/>
                <a:gd name="T7" fmla="*/ 192 h 281"/>
                <a:gd name="T8" fmla="*/ 212 w 639"/>
                <a:gd name="T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9" h="281">
                  <a:moveTo>
                    <a:pt x="212" y="0"/>
                  </a:moveTo>
                  <a:lnTo>
                    <a:pt x="0" y="85"/>
                  </a:lnTo>
                  <a:lnTo>
                    <a:pt x="449" y="281"/>
                  </a:lnTo>
                  <a:lnTo>
                    <a:pt x="639" y="19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76" name="Полилиния 507">
              <a:extLst>
                <a:ext uri="{FF2B5EF4-FFF2-40B4-BE49-F238E27FC236}">
                  <a16:creationId xmlns:a16="http://schemas.microsoft.com/office/drawing/2014/main" xmlns="" id="{422D29BA-01AC-4044-8474-764B9985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138" y="1984375"/>
              <a:ext cx="134938" cy="219075"/>
            </a:xfrm>
            <a:custGeom>
              <a:avLst/>
              <a:gdLst>
                <a:gd name="T0" fmla="*/ 0 w 421"/>
                <a:gd name="T1" fmla="*/ 196 h 693"/>
                <a:gd name="T2" fmla="*/ 0 w 421"/>
                <a:gd name="T3" fmla="*/ 659 h 693"/>
                <a:gd name="T4" fmla="*/ 0 w 421"/>
                <a:gd name="T5" fmla="*/ 684 h 693"/>
                <a:gd name="T6" fmla="*/ 0 w 421"/>
                <a:gd name="T7" fmla="*/ 693 h 693"/>
                <a:gd name="T8" fmla="*/ 413 w 421"/>
                <a:gd name="T9" fmla="*/ 487 h 693"/>
                <a:gd name="T10" fmla="*/ 416 w 421"/>
                <a:gd name="T11" fmla="*/ 483 h 693"/>
                <a:gd name="T12" fmla="*/ 419 w 421"/>
                <a:gd name="T13" fmla="*/ 481 h 693"/>
                <a:gd name="T14" fmla="*/ 420 w 421"/>
                <a:gd name="T15" fmla="*/ 477 h 693"/>
                <a:gd name="T16" fmla="*/ 421 w 421"/>
                <a:gd name="T17" fmla="*/ 473 h 693"/>
                <a:gd name="T18" fmla="*/ 421 w 421"/>
                <a:gd name="T19" fmla="*/ 0 h 693"/>
                <a:gd name="T20" fmla="*/ 0 w 421"/>
                <a:gd name="T21" fmla="*/ 196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1" h="693">
                  <a:moveTo>
                    <a:pt x="0" y="196"/>
                  </a:moveTo>
                  <a:lnTo>
                    <a:pt x="0" y="659"/>
                  </a:lnTo>
                  <a:lnTo>
                    <a:pt x="0" y="684"/>
                  </a:lnTo>
                  <a:lnTo>
                    <a:pt x="0" y="693"/>
                  </a:lnTo>
                  <a:lnTo>
                    <a:pt x="413" y="487"/>
                  </a:lnTo>
                  <a:lnTo>
                    <a:pt x="416" y="483"/>
                  </a:lnTo>
                  <a:lnTo>
                    <a:pt x="419" y="481"/>
                  </a:lnTo>
                  <a:lnTo>
                    <a:pt x="420" y="477"/>
                  </a:lnTo>
                  <a:lnTo>
                    <a:pt x="421" y="473"/>
                  </a:lnTo>
                  <a:lnTo>
                    <a:pt x="421" y="0"/>
                  </a:lnTo>
                  <a:lnTo>
                    <a:pt x="0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77" name="Полилиния 508">
              <a:extLst>
                <a:ext uri="{FF2B5EF4-FFF2-40B4-BE49-F238E27FC236}">
                  <a16:creationId xmlns:a16="http://schemas.microsoft.com/office/drawing/2014/main" xmlns="" id="{70FA0C93-9F6B-41AF-A5E6-97D89CE6B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1919288"/>
              <a:ext cx="195263" cy="85725"/>
            </a:xfrm>
            <a:custGeom>
              <a:avLst/>
              <a:gdLst>
                <a:gd name="T0" fmla="*/ 618 w 618"/>
                <a:gd name="T1" fmla="*/ 178 h 269"/>
                <a:gd name="T2" fmla="*/ 203 w 618"/>
                <a:gd name="T3" fmla="*/ 1 h 269"/>
                <a:gd name="T4" fmla="*/ 201 w 618"/>
                <a:gd name="T5" fmla="*/ 0 h 269"/>
                <a:gd name="T6" fmla="*/ 198 w 618"/>
                <a:gd name="T7" fmla="*/ 0 h 269"/>
                <a:gd name="T8" fmla="*/ 195 w 618"/>
                <a:gd name="T9" fmla="*/ 0 h 269"/>
                <a:gd name="T10" fmla="*/ 193 w 618"/>
                <a:gd name="T11" fmla="*/ 1 h 269"/>
                <a:gd name="T12" fmla="*/ 0 w 618"/>
                <a:gd name="T13" fmla="*/ 77 h 269"/>
                <a:gd name="T14" fmla="*/ 423 w 618"/>
                <a:gd name="T15" fmla="*/ 269 h 269"/>
                <a:gd name="T16" fmla="*/ 618 w 618"/>
                <a:gd name="T17" fmla="*/ 17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8" h="269">
                  <a:moveTo>
                    <a:pt x="618" y="178"/>
                  </a:moveTo>
                  <a:lnTo>
                    <a:pt x="203" y="1"/>
                  </a:lnTo>
                  <a:lnTo>
                    <a:pt x="201" y="0"/>
                  </a:lnTo>
                  <a:lnTo>
                    <a:pt x="198" y="0"/>
                  </a:lnTo>
                  <a:lnTo>
                    <a:pt x="195" y="0"/>
                  </a:lnTo>
                  <a:lnTo>
                    <a:pt x="193" y="1"/>
                  </a:lnTo>
                  <a:lnTo>
                    <a:pt x="0" y="77"/>
                  </a:lnTo>
                  <a:lnTo>
                    <a:pt x="423" y="269"/>
                  </a:lnTo>
                  <a:lnTo>
                    <a:pt x="618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</p:grpSp>
      <p:grpSp>
        <p:nvGrpSpPr>
          <p:cNvPr id="187" name="Группа 186" descr="Это изображение содержит значок магазина. ">
            <a:extLst>
              <a:ext uri="{FF2B5EF4-FFF2-40B4-BE49-F238E27FC236}">
                <a16:creationId xmlns:a16="http://schemas.microsoft.com/office/drawing/2014/main" xmlns="" id="{D15DF590-B068-497B-9BD9-EA37C5B68852}"/>
              </a:ext>
            </a:extLst>
          </p:cNvPr>
          <p:cNvGrpSpPr/>
          <p:nvPr/>
        </p:nvGrpSpPr>
        <p:grpSpPr>
          <a:xfrm>
            <a:off x="10043308" y="2469256"/>
            <a:ext cx="215881" cy="187256"/>
            <a:chOff x="3171825" y="2530475"/>
            <a:chExt cx="287338" cy="249238"/>
          </a:xfrm>
          <a:solidFill>
            <a:schemeClr val="bg1"/>
          </a:solidFill>
        </p:grpSpPr>
        <p:sp>
          <p:nvSpPr>
            <p:cNvPr id="188" name="Полилиния 535">
              <a:extLst>
                <a:ext uri="{FF2B5EF4-FFF2-40B4-BE49-F238E27FC236}">
                  <a16:creationId xmlns:a16="http://schemas.microsoft.com/office/drawing/2014/main" xmlns="" id="{BD6792E0-34EB-4474-A447-07DA8B31F6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0400" y="2640013"/>
              <a:ext cx="230188" cy="139700"/>
            </a:xfrm>
            <a:custGeom>
              <a:avLst/>
              <a:gdLst>
                <a:gd name="T0" fmla="*/ 481 w 722"/>
                <a:gd name="T1" fmla="*/ 407 h 437"/>
                <a:gd name="T2" fmla="*/ 632 w 722"/>
                <a:gd name="T3" fmla="*/ 106 h 437"/>
                <a:gd name="T4" fmla="*/ 361 w 722"/>
                <a:gd name="T5" fmla="*/ 287 h 437"/>
                <a:gd name="T6" fmla="*/ 90 w 722"/>
                <a:gd name="T7" fmla="*/ 106 h 437"/>
                <a:gd name="T8" fmla="*/ 361 w 722"/>
                <a:gd name="T9" fmla="*/ 287 h 437"/>
                <a:gd name="T10" fmla="*/ 584 w 722"/>
                <a:gd name="T11" fmla="*/ 10 h 437"/>
                <a:gd name="T12" fmla="*/ 555 w 722"/>
                <a:gd name="T13" fmla="*/ 28 h 437"/>
                <a:gd name="T14" fmla="*/ 523 w 722"/>
                <a:gd name="T15" fmla="*/ 39 h 437"/>
                <a:gd name="T16" fmla="*/ 487 w 722"/>
                <a:gd name="T17" fmla="*/ 45 h 437"/>
                <a:gd name="T18" fmla="*/ 450 w 722"/>
                <a:gd name="T19" fmla="*/ 46 h 437"/>
                <a:gd name="T20" fmla="*/ 418 w 722"/>
                <a:gd name="T21" fmla="*/ 42 h 437"/>
                <a:gd name="T22" fmla="*/ 388 w 722"/>
                <a:gd name="T23" fmla="*/ 33 h 437"/>
                <a:gd name="T24" fmla="*/ 360 w 722"/>
                <a:gd name="T25" fmla="*/ 22 h 437"/>
                <a:gd name="T26" fmla="*/ 336 w 722"/>
                <a:gd name="T27" fmla="*/ 22 h 437"/>
                <a:gd name="T28" fmla="*/ 312 w 722"/>
                <a:gd name="T29" fmla="*/ 34 h 437"/>
                <a:gd name="T30" fmla="*/ 285 w 722"/>
                <a:gd name="T31" fmla="*/ 42 h 437"/>
                <a:gd name="T32" fmla="*/ 256 w 722"/>
                <a:gd name="T33" fmla="*/ 46 h 437"/>
                <a:gd name="T34" fmla="*/ 223 w 722"/>
                <a:gd name="T35" fmla="*/ 45 h 437"/>
                <a:gd name="T36" fmla="*/ 188 w 722"/>
                <a:gd name="T37" fmla="*/ 39 h 437"/>
                <a:gd name="T38" fmla="*/ 159 w 722"/>
                <a:gd name="T39" fmla="*/ 28 h 437"/>
                <a:gd name="T40" fmla="*/ 135 w 722"/>
                <a:gd name="T41" fmla="*/ 10 h 437"/>
                <a:gd name="T42" fmla="*/ 110 w 722"/>
                <a:gd name="T43" fmla="*/ 4 h 437"/>
                <a:gd name="T44" fmla="*/ 83 w 722"/>
                <a:gd name="T45" fmla="*/ 10 h 437"/>
                <a:gd name="T46" fmla="*/ 48 w 722"/>
                <a:gd name="T47" fmla="*/ 15 h 437"/>
                <a:gd name="T48" fmla="*/ 15 w 722"/>
                <a:gd name="T49" fmla="*/ 15 h 437"/>
                <a:gd name="T50" fmla="*/ 0 w 722"/>
                <a:gd name="T51" fmla="*/ 422 h 437"/>
                <a:gd name="T52" fmla="*/ 1 w 722"/>
                <a:gd name="T53" fmla="*/ 428 h 437"/>
                <a:gd name="T54" fmla="*/ 4 w 722"/>
                <a:gd name="T55" fmla="*/ 433 h 437"/>
                <a:gd name="T56" fmla="*/ 9 w 722"/>
                <a:gd name="T57" fmla="*/ 436 h 437"/>
                <a:gd name="T58" fmla="*/ 15 w 722"/>
                <a:gd name="T59" fmla="*/ 437 h 437"/>
                <a:gd name="T60" fmla="*/ 647 w 722"/>
                <a:gd name="T61" fmla="*/ 437 h 437"/>
                <a:gd name="T62" fmla="*/ 711 w 722"/>
                <a:gd name="T63" fmla="*/ 437 h 437"/>
                <a:gd name="T64" fmla="*/ 716 w 722"/>
                <a:gd name="T65" fmla="*/ 435 h 437"/>
                <a:gd name="T66" fmla="*/ 720 w 722"/>
                <a:gd name="T67" fmla="*/ 431 h 437"/>
                <a:gd name="T68" fmla="*/ 722 w 722"/>
                <a:gd name="T69" fmla="*/ 426 h 437"/>
                <a:gd name="T70" fmla="*/ 722 w 722"/>
                <a:gd name="T71" fmla="*/ 9 h 437"/>
                <a:gd name="T72" fmla="*/ 700 w 722"/>
                <a:gd name="T73" fmla="*/ 14 h 437"/>
                <a:gd name="T74" fmla="*/ 677 w 722"/>
                <a:gd name="T75" fmla="*/ 16 h 437"/>
                <a:gd name="T76" fmla="*/ 636 w 722"/>
                <a:gd name="T77" fmla="*/ 12 h 437"/>
                <a:gd name="T78" fmla="*/ 597 w 722"/>
                <a:gd name="T79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2" h="437">
                  <a:moveTo>
                    <a:pt x="632" y="407"/>
                  </a:moveTo>
                  <a:lnTo>
                    <a:pt x="481" y="407"/>
                  </a:lnTo>
                  <a:lnTo>
                    <a:pt x="481" y="106"/>
                  </a:lnTo>
                  <a:lnTo>
                    <a:pt x="632" y="106"/>
                  </a:lnTo>
                  <a:lnTo>
                    <a:pt x="632" y="407"/>
                  </a:lnTo>
                  <a:close/>
                  <a:moveTo>
                    <a:pt x="361" y="287"/>
                  </a:moveTo>
                  <a:lnTo>
                    <a:pt x="90" y="287"/>
                  </a:lnTo>
                  <a:lnTo>
                    <a:pt x="90" y="106"/>
                  </a:lnTo>
                  <a:lnTo>
                    <a:pt x="361" y="106"/>
                  </a:lnTo>
                  <a:lnTo>
                    <a:pt x="361" y="287"/>
                  </a:lnTo>
                  <a:close/>
                  <a:moveTo>
                    <a:pt x="597" y="0"/>
                  </a:moveTo>
                  <a:lnTo>
                    <a:pt x="584" y="10"/>
                  </a:lnTo>
                  <a:lnTo>
                    <a:pt x="570" y="20"/>
                  </a:lnTo>
                  <a:lnTo>
                    <a:pt x="555" y="28"/>
                  </a:lnTo>
                  <a:lnTo>
                    <a:pt x="540" y="34"/>
                  </a:lnTo>
                  <a:lnTo>
                    <a:pt x="523" y="39"/>
                  </a:lnTo>
                  <a:lnTo>
                    <a:pt x="505" y="43"/>
                  </a:lnTo>
                  <a:lnTo>
                    <a:pt x="487" y="45"/>
                  </a:lnTo>
                  <a:lnTo>
                    <a:pt x="466" y="46"/>
                  </a:lnTo>
                  <a:lnTo>
                    <a:pt x="450" y="46"/>
                  </a:lnTo>
                  <a:lnTo>
                    <a:pt x="434" y="44"/>
                  </a:lnTo>
                  <a:lnTo>
                    <a:pt x="418" y="42"/>
                  </a:lnTo>
                  <a:lnTo>
                    <a:pt x="403" y="38"/>
                  </a:lnTo>
                  <a:lnTo>
                    <a:pt x="388" y="33"/>
                  </a:lnTo>
                  <a:lnTo>
                    <a:pt x="374" y="29"/>
                  </a:lnTo>
                  <a:lnTo>
                    <a:pt x="360" y="22"/>
                  </a:lnTo>
                  <a:lnTo>
                    <a:pt x="347" y="15"/>
                  </a:lnTo>
                  <a:lnTo>
                    <a:pt x="336" y="22"/>
                  </a:lnTo>
                  <a:lnTo>
                    <a:pt x="325" y="29"/>
                  </a:lnTo>
                  <a:lnTo>
                    <a:pt x="312" y="34"/>
                  </a:lnTo>
                  <a:lnTo>
                    <a:pt x="299" y="38"/>
                  </a:lnTo>
                  <a:lnTo>
                    <a:pt x="285" y="42"/>
                  </a:lnTo>
                  <a:lnTo>
                    <a:pt x="271" y="44"/>
                  </a:lnTo>
                  <a:lnTo>
                    <a:pt x="256" y="46"/>
                  </a:lnTo>
                  <a:lnTo>
                    <a:pt x="241" y="46"/>
                  </a:lnTo>
                  <a:lnTo>
                    <a:pt x="223" y="45"/>
                  </a:lnTo>
                  <a:lnTo>
                    <a:pt x="204" y="43"/>
                  </a:lnTo>
                  <a:lnTo>
                    <a:pt x="188" y="39"/>
                  </a:lnTo>
                  <a:lnTo>
                    <a:pt x="173" y="35"/>
                  </a:lnTo>
                  <a:lnTo>
                    <a:pt x="159" y="28"/>
                  </a:lnTo>
                  <a:lnTo>
                    <a:pt x="147" y="20"/>
                  </a:lnTo>
                  <a:lnTo>
                    <a:pt x="135" y="10"/>
                  </a:lnTo>
                  <a:lnTo>
                    <a:pt x="123" y="0"/>
                  </a:lnTo>
                  <a:lnTo>
                    <a:pt x="110" y="4"/>
                  </a:lnTo>
                  <a:lnTo>
                    <a:pt x="96" y="7"/>
                  </a:lnTo>
                  <a:lnTo>
                    <a:pt x="83" y="10"/>
                  </a:lnTo>
                  <a:lnTo>
                    <a:pt x="70" y="13"/>
                  </a:lnTo>
                  <a:lnTo>
                    <a:pt x="48" y="15"/>
                  </a:lnTo>
                  <a:lnTo>
                    <a:pt x="30" y="16"/>
                  </a:lnTo>
                  <a:lnTo>
                    <a:pt x="15" y="15"/>
                  </a:lnTo>
                  <a:lnTo>
                    <a:pt x="0" y="13"/>
                  </a:lnTo>
                  <a:lnTo>
                    <a:pt x="0" y="422"/>
                  </a:lnTo>
                  <a:lnTo>
                    <a:pt x="1" y="426"/>
                  </a:lnTo>
                  <a:lnTo>
                    <a:pt x="1" y="428"/>
                  </a:lnTo>
                  <a:lnTo>
                    <a:pt x="3" y="431"/>
                  </a:lnTo>
                  <a:lnTo>
                    <a:pt x="4" y="433"/>
                  </a:lnTo>
                  <a:lnTo>
                    <a:pt x="6" y="435"/>
                  </a:lnTo>
                  <a:lnTo>
                    <a:pt x="9" y="436"/>
                  </a:lnTo>
                  <a:lnTo>
                    <a:pt x="11" y="437"/>
                  </a:lnTo>
                  <a:lnTo>
                    <a:pt x="15" y="437"/>
                  </a:lnTo>
                  <a:lnTo>
                    <a:pt x="466" y="437"/>
                  </a:lnTo>
                  <a:lnTo>
                    <a:pt x="647" y="437"/>
                  </a:lnTo>
                  <a:lnTo>
                    <a:pt x="707" y="437"/>
                  </a:lnTo>
                  <a:lnTo>
                    <a:pt x="711" y="437"/>
                  </a:lnTo>
                  <a:lnTo>
                    <a:pt x="713" y="436"/>
                  </a:lnTo>
                  <a:lnTo>
                    <a:pt x="716" y="435"/>
                  </a:lnTo>
                  <a:lnTo>
                    <a:pt x="718" y="433"/>
                  </a:lnTo>
                  <a:lnTo>
                    <a:pt x="720" y="431"/>
                  </a:lnTo>
                  <a:lnTo>
                    <a:pt x="721" y="428"/>
                  </a:lnTo>
                  <a:lnTo>
                    <a:pt x="722" y="426"/>
                  </a:lnTo>
                  <a:lnTo>
                    <a:pt x="722" y="422"/>
                  </a:lnTo>
                  <a:lnTo>
                    <a:pt x="722" y="9"/>
                  </a:lnTo>
                  <a:lnTo>
                    <a:pt x="712" y="12"/>
                  </a:lnTo>
                  <a:lnTo>
                    <a:pt x="700" y="14"/>
                  </a:lnTo>
                  <a:lnTo>
                    <a:pt x="689" y="16"/>
                  </a:lnTo>
                  <a:lnTo>
                    <a:pt x="677" y="16"/>
                  </a:lnTo>
                  <a:lnTo>
                    <a:pt x="656" y="15"/>
                  </a:lnTo>
                  <a:lnTo>
                    <a:pt x="636" y="12"/>
                  </a:lnTo>
                  <a:lnTo>
                    <a:pt x="615" y="6"/>
                  </a:lnTo>
                  <a:lnTo>
                    <a:pt x="597" y="0"/>
                  </a:lnTo>
                  <a:lnTo>
                    <a:pt x="59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89" name="Полилиния 536">
              <a:extLst>
                <a:ext uri="{FF2B5EF4-FFF2-40B4-BE49-F238E27FC236}">
                  <a16:creationId xmlns:a16="http://schemas.microsoft.com/office/drawing/2014/main" xmlns="" id="{7BB4520C-BB13-4668-8D28-815E832C0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88" y="2587625"/>
              <a:ext cx="66675" cy="47625"/>
            </a:xfrm>
            <a:custGeom>
              <a:avLst/>
              <a:gdLst>
                <a:gd name="T0" fmla="*/ 196 w 211"/>
                <a:gd name="T1" fmla="*/ 0 h 151"/>
                <a:gd name="T2" fmla="*/ 181 w 211"/>
                <a:gd name="T3" fmla="*/ 0 h 151"/>
                <a:gd name="T4" fmla="*/ 0 w 211"/>
                <a:gd name="T5" fmla="*/ 0 h 151"/>
                <a:gd name="T6" fmla="*/ 0 w 211"/>
                <a:gd name="T7" fmla="*/ 134 h 151"/>
                <a:gd name="T8" fmla="*/ 11 w 211"/>
                <a:gd name="T9" fmla="*/ 139 h 151"/>
                <a:gd name="T10" fmla="*/ 23 w 211"/>
                <a:gd name="T11" fmla="*/ 143 h 151"/>
                <a:gd name="T12" fmla="*/ 34 w 211"/>
                <a:gd name="T13" fmla="*/ 145 h 151"/>
                <a:gd name="T14" fmla="*/ 44 w 211"/>
                <a:gd name="T15" fmla="*/ 148 h 151"/>
                <a:gd name="T16" fmla="*/ 63 w 211"/>
                <a:gd name="T17" fmla="*/ 150 h 151"/>
                <a:gd name="T18" fmla="*/ 75 w 211"/>
                <a:gd name="T19" fmla="*/ 151 h 151"/>
                <a:gd name="T20" fmla="*/ 87 w 211"/>
                <a:gd name="T21" fmla="*/ 150 h 151"/>
                <a:gd name="T22" fmla="*/ 98 w 211"/>
                <a:gd name="T23" fmla="*/ 149 h 151"/>
                <a:gd name="T24" fmla="*/ 110 w 211"/>
                <a:gd name="T25" fmla="*/ 145 h 151"/>
                <a:gd name="T26" fmla="*/ 120 w 211"/>
                <a:gd name="T27" fmla="*/ 142 h 151"/>
                <a:gd name="T28" fmla="*/ 120 w 211"/>
                <a:gd name="T29" fmla="*/ 142 h 151"/>
                <a:gd name="T30" fmla="*/ 130 w 211"/>
                <a:gd name="T31" fmla="*/ 138 h 151"/>
                <a:gd name="T32" fmla="*/ 139 w 211"/>
                <a:gd name="T33" fmla="*/ 133 h 151"/>
                <a:gd name="T34" fmla="*/ 147 w 211"/>
                <a:gd name="T35" fmla="*/ 127 h 151"/>
                <a:gd name="T36" fmla="*/ 156 w 211"/>
                <a:gd name="T37" fmla="*/ 122 h 151"/>
                <a:gd name="T38" fmla="*/ 163 w 211"/>
                <a:gd name="T39" fmla="*/ 114 h 151"/>
                <a:gd name="T40" fmla="*/ 171 w 211"/>
                <a:gd name="T41" fmla="*/ 108 h 151"/>
                <a:gd name="T42" fmla="*/ 178 w 211"/>
                <a:gd name="T43" fmla="*/ 100 h 151"/>
                <a:gd name="T44" fmla="*/ 185 w 211"/>
                <a:gd name="T45" fmla="*/ 92 h 151"/>
                <a:gd name="T46" fmla="*/ 190 w 211"/>
                <a:gd name="T47" fmla="*/ 83 h 151"/>
                <a:gd name="T48" fmla="*/ 196 w 211"/>
                <a:gd name="T49" fmla="*/ 75 h 151"/>
                <a:gd name="T50" fmla="*/ 200 w 211"/>
                <a:gd name="T51" fmla="*/ 65 h 151"/>
                <a:gd name="T52" fmla="*/ 204 w 211"/>
                <a:gd name="T53" fmla="*/ 55 h 151"/>
                <a:gd name="T54" fmla="*/ 206 w 211"/>
                <a:gd name="T55" fmla="*/ 46 h 151"/>
                <a:gd name="T56" fmla="*/ 208 w 211"/>
                <a:gd name="T57" fmla="*/ 36 h 151"/>
                <a:gd name="T58" fmla="*/ 211 w 211"/>
                <a:gd name="T59" fmla="*/ 25 h 151"/>
                <a:gd name="T60" fmla="*/ 211 w 211"/>
                <a:gd name="T61" fmla="*/ 16 h 151"/>
                <a:gd name="T62" fmla="*/ 211 w 211"/>
                <a:gd name="T63" fmla="*/ 0 h 151"/>
                <a:gd name="T64" fmla="*/ 196 w 211"/>
                <a:gd name="T6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151">
                  <a:moveTo>
                    <a:pt x="196" y="0"/>
                  </a:moveTo>
                  <a:lnTo>
                    <a:pt x="181" y="0"/>
                  </a:lnTo>
                  <a:lnTo>
                    <a:pt x="0" y="0"/>
                  </a:lnTo>
                  <a:lnTo>
                    <a:pt x="0" y="134"/>
                  </a:lnTo>
                  <a:lnTo>
                    <a:pt x="11" y="139"/>
                  </a:lnTo>
                  <a:lnTo>
                    <a:pt x="23" y="143"/>
                  </a:lnTo>
                  <a:lnTo>
                    <a:pt x="34" y="145"/>
                  </a:lnTo>
                  <a:lnTo>
                    <a:pt x="44" y="148"/>
                  </a:lnTo>
                  <a:lnTo>
                    <a:pt x="63" y="150"/>
                  </a:lnTo>
                  <a:lnTo>
                    <a:pt x="75" y="151"/>
                  </a:lnTo>
                  <a:lnTo>
                    <a:pt x="87" y="150"/>
                  </a:lnTo>
                  <a:lnTo>
                    <a:pt x="98" y="149"/>
                  </a:lnTo>
                  <a:lnTo>
                    <a:pt x="110" y="145"/>
                  </a:lnTo>
                  <a:lnTo>
                    <a:pt x="120" y="142"/>
                  </a:lnTo>
                  <a:lnTo>
                    <a:pt x="120" y="142"/>
                  </a:lnTo>
                  <a:lnTo>
                    <a:pt x="130" y="138"/>
                  </a:lnTo>
                  <a:lnTo>
                    <a:pt x="139" y="133"/>
                  </a:lnTo>
                  <a:lnTo>
                    <a:pt x="147" y="127"/>
                  </a:lnTo>
                  <a:lnTo>
                    <a:pt x="156" y="122"/>
                  </a:lnTo>
                  <a:lnTo>
                    <a:pt x="163" y="114"/>
                  </a:lnTo>
                  <a:lnTo>
                    <a:pt x="171" y="108"/>
                  </a:lnTo>
                  <a:lnTo>
                    <a:pt x="178" y="100"/>
                  </a:lnTo>
                  <a:lnTo>
                    <a:pt x="185" y="92"/>
                  </a:lnTo>
                  <a:lnTo>
                    <a:pt x="190" y="83"/>
                  </a:lnTo>
                  <a:lnTo>
                    <a:pt x="196" y="75"/>
                  </a:lnTo>
                  <a:lnTo>
                    <a:pt x="200" y="65"/>
                  </a:lnTo>
                  <a:lnTo>
                    <a:pt x="204" y="55"/>
                  </a:lnTo>
                  <a:lnTo>
                    <a:pt x="206" y="46"/>
                  </a:lnTo>
                  <a:lnTo>
                    <a:pt x="208" y="36"/>
                  </a:lnTo>
                  <a:lnTo>
                    <a:pt x="211" y="25"/>
                  </a:lnTo>
                  <a:lnTo>
                    <a:pt x="211" y="16"/>
                  </a:lnTo>
                  <a:lnTo>
                    <a:pt x="211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90" name="Полилиния 537">
              <a:extLst>
                <a:ext uri="{FF2B5EF4-FFF2-40B4-BE49-F238E27FC236}">
                  <a16:creationId xmlns:a16="http://schemas.microsoft.com/office/drawing/2014/main" xmlns="" id="{D457F44E-10E9-4D1E-BAC7-AD92073A8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2587625"/>
              <a:ext cx="66675" cy="57150"/>
            </a:xfrm>
            <a:custGeom>
              <a:avLst/>
              <a:gdLst>
                <a:gd name="T0" fmla="*/ 213 w 213"/>
                <a:gd name="T1" fmla="*/ 143 h 181"/>
                <a:gd name="T2" fmla="*/ 211 w 213"/>
                <a:gd name="T3" fmla="*/ 140 h 181"/>
                <a:gd name="T4" fmla="*/ 211 w 213"/>
                <a:gd name="T5" fmla="*/ 136 h 181"/>
                <a:gd name="T6" fmla="*/ 211 w 213"/>
                <a:gd name="T7" fmla="*/ 0 h 181"/>
                <a:gd name="T8" fmla="*/ 0 w 213"/>
                <a:gd name="T9" fmla="*/ 0 h 181"/>
                <a:gd name="T10" fmla="*/ 0 w 213"/>
                <a:gd name="T11" fmla="*/ 151 h 181"/>
                <a:gd name="T12" fmla="*/ 0 w 213"/>
                <a:gd name="T13" fmla="*/ 152 h 181"/>
                <a:gd name="T14" fmla="*/ 0 w 213"/>
                <a:gd name="T15" fmla="*/ 153 h 181"/>
                <a:gd name="T16" fmla="*/ 11 w 213"/>
                <a:gd name="T17" fmla="*/ 159 h 181"/>
                <a:gd name="T18" fmla="*/ 23 w 213"/>
                <a:gd name="T19" fmla="*/ 165 h 181"/>
                <a:gd name="T20" fmla="*/ 34 w 213"/>
                <a:gd name="T21" fmla="*/ 169 h 181"/>
                <a:gd name="T22" fmla="*/ 48 w 213"/>
                <a:gd name="T23" fmla="*/ 173 h 181"/>
                <a:gd name="T24" fmla="*/ 61 w 213"/>
                <a:gd name="T25" fmla="*/ 177 h 181"/>
                <a:gd name="T26" fmla="*/ 76 w 213"/>
                <a:gd name="T27" fmla="*/ 179 h 181"/>
                <a:gd name="T28" fmla="*/ 90 w 213"/>
                <a:gd name="T29" fmla="*/ 181 h 181"/>
                <a:gd name="T30" fmla="*/ 105 w 213"/>
                <a:gd name="T31" fmla="*/ 181 h 181"/>
                <a:gd name="T32" fmla="*/ 122 w 213"/>
                <a:gd name="T33" fmla="*/ 180 h 181"/>
                <a:gd name="T34" fmla="*/ 138 w 213"/>
                <a:gd name="T35" fmla="*/ 179 h 181"/>
                <a:gd name="T36" fmla="*/ 152 w 213"/>
                <a:gd name="T37" fmla="*/ 175 h 181"/>
                <a:gd name="T38" fmla="*/ 166 w 213"/>
                <a:gd name="T39" fmla="*/ 171 h 181"/>
                <a:gd name="T40" fmla="*/ 179 w 213"/>
                <a:gd name="T41" fmla="*/ 167 h 181"/>
                <a:gd name="T42" fmla="*/ 192 w 213"/>
                <a:gd name="T43" fmla="*/ 160 h 181"/>
                <a:gd name="T44" fmla="*/ 203 w 213"/>
                <a:gd name="T45" fmla="*/ 153 h 181"/>
                <a:gd name="T46" fmla="*/ 213 w 213"/>
                <a:gd name="T47" fmla="*/ 143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81">
                  <a:moveTo>
                    <a:pt x="213" y="143"/>
                  </a:moveTo>
                  <a:lnTo>
                    <a:pt x="211" y="140"/>
                  </a:lnTo>
                  <a:lnTo>
                    <a:pt x="211" y="136"/>
                  </a:lnTo>
                  <a:lnTo>
                    <a:pt x="211" y="0"/>
                  </a:lnTo>
                  <a:lnTo>
                    <a:pt x="0" y="0"/>
                  </a:lnTo>
                  <a:lnTo>
                    <a:pt x="0" y="151"/>
                  </a:lnTo>
                  <a:lnTo>
                    <a:pt x="0" y="152"/>
                  </a:lnTo>
                  <a:lnTo>
                    <a:pt x="0" y="153"/>
                  </a:lnTo>
                  <a:lnTo>
                    <a:pt x="11" y="159"/>
                  </a:lnTo>
                  <a:lnTo>
                    <a:pt x="23" y="165"/>
                  </a:lnTo>
                  <a:lnTo>
                    <a:pt x="34" y="169"/>
                  </a:lnTo>
                  <a:lnTo>
                    <a:pt x="48" y="173"/>
                  </a:lnTo>
                  <a:lnTo>
                    <a:pt x="61" y="177"/>
                  </a:lnTo>
                  <a:lnTo>
                    <a:pt x="76" y="179"/>
                  </a:lnTo>
                  <a:lnTo>
                    <a:pt x="90" y="181"/>
                  </a:lnTo>
                  <a:lnTo>
                    <a:pt x="105" y="181"/>
                  </a:lnTo>
                  <a:lnTo>
                    <a:pt x="122" y="180"/>
                  </a:lnTo>
                  <a:lnTo>
                    <a:pt x="138" y="179"/>
                  </a:lnTo>
                  <a:lnTo>
                    <a:pt x="152" y="175"/>
                  </a:lnTo>
                  <a:lnTo>
                    <a:pt x="166" y="171"/>
                  </a:lnTo>
                  <a:lnTo>
                    <a:pt x="179" y="167"/>
                  </a:lnTo>
                  <a:lnTo>
                    <a:pt x="192" y="160"/>
                  </a:lnTo>
                  <a:lnTo>
                    <a:pt x="203" y="153"/>
                  </a:lnTo>
                  <a:lnTo>
                    <a:pt x="213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91" name="Полилиния 538">
              <a:extLst>
                <a:ext uri="{FF2B5EF4-FFF2-40B4-BE49-F238E27FC236}">
                  <a16:creationId xmlns:a16="http://schemas.microsoft.com/office/drawing/2014/main" xmlns="" id="{E440043D-E3EB-4345-975C-79426254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2587625"/>
              <a:ext cx="57150" cy="57150"/>
            </a:xfrm>
            <a:custGeom>
              <a:avLst/>
              <a:gdLst>
                <a:gd name="T0" fmla="*/ 0 w 181"/>
                <a:gd name="T1" fmla="*/ 0 h 181"/>
                <a:gd name="T2" fmla="*/ 0 w 181"/>
                <a:gd name="T3" fmla="*/ 149 h 181"/>
                <a:gd name="T4" fmla="*/ 8 w 181"/>
                <a:gd name="T5" fmla="*/ 157 h 181"/>
                <a:gd name="T6" fmla="*/ 18 w 181"/>
                <a:gd name="T7" fmla="*/ 164 h 181"/>
                <a:gd name="T8" fmla="*/ 28 w 181"/>
                <a:gd name="T9" fmla="*/ 169 h 181"/>
                <a:gd name="T10" fmla="*/ 38 w 181"/>
                <a:gd name="T11" fmla="*/ 173 h 181"/>
                <a:gd name="T12" fmla="*/ 49 w 181"/>
                <a:gd name="T13" fmla="*/ 177 h 181"/>
                <a:gd name="T14" fmla="*/ 62 w 181"/>
                <a:gd name="T15" fmla="*/ 179 h 181"/>
                <a:gd name="T16" fmla="*/ 75 w 181"/>
                <a:gd name="T17" fmla="*/ 181 h 181"/>
                <a:gd name="T18" fmla="*/ 90 w 181"/>
                <a:gd name="T19" fmla="*/ 181 h 181"/>
                <a:gd name="T20" fmla="*/ 103 w 181"/>
                <a:gd name="T21" fmla="*/ 181 h 181"/>
                <a:gd name="T22" fmla="*/ 116 w 181"/>
                <a:gd name="T23" fmla="*/ 179 h 181"/>
                <a:gd name="T24" fmla="*/ 129 w 181"/>
                <a:gd name="T25" fmla="*/ 178 h 181"/>
                <a:gd name="T26" fmla="*/ 139 w 181"/>
                <a:gd name="T27" fmla="*/ 174 h 181"/>
                <a:gd name="T28" fmla="*/ 151 w 181"/>
                <a:gd name="T29" fmla="*/ 170 h 181"/>
                <a:gd name="T30" fmla="*/ 161 w 181"/>
                <a:gd name="T31" fmla="*/ 166 h 181"/>
                <a:gd name="T32" fmla="*/ 171 w 181"/>
                <a:gd name="T33" fmla="*/ 160 h 181"/>
                <a:gd name="T34" fmla="*/ 181 w 181"/>
                <a:gd name="T35" fmla="*/ 154 h 181"/>
                <a:gd name="T36" fmla="*/ 180 w 181"/>
                <a:gd name="T37" fmla="*/ 152 h 181"/>
                <a:gd name="T38" fmla="*/ 180 w 181"/>
                <a:gd name="T39" fmla="*/ 151 h 181"/>
                <a:gd name="T40" fmla="*/ 180 w 181"/>
                <a:gd name="T41" fmla="*/ 0 h 181"/>
                <a:gd name="T42" fmla="*/ 0 w 181"/>
                <a:gd name="T4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1" h="181">
                  <a:moveTo>
                    <a:pt x="0" y="0"/>
                  </a:moveTo>
                  <a:lnTo>
                    <a:pt x="0" y="149"/>
                  </a:lnTo>
                  <a:lnTo>
                    <a:pt x="8" y="157"/>
                  </a:lnTo>
                  <a:lnTo>
                    <a:pt x="18" y="164"/>
                  </a:lnTo>
                  <a:lnTo>
                    <a:pt x="28" y="169"/>
                  </a:lnTo>
                  <a:lnTo>
                    <a:pt x="38" y="173"/>
                  </a:lnTo>
                  <a:lnTo>
                    <a:pt x="49" y="177"/>
                  </a:lnTo>
                  <a:lnTo>
                    <a:pt x="62" y="179"/>
                  </a:lnTo>
                  <a:lnTo>
                    <a:pt x="75" y="181"/>
                  </a:lnTo>
                  <a:lnTo>
                    <a:pt x="90" y="181"/>
                  </a:lnTo>
                  <a:lnTo>
                    <a:pt x="103" y="181"/>
                  </a:lnTo>
                  <a:lnTo>
                    <a:pt x="116" y="179"/>
                  </a:lnTo>
                  <a:lnTo>
                    <a:pt x="129" y="178"/>
                  </a:lnTo>
                  <a:lnTo>
                    <a:pt x="139" y="174"/>
                  </a:lnTo>
                  <a:lnTo>
                    <a:pt x="151" y="170"/>
                  </a:lnTo>
                  <a:lnTo>
                    <a:pt x="161" y="166"/>
                  </a:lnTo>
                  <a:lnTo>
                    <a:pt x="171" y="160"/>
                  </a:lnTo>
                  <a:lnTo>
                    <a:pt x="181" y="154"/>
                  </a:lnTo>
                  <a:lnTo>
                    <a:pt x="180" y="152"/>
                  </a:lnTo>
                  <a:lnTo>
                    <a:pt x="180" y="151"/>
                  </a:lnTo>
                  <a:lnTo>
                    <a:pt x="18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92" name="Полилиния 539">
              <a:extLst>
                <a:ext uri="{FF2B5EF4-FFF2-40B4-BE49-F238E27FC236}">
                  <a16:creationId xmlns:a16="http://schemas.microsoft.com/office/drawing/2014/main" xmlns="" id="{9142414C-2FFD-49DE-802C-5D4F80E1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2587625"/>
              <a:ext cx="68263" cy="47625"/>
            </a:xfrm>
            <a:custGeom>
              <a:avLst/>
              <a:gdLst>
                <a:gd name="T0" fmla="*/ 211 w 211"/>
                <a:gd name="T1" fmla="*/ 133 h 151"/>
                <a:gd name="T2" fmla="*/ 211 w 211"/>
                <a:gd name="T3" fmla="*/ 0 h 151"/>
                <a:gd name="T4" fmla="*/ 30 w 211"/>
                <a:gd name="T5" fmla="*/ 0 h 151"/>
                <a:gd name="T6" fmla="*/ 15 w 211"/>
                <a:gd name="T7" fmla="*/ 0 h 151"/>
                <a:gd name="T8" fmla="*/ 0 w 211"/>
                <a:gd name="T9" fmla="*/ 0 h 151"/>
                <a:gd name="T10" fmla="*/ 0 w 211"/>
                <a:gd name="T11" fmla="*/ 16 h 151"/>
                <a:gd name="T12" fmla="*/ 1 w 211"/>
                <a:gd name="T13" fmla="*/ 30 h 151"/>
                <a:gd name="T14" fmla="*/ 2 w 211"/>
                <a:gd name="T15" fmla="*/ 42 h 151"/>
                <a:gd name="T16" fmla="*/ 5 w 211"/>
                <a:gd name="T17" fmla="*/ 56 h 151"/>
                <a:gd name="T18" fmla="*/ 9 w 211"/>
                <a:gd name="T19" fmla="*/ 68 h 151"/>
                <a:gd name="T20" fmla="*/ 13 w 211"/>
                <a:gd name="T21" fmla="*/ 80 h 151"/>
                <a:gd name="T22" fmla="*/ 20 w 211"/>
                <a:gd name="T23" fmla="*/ 92 h 151"/>
                <a:gd name="T24" fmla="*/ 26 w 211"/>
                <a:gd name="T25" fmla="*/ 101 h 151"/>
                <a:gd name="T26" fmla="*/ 35 w 211"/>
                <a:gd name="T27" fmla="*/ 111 h 151"/>
                <a:gd name="T28" fmla="*/ 42 w 211"/>
                <a:gd name="T29" fmla="*/ 120 h 151"/>
                <a:gd name="T30" fmla="*/ 52 w 211"/>
                <a:gd name="T31" fmla="*/ 128 h 151"/>
                <a:gd name="T32" fmla="*/ 62 w 211"/>
                <a:gd name="T33" fmla="*/ 135 h 151"/>
                <a:gd name="T34" fmla="*/ 72 w 211"/>
                <a:gd name="T35" fmla="*/ 140 h 151"/>
                <a:gd name="T36" fmla="*/ 84 w 211"/>
                <a:gd name="T37" fmla="*/ 144 h 151"/>
                <a:gd name="T38" fmla="*/ 95 w 211"/>
                <a:gd name="T39" fmla="*/ 148 h 151"/>
                <a:gd name="T40" fmla="*/ 108 w 211"/>
                <a:gd name="T41" fmla="*/ 150 h 151"/>
                <a:gd name="T42" fmla="*/ 120 w 211"/>
                <a:gd name="T43" fmla="*/ 151 h 151"/>
                <a:gd name="T44" fmla="*/ 137 w 211"/>
                <a:gd name="T45" fmla="*/ 150 h 151"/>
                <a:gd name="T46" fmla="*/ 159 w 211"/>
                <a:gd name="T47" fmla="*/ 147 h 151"/>
                <a:gd name="T48" fmla="*/ 172 w 211"/>
                <a:gd name="T49" fmla="*/ 144 h 151"/>
                <a:gd name="T50" fmla="*/ 185 w 211"/>
                <a:gd name="T51" fmla="*/ 141 h 151"/>
                <a:gd name="T52" fmla="*/ 198 w 211"/>
                <a:gd name="T53" fmla="*/ 138 h 151"/>
                <a:gd name="T54" fmla="*/ 211 w 211"/>
                <a:gd name="T55" fmla="*/ 133 h 151"/>
                <a:gd name="T56" fmla="*/ 211 w 211"/>
                <a:gd name="T57" fmla="*/ 13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1" h="151">
                  <a:moveTo>
                    <a:pt x="211" y="133"/>
                  </a:moveTo>
                  <a:lnTo>
                    <a:pt x="211" y="0"/>
                  </a:lnTo>
                  <a:lnTo>
                    <a:pt x="30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1" y="30"/>
                  </a:lnTo>
                  <a:lnTo>
                    <a:pt x="2" y="42"/>
                  </a:lnTo>
                  <a:lnTo>
                    <a:pt x="5" y="56"/>
                  </a:lnTo>
                  <a:lnTo>
                    <a:pt x="9" y="68"/>
                  </a:lnTo>
                  <a:lnTo>
                    <a:pt x="13" y="80"/>
                  </a:lnTo>
                  <a:lnTo>
                    <a:pt x="20" y="92"/>
                  </a:lnTo>
                  <a:lnTo>
                    <a:pt x="26" y="101"/>
                  </a:lnTo>
                  <a:lnTo>
                    <a:pt x="35" y="111"/>
                  </a:lnTo>
                  <a:lnTo>
                    <a:pt x="42" y="120"/>
                  </a:lnTo>
                  <a:lnTo>
                    <a:pt x="52" y="128"/>
                  </a:lnTo>
                  <a:lnTo>
                    <a:pt x="62" y="135"/>
                  </a:lnTo>
                  <a:lnTo>
                    <a:pt x="72" y="140"/>
                  </a:lnTo>
                  <a:lnTo>
                    <a:pt x="84" y="144"/>
                  </a:lnTo>
                  <a:lnTo>
                    <a:pt x="95" y="148"/>
                  </a:lnTo>
                  <a:lnTo>
                    <a:pt x="108" y="150"/>
                  </a:lnTo>
                  <a:lnTo>
                    <a:pt x="120" y="151"/>
                  </a:lnTo>
                  <a:lnTo>
                    <a:pt x="137" y="150"/>
                  </a:lnTo>
                  <a:lnTo>
                    <a:pt x="159" y="147"/>
                  </a:lnTo>
                  <a:lnTo>
                    <a:pt x="172" y="144"/>
                  </a:lnTo>
                  <a:lnTo>
                    <a:pt x="185" y="141"/>
                  </a:lnTo>
                  <a:lnTo>
                    <a:pt x="198" y="138"/>
                  </a:lnTo>
                  <a:lnTo>
                    <a:pt x="211" y="133"/>
                  </a:lnTo>
                  <a:lnTo>
                    <a:pt x="211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93" name="Полилиния 540">
              <a:extLst>
                <a:ext uri="{FF2B5EF4-FFF2-40B4-BE49-F238E27FC236}">
                  <a16:creationId xmlns:a16="http://schemas.microsoft.com/office/drawing/2014/main" xmlns="" id="{7CC911BD-BFF7-45AB-9E60-BEF99CB40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2963" y="2722563"/>
              <a:ext cx="9525" cy="9525"/>
            </a:xfrm>
            <a:custGeom>
              <a:avLst/>
              <a:gdLst>
                <a:gd name="T0" fmla="*/ 15 w 30"/>
                <a:gd name="T1" fmla="*/ 30 h 30"/>
                <a:gd name="T2" fmla="*/ 17 w 30"/>
                <a:gd name="T3" fmla="*/ 29 h 30"/>
                <a:gd name="T4" fmla="*/ 21 w 30"/>
                <a:gd name="T5" fmla="*/ 28 h 30"/>
                <a:gd name="T6" fmla="*/ 23 w 30"/>
                <a:gd name="T7" fmla="*/ 27 h 30"/>
                <a:gd name="T8" fmla="*/ 26 w 30"/>
                <a:gd name="T9" fmla="*/ 25 h 30"/>
                <a:gd name="T10" fmla="*/ 27 w 30"/>
                <a:gd name="T11" fmla="*/ 23 h 30"/>
                <a:gd name="T12" fmla="*/ 29 w 30"/>
                <a:gd name="T13" fmla="*/ 21 h 30"/>
                <a:gd name="T14" fmla="*/ 29 w 30"/>
                <a:gd name="T15" fmla="*/ 17 h 30"/>
                <a:gd name="T16" fmla="*/ 30 w 30"/>
                <a:gd name="T17" fmla="*/ 15 h 30"/>
                <a:gd name="T18" fmla="*/ 29 w 30"/>
                <a:gd name="T19" fmla="*/ 12 h 30"/>
                <a:gd name="T20" fmla="*/ 29 w 30"/>
                <a:gd name="T21" fmla="*/ 9 h 30"/>
                <a:gd name="T22" fmla="*/ 27 w 30"/>
                <a:gd name="T23" fmla="*/ 7 h 30"/>
                <a:gd name="T24" fmla="*/ 26 w 30"/>
                <a:gd name="T25" fmla="*/ 4 h 30"/>
                <a:gd name="T26" fmla="*/ 23 w 30"/>
                <a:gd name="T27" fmla="*/ 2 h 30"/>
                <a:gd name="T28" fmla="*/ 21 w 30"/>
                <a:gd name="T29" fmla="*/ 1 h 30"/>
                <a:gd name="T30" fmla="*/ 17 w 30"/>
                <a:gd name="T31" fmla="*/ 0 h 30"/>
                <a:gd name="T32" fmla="*/ 15 w 30"/>
                <a:gd name="T33" fmla="*/ 0 h 30"/>
                <a:gd name="T34" fmla="*/ 12 w 30"/>
                <a:gd name="T35" fmla="*/ 0 h 30"/>
                <a:gd name="T36" fmla="*/ 9 w 30"/>
                <a:gd name="T37" fmla="*/ 1 h 30"/>
                <a:gd name="T38" fmla="*/ 7 w 30"/>
                <a:gd name="T39" fmla="*/ 2 h 30"/>
                <a:gd name="T40" fmla="*/ 5 w 30"/>
                <a:gd name="T41" fmla="*/ 4 h 30"/>
                <a:gd name="T42" fmla="*/ 2 w 30"/>
                <a:gd name="T43" fmla="*/ 7 h 30"/>
                <a:gd name="T44" fmla="*/ 1 w 30"/>
                <a:gd name="T45" fmla="*/ 9 h 30"/>
                <a:gd name="T46" fmla="*/ 0 w 30"/>
                <a:gd name="T47" fmla="*/ 12 h 30"/>
                <a:gd name="T48" fmla="*/ 0 w 30"/>
                <a:gd name="T49" fmla="*/ 15 h 30"/>
                <a:gd name="T50" fmla="*/ 0 w 30"/>
                <a:gd name="T51" fmla="*/ 17 h 30"/>
                <a:gd name="T52" fmla="*/ 1 w 30"/>
                <a:gd name="T53" fmla="*/ 21 h 30"/>
                <a:gd name="T54" fmla="*/ 2 w 30"/>
                <a:gd name="T55" fmla="*/ 23 h 30"/>
                <a:gd name="T56" fmla="*/ 5 w 30"/>
                <a:gd name="T57" fmla="*/ 25 h 30"/>
                <a:gd name="T58" fmla="*/ 7 w 30"/>
                <a:gd name="T59" fmla="*/ 27 h 30"/>
                <a:gd name="T60" fmla="*/ 9 w 30"/>
                <a:gd name="T61" fmla="*/ 28 h 30"/>
                <a:gd name="T62" fmla="*/ 12 w 30"/>
                <a:gd name="T63" fmla="*/ 29 h 30"/>
                <a:gd name="T64" fmla="*/ 15 w 30"/>
                <a:gd name="T6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lnTo>
                    <a:pt x="17" y="29"/>
                  </a:lnTo>
                  <a:lnTo>
                    <a:pt x="21" y="28"/>
                  </a:lnTo>
                  <a:lnTo>
                    <a:pt x="23" y="27"/>
                  </a:lnTo>
                  <a:lnTo>
                    <a:pt x="26" y="25"/>
                  </a:lnTo>
                  <a:lnTo>
                    <a:pt x="27" y="23"/>
                  </a:lnTo>
                  <a:lnTo>
                    <a:pt x="29" y="21"/>
                  </a:lnTo>
                  <a:lnTo>
                    <a:pt x="29" y="17"/>
                  </a:lnTo>
                  <a:lnTo>
                    <a:pt x="30" y="15"/>
                  </a:lnTo>
                  <a:lnTo>
                    <a:pt x="29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6" y="4"/>
                  </a:lnTo>
                  <a:lnTo>
                    <a:pt x="23" y="2"/>
                  </a:lnTo>
                  <a:lnTo>
                    <a:pt x="21" y="1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5" y="25"/>
                  </a:lnTo>
                  <a:lnTo>
                    <a:pt x="7" y="27"/>
                  </a:lnTo>
                  <a:lnTo>
                    <a:pt x="9" y="28"/>
                  </a:lnTo>
                  <a:lnTo>
                    <a:pt x="12" y="29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94" name="Полилиния 541">
              <a:extLst>
                <a:ext uri="{FF2B5EF4-FFF2-40B4-BE49-F238E27FC236}">
                  <a16:creationId xmlns:a16="http://schemas.microsoft.com/office/drawing/2014/main" xmlns="" id="{A1BCCE46-D758-4E1D-8A5C-D21AB44E4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5000" y="2530475"/>
              <a:ext cx="80963" cy="47625"/>
            </a:xfrm>
            <a:custGeom>
              <a:avLst/>
              <a:gdLst>
                <a:gd name="T0" fmla="*/ 35 w 258"/>
                <a:gd name="T1" fmla="*/ 151 h 151"/>
                <a:gd name="T2" fmla="*/ 208 w 258"/>
                <a:gd name="T3" fmla="*/ 151 h 151"/>
                <a:gd name="T4" fmla="*/ 258 w 258"/>
                <a:gd name="T5" fmla="*/ 0 h 151"/>
                <a:gd name="T6" fmla="*/ 99 w 258"/>
                <a:gd name="T7" fmla="*/ 0 h 151"/>
                <a:gd name="T8" fmla="*/ 95 w 258"/>
                <a:gd name="T9" fmla="*/ 1 h 151"/>
                <a:gd name="T10" fmla="*/ 91 w 258"/>
                <a:gd name="T11" fmla="*/ 2 h 151"/>
                <a:gd name="T12" fmla="*/ 88 w 258"/>
                <a:gd name="T13" fmla="*/ 5 h 151"/>
                <a:gd name="T14" fmla="*/ 86 w 258"/>
                <a:gd name="T15" fmla="*/ 8 h 151"/>
                <a:gd name="T16" fmla="*/ 18 w 258"/>
                <a:gd name="T17" fmla="*/ 120 h 151"/>
                <a:gd name="T18" fmla="*/ 0 w 258"/>
                <a:gd name="T19" fmla="*/ 151 h 151"/>
                <a:gd name="T20" fmla="*/ 9 w 258"/>
                <a:gd name="T21" fmla="*/ 151 h 151"/>
                <a:gd name="T22" fmla="*/ 35 w 258"/>
                <a:gd name="T23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8" h="151">
                  <a:moveTo>
                    <a:pt x="35" y="151"/>
                  </a:moveTo>
                  <a:lnTo>
                    <a:pt x="208" y="151"/>
                  </a:lnTo>
                  <a:lnTo>
                    <a:pt x="258" y="0"/>
                  </a:lnTo>
                  <a:lnTo>
                    <a:pt x="99" y="0"/>
                  </a:lnTo>
                  <a:lnTo>
                    <a:pt x="95" y="1"/>
                  </a:lnTo>
                  <a:lnTo>
                    <a:pt x="91" y="2"/>
                  </a:lnTo>
                  <a:lnTo>
                    <a:pt x="88" y="5"/>
                  </a:lnTo>
                  <a:lnTo>
                    <a:pt x="86" y="8"/>
                  </a:lnTo>
                  <a:lnTo>
                    <a:pt x="18" y="120"/>
                  </a:lnTo>
                  <a:lnTo>
                    <a:pt x="0" y="151"/>
                  </a:lnTo>
                  <a:lnTo>
                    <a:pt x="9" y="151"/>
                  </a:lnTo>
                  <a:lnTo>
                    <a:pt x="3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95" name="Полилиния 542">
              <a:extLst>
                <a:ext uri="{FF2B5EF4-FFF2-40B4-BE49-F238E27FC236}">
                  <a16:creationId xmlns:a16="http://schemas.microsoft.com/office/drawing/2014/main" xmlns="" id="{7254A82D-A287-4169-94DD-99188E5F6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200" y="2530475"/>
              <a:ext cx="55563" cy="47625"/>
            </a:xfrm>
            <a:custGeom>
              <a:avLst/>
              <a:gdLst>
                <a:gd name="T0" fmla="*/ 175 w 175"/>
                <a:gd name="T1" fmla="*/ 151 h 151"/>
                <a:gd name="T2" fmla="*/ 175 w 175"/>
                <a:gd name="T3" fmla="*/ 0 h 151"/>
                <a:gd name="T4" fmla="*/ 51 w 175"/>
                <a:gd name="T5" fmla="*/ 0 h 151"/>
                <a:gd name="T6" fmla="*/ 0 w 175"/>
                <a:gd name="T7" fmla="*/ 151 h 151"/>
                <a:gd name="T8" fmla="*/ 175 w 17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51">
                  <a:moveTo>
                    <a:pt x="175" y="151"/>
                  </a:moveTo>
                  <a:lnTo>
                    <a:pt x="175" y="0"/>
                  </a:lnTo>
                  <a:lnTo>
                    <a:pt x="51" y="0"/>
                  </a:lnTo>
                  <a:lnTo>
                    <a:pt x="0" y="151"/>
                  </a:lnTo>
                  <a:lnTo>
                    <a:pt x="17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96" name="Полилиния 543">
              <a:extLst>
                <a:ext uri="{FF2B5EF4-FFF2-40B4-BE49-F238E27FC236}">
                  <a16:creationId xmlns:a16="http://schemas.microsoft.com/office/drawing/2014/main" xmlns="" id="{9CC83424-906E-4B70-A7A0-404280974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5025" y="2530475"/>
              <a:ext cx="82550" cy="47625"/>
            </a:xfrm>
            <a:custGeom>
              <a:avLst/>
              <a:gdLst>
                <a:gd name="T0" fmla="*/ 223 w 258"/>
                <a:gd name="T1" fmla="*/ 151 h 151"/>
                <a:gd name="T2" fmla="*/ 250 w 258"/>
                <a:gd name="T3" fmla="*/ 151 h 151"/>
                <a:gd name="T4" fmla="*/ 258 w 258"/>
                <a:gd name="T5" fmla="*/ 151 h 151"/>
                <a:gd name="T6" fmla="*/ 240 w 258"/>
                <a:gd name="T7" fmla="*/ 120 h 151"/>
                <a:gd name="T8" fmla="*/ 172 w 258"/>
                <a:gd name="T9" fmla="*/ 8 h 151"/>
                <a:gd name="T10" fmla="*/ 170 w 258"/>
                <a:gd name="T11" fmla="*/ 5 h 151"/>
                <a:gd name="T12" fmla="*/ 167 w 258"/>
                <a:gd name="T13" fmla="*/ 2 h 151"/>
                <a:gd name="T14" fmla="*/ 164 w 258"/>
                <a:gd name="T15" fmla="*/ 1 h 151"/>
                <a:gd name="T16" fmla="*/ 159 w 258"/>
                <a:gd name="T17" fmla="*/ 0 h 151"/>
                <a:gd name="T18" fmla="*/ 0 w 258"/>
                <a:gd name="T19" fmla="*/ 0 h 151"/>
                <a:gd name="T20" fmla="*/ 50 w 258"/>
                <a:gd name="T21" fmla="*/ 151 h 151"/>
                <a:gd name="T22" fmla="*/ 223 w 258"/>
                <a:gd name="T23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8" h="151">
                  <a:moveTo>
                    <a:pt x="223" y="151"/>
                  </a:moveTo>
                  <a:lnTo>
                    <a:pt x="250" y="151"/>
                  </a:lnTo>
                  <a:lnTo>
                    <a:pt x="258" y="151"/>
                  </a:lnTo>
                  <a:lnTo>
                    <a:pt x="240" y="120"/>
                  </a:lnTo>
                  <a:lnTo>
                    <a:pt x="172" y="8"/>
                  </a:lnTo>
                  <a:lnTo>
                    <a:pt x="170" y="5"/>
                  </a:lnTo>
                  <a:lnTo>
                    <a:pt x="167" y="2"/>
                  </a:lnTo>
                  <a:lnTo>
                    <a:pt x="164" y="1"/>
                  </a:lnTo>
                  <a:lnTo>
                    <a:pt x="159" y="0"/>
                  </a:lnTo>
                  <a:lnTo>
                    <a:pt x="0" y="0"/>
                  </a:lnTo>
                  <a:lnTo>
                    <a:pt x="50" y="151"/>
                  </a:lnTo>
                  <a:lnTo>
                    <a:pt x="223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197" name="Полилиния 544">
              <a:extLst>
                <a:ext uri="{FF2B5EF4-FFF2-40B4-BE49-F238E27FC236}">
                  <a16:creationId xmlns:a16="http://schemas.microsoft.com/office/drawing/2014/main" xmlns="" id="{4E6C40BB-E4EC-452B-A15F-F872AE55C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2530475"/>
              <a:ext cx="65088" cy="47625"/>
            </a:xfrm>
            <a:custGeom>
              <a:avLst/>
              <a:gdLst>
                <a:gd name="T0" fmla="*/ 154 w 205"/>
                <a:gd name="T1" fmla="*/ 0 h 151"/>
                <a:gd name="T2" fmla="*/ 0 w 205"/>
                <a:gd name="T3" fmla="*/ 0 h 151"/>
                <a:gd name="T4" fmla="*/ 0 w 205"/>
                <a:gd name="T5" fmla="*/ 151 h 151"/>
                <a:gd name="T6" fmla="*/ 205 w 205"/>
                <a:gd name="T7" fmla="*/ 151 h 151"/>
                <a:gd name="T8" fmla="*/ 154 w 205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151">
                  <a:moveTo>
                    <a:pt x="154" y="0"/>
                  </a:moveTo>
                  <a:lnTo>
                    <a:pt x="0" y="0"/>
                  </a:lnTo>
                  <a:lnTo>
                    <a:pt x="0" y="151"/>
                  </a:lnTo>
                  <a:lnTo>
                    <a:pt x="205" y="151"/>
                  </a:lnTo>
                  <a:lnTo>
                    <a:pt x="1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</p:grpSp>
      <p:sp>
        <p:nvSpPr>
          <p:cNvPr id="7" name="Овал 6">
            <a:extLst>
              <a:ext uri="{FF2B5EF4-FFF2-40B4-BE49-F238E27FC236}">
                <a16:creationId xmlns:a16="http://schemas.microsoft.com/office/drawing/2014/main" xmlns="" id="{301A5EF5-C746-484C-8C3E-54B470C9673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1653068" y="5515511"/>
            <a:ext cx="889299" cy="8892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grpSp>
        <p:nvGrpSpPr>
          <p:cNvPr id="198" name="Группа 197" descr="Это изображение содержит значок копилки. ">
            <a:extLst>
              <a:ext uri="{FF2B5EF4-FFF2-40B4-BE49-F238E27FC236}">
                <a16:creationId xmlns:a16="http://schemas.microsoft.com/office/drawing/2014/main" xmlns="" id="{D086B74B-B772-4210-A7D6-37C9340D5A32}"/>
              </a:ext>
            </a:extLst>
          </p:cNvPr>
          <p:cNvGrpSpPr/>
          <p:nvPr/>
        </p:nvGrpSpPr>
        <p:grpSpPr>
          <a:xfrm>
            <a:off x="1929411" y="5815101"/>
            <a:ext cx="336612" cy="290118"/>
            <a:chOff x="304800" y="1384300"/>
            <a:chExt cx="287338" cy="247650"/>
          </a:xfrm>
          <a:solidFill>
            <a:schemeClr val="bg1"/>
          </a:solidFill>
        </p:grpSpPr>
        <p:sp>
          <p:nvSpPr>
            <p:cNvPr id="199" name="Полилиния 357">
              <a:extLst>
                <a:ext uri="{FF2B5EF4-FFF2-40B4-BE49-F238E27FC236}">
                  <a16:creationId xmlns:a16="http://schemas.microsoft.com/office/drawing/2014/main" xmlns="" id="{378D4309-1896-4F48-96BB-C6B443A15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238" y="1479550"/>
              <a:ext cx="9525" cy="9525"/>
            </a:xfrm>
            <a:custGeom>
              <a:avLst/>
              <a:gdLst>
                <a:gd name="T0" fmla="*/ 15 w 30"/>
                <a:gd name="T1" fmla="*/ 0 h 30"/>
                <a:gd name="T2" fmla="*/ 12 w 30"/>
                <a:gd name="T3" fmla="*/ 1 h 30"/>
                <a:gd name="T4" fmla="*/ 9 w 30"/>
                <a:gd name="T5" fmla="*/ 1 h 30"/>
                <a:gd name="T6" fmla="*/ 7 w 30"/>
                <a:gd name="T7" fmla="*/ 3 h 30"/>
                <a:gd name="T8" fmla="*/ 5 w 30"/>
                <a:gd name="T9" fmla="*/ 4 h 30"/>
                <a:gd name="T10" fmla="*/ 2 w 30"/>
                <a:gd name="T11" fmla="*/ 7 h 30"/>
                <a:gd name="T12" fmla="*/ 1 w 30"/>
                <a:gd name="T13" fmla="*/ 10 h 30"/>
                <a:gd name="T14" fmla="*/ 0 w 30"/>
                <a:gd name="T15" fmla="*/ 13 h 30"/>
                <a:gd name="T16" fmla="*/ 0 w 30"/>
                <a:gd name="T17" fmla="*/ 15 h 30"/>
                <a:gd name="T18" fmla="*/ 0 w 30"/>
                <a:gd name="T19" fmla="*/ 18 h 30"/>
                <a:gd name="T20" fmla="*/ 1 w 30"/>
                <a:gd name="T21" fmla="*/ 21 h 30"/>
                <a:gd name="T22" fmla="*/ 2 w 30"/>
                <a:gd name="T23" fmla="*/ 24 h 30"/>
                <a:gd name="T24" fmla="*/ 5 w 30"/>
                <a:gd name="T25" fmla="*/ 26 h 30"/>
                <a:gd name="T26" fmla="*/ 7 w 30"/>
                <a:gd name="T27" fmla="*/ 28 h 30"/>
                <a:gd name="T28" fmla="*/ 9 w 30"/>
                <a:gd name="T29" fmla="*/ 29 h 30"/>
                <a:gd name="T30" fmla="*/ 12 w 30"/>
                <a:gd name="T31" fmla="*/ 30 h 30"/>
                <a:gd name="T32" fmla="*/ 15 w 30"/>
                <a:gd name="T33" fmla="*/ 30 h 30"/>
                <a:gd name="T34" fmla="*/ 17 w 30"/>
                <a:gd name="T35" fmla="*/ 30 h 30"/>
                <a:gd name="T36" fmla="*/ 21 w 30"/>
                <a:gd name="T37" fmla="*/ 29 h 30"/>
                <a:gd name="T38" fmla="*/ 23 w 30"/>
                <a:gd name="T39" fmla="*/ 28 h 30"/>
                <a:gd name="T40" fmla="*/ 26 w 30"/>
                <a:gd name="T41" fmla="*/ 26 h 30"/>
                <a:gd name="T42" fmla="*/ 27 w 30"/>
                <a:gd name="T43" fmla="*/ 24 h 30"/>
                <a:gd name="T44" fmla="*/ 29 w 30"/>
                <a:gd name="T45" fmla="*/ 21 h 30"/>
                <a:gd name="T46" fmla="*/ 29 w 30"/>
                <a:gd name="T47" fmla="*/ 18 h 30"/>
                <a:gd name="T48" fmla="*/ 30 w 30"/>
                <a:gd name="T49" fmla="*/ 15 h 30"/>
                <a:gd name="T50" fmla="*/ 29 w 30"/>
                <a:gd name="T51" fmla="*/ 13 h 30"/>
                <a:gd name="T52" fmla="*/ 29 w 30"/>
                <a:gd name="T53" fmla="*/ 10 h 30"/>
                <a:gd name="T54" fmla="*/ 27 w 30"/>
                <a:gd name="T55" fmla="*/ 7 h 30"/>
                <a:gd name="T56" fmla="*/ 26 w 30"/>
                <a:gd name="T57" fmla="*/ 4 h 30"/>
                <a:gd name="T58" fmla="*/ 23 w 30"/>
                <a:gd name="T59" fmla="*/ 3 h 30"/>
                <a:gd name="T60" fmla="*/ 21 w 30"/>
                <a:gd name="T61" fmla="*/ 1 h 30"/>
                <a:gd name="T62" fmla="*/ 17 w 30"/>
                <a:gd name="T63" fmla="*/ 1 h 30"/>
                <a:gd name="T64" fmla="*/ 15 w 30"/>
                <a:gd name="T6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7" y="30"/>
                  </a:lnTo>
                  <a:lnTo>
                    <a:pt x="21" y="29"/>
                  </a:lnTo>
                  <a:lnTo>
                    <a:pt x="23" y="28"/>
                  </a:lnTo>
                  <a:lnTo>
                    <a:pt x="26" y="26"/>
                  </a:lnTo>
                  <a:lnTo>
                    <a:pt x="27" y="24"/>
                  </a:lnTo>
                  <a:lnTo>
                    <a:pt x="29" y="21"/>
                  </a:lnTo>
                  <a:lnTo>
                    <a:pt x="29" y="18"/>
                  </a:lnTo>
                  <a:lnTo>
                    <a:pt x="30" y="15"/>
                  </a:lnTo>
                  <a:lnTo>
                    <a:pt x="29" y="13"/>
                  </a:lnTo>
                  <a:lnTo>
                    <a:pt x="29" y="10"/>
                  </a:lnTo>
                  <a:lnTo>
                    <a:pt x="27" y="7"/>
                  </a:lnTo>
                  <a:lnTo>
                    <a:pt x="26" y="4"/>
                  </a:lnTo>
                  <a:lnTo>
                    <a:pt x="23" y="3"/>
                  </a:lnTo>
                  <a:lnTo>
                    <a:pt x="21" y="1"/>
                  </a:lnTo>
                  <a:lnTo>
                    <a:pt x="17" y="1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200" name="Полилиния 358">
              <a:extLst>
                <a:ext uri="{FF2B5EF4-FFF2-40B4-BE49-F238E27FC236}">
                  <a16:creationId xmlns:a16="http://schemas.microsoft.com/office/drawing/2014/main" xmlns="" id="{224C3CE4-6733-4076-854F-60F8B7070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" y="1384300"/>
              <a:ext cx="287338" cy="247650"/>
            </a:xfrm>
            <a:custGeom>
              <a:avLst/>
              <a:gdLst>
                <a:gd name="T0" fmla="*/ 627 w 903"/>
                <a:gd name="T1" fmla="*/ 239 h 782"/>
                <a:gd name="T2" fmla="*/ 558 w 903"/>
                <a:gd name="T3" fmla="*/ 200 h 782"/>
                <a:gd name="T4" fmla="*/ 474 w 903"/>
                <a:gd name="T5" fmla="*/ 180 h 782"/>
                <a:gd name="T6" fmla="*/ 429 w 903"/>
                <a:gd name="T7" fmla="*/ 178 h 782"/>
                <a:gd name="T8" fmla="*/ 421 w 903"/>
                <a:gd name="T9" fmla="*/ 163 h 782"/>
                <a:gd name="T10" fmla="*/ 432 w 903"/>
                <a:gd name="T11" fmla="*/ 150 h 782"/>
                <a:gd name="T12" fmla="*/ 502 w 903"/>
                <a:gd name="T13" fmla="*/ 153 h 782"/>
                <a:gd name="T14" fmla="*/ 581 w 903"/>
                <a:gd name="T15" fmla="*/ 178 h 782"/>
                <a:gd name="T16" fmla="*/ 644 w 903"/>
                <a:gd name="T17" fmla="*/ 215 h 782"/>
                <a:gd name="T18" fmla="*/ 646 w 903"/>
                <a:gd name="T19" fmla="*/ 231 h 782"/>
                <a:gd name="T20" fmla="*/ 209 w 903"/>
                <a:gd name="T21" fmla="*/ 347 h 782"/>
                <a:gd name="T22" fmla="*/ 199 w 903"/>
                <a:gd name="T23" fmla="*/ 298 h 782"/>
                <a:gd name="T24" fmla="*/ 241 w 903"/>
                <a:gd name="T25" fmla="*/ 270 h 782"/>
                <a:gd name="T26" fmla="*/ 282 w 903"/>
                <a:gd name="T27" fmla="*/ 298 h 782"/>
                <a:gd name="T28" fmla="*/ 272 w 903"/>
                <a:gd name="T29" fmla="*/ 347 h 782"/>
                <a:gd name="T30" fmla="*/ 888 w 903"/>
                <a:gd name="T31" fmla="*/ 285 h 782"/>
                <a:gd name="T32" fmla="*/ 874 w 903"/>
                <a:gd name="T33" fmla="*/ 295 h 782"/>
                <a:gd name="T34" fmla="*/ 860 w 903"/>
                <a:gd name="T35" fmla="*/ 339 h 782"/>
                <a:gd name="T36" fmla="*/ 823 w 903"/>
                <a:gd name="T37" fmla="*/ 328 h 782"/>
                <a:gd name="T38" fmla="*/ 793 w 903"/>
                <a:gd name="T39" fmla="*/ 242 h 782"/>
                <a:gd name="T40" fmla="*/ 735 w 903"/>
                <a:gd name="T41" fmla="*/ 168 h 782"/>
                <a:gd name="T42" fmla="*/ 656 w 903"/>
                <a:gd name="T43" fmla="*/ 110 h 782"/>
                <a:gd name="T44" fmla="*/ 560 w 903"/>
                <a:gd name="T45" fmla="*/ 73 h 782"/>
                <a:gd name="T46" fmla="*/ 452 w 903"/>
                <a:gd name="T47" fmla="*/ 60 h 782"/>
                <a:gd name="T48" fmla="*/ 355 w 903"/>
                <a:gd name="T49" fmla="*/ 50 h 782"/>
                <a:gd name="T50" fmla="*/ 312 w 903"/>
                <a:gd name="T51" fmla="*/ 17 h 782"/>
                <a:gd name="T52" fmla="*/ 262 w 903"/>
                <a:gd name="T53" fmla="*/ 1 h 782"/>
                <a:gd name="T54" fmla="*/ 205 w 903"/>
                <a:gd name="T55" fmla="*/ 4 h 782"/>
                <a:gd name="T56" fmla="*/ 163 w 903"/>
                <a:gd name="T57" fmla="*/ 24 h 782"/>
                <a:gd name="T58" fmla="*/ 169 w 903"/>
                <a:gd name="T59" fmla="*/ 46 h 782"/>
                <a:gd name="T60" fmla="*/ 217 w 903"/>
                <a:gd name="T61" fmla="*/ 98 h 782"/>
                <a:gd name="T62" fmla="*/ 172 w 903"/>
                <a:gd name="T63" fmla="*/ 163 h 782"/>
                <a:gd name="T64" fmla="*/ 110 w 903"/>
                <a:gd name="T65" fmla="*/ 241 h 782"/>
                <a:gd name="T66" fmla="*/ 77 w 903"/>
                <a:gd name="T67" fmla="*/ 330 h 782"/>
                <a:gd name="T68" fmla="*/ 2 w 903"/>
                <a:gd name="T69" fmla="*/ 337 h 782"/>
                <a:gd name="T70" fmla="*/ 1 w 903"/>
                <a:gd name="T71" fmla="*/ 502 h 782"/>
                <a:gd name="T72" fmla="*/ 15 w 903"/>
                <a:gd name="T73" fmla="*/ 511 h 782"/>
                <a:gd name="T74" fmla="*/ 153 w 903"/>
                <a:gd name="T75" fmla="*/ 576 h 782"/>
                <a:gd name="T76" fmla="*/ 225 w 903"/>
                <a:gd name="T77" fmla="*/ 636 h 782"/>
                <a:gd name="T78" fmla="*/ 301 w 903"/>
                <a:gd name="T79" fmla="*/ 767 h 782"/>
                <a:gd name="T80" fmla="*/ 310 w 903"/>
                <a:gd name="T81" fmla="*/ 780 h 782"/>
                <a:gd name="T82" fmla="*/ 327 w 903"/>
                <a:gd name="T83" fmla="*/ 777 h 782"/>
                <a:gd name="T84" fmla="*/ 359 w 903"/>
                <a:gd name="T85" fmla="*/ 684 h 782"/>
                <a:gd name="T86" fmla="*/ 499 w 903"/>
                <a:gd name="T87" fmla="*/ 689 h 782"/>
                <a:gd name="T88" fmla="*/ 573 w 903"/>
                <a:gd name="T89" fmla="*/ 773 h 782"/>
                <a:gd name="T90" fmla="*/ 587 w 903"/>
                <a:gd name="T91" fmla="*/ 782 h 782"/>
                <a:gd name="T92" fmla="*/ 601 w 903"/>
                <a:gd name="T93" fmla="*/ 773 h 782"/>
                <a:gd name="T94" fmla="*/ 669 w 903"/>
                <a:gd name="T95" fmla="*/ 632 h 782"/>
                <a:gd name="T96" fmla="*/ 773 w 903"/>
                <a:gd name="T97" fmla="*/ 537 h 782"/>
                <a:gd name="T98" fmla="*/ 825 w 903"/>
                <a:gd name="T99" fmla="*/ 413 h 782"/>
                <a:gd name="T100" fmla="*/ 864 w 903"/>
                <a:gd name="T101" fmla="*/ 375 h 782"/>
                <a:gd name="T102" fmla="*/ 894 w 903"/>
                <a:gd name="T103" fmla="*/ 340 h 782"/>
                <a:gd name="T104" fmla="*/ 903 w 903"/>
                <a:gd name="T105" fmla="*/ 297 h 782"/>
                <a:gd name="T106" fmla="*/ 891 w 903"/>
                <a:gd name="T107" fmla="*/ 286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3" h="782">
                  <a:moveTo>
                    <a:pt x="645" y="235"/>
                  </a:moveTo>
                  <a:lnTo>
                    <a:pt x="641" y="237"/>
                  </a:lnTo>
                  <a:lnTo>
                    <a:pt x="639" y="239"/>
                  </a:lnTo>
                  <a:lnTo>
                    <a:pt x="636" y="240"/>
                  </a:lnTo>
                  <a:lnTo>
                    <a:pt x="633" y="240"/>
                  </a:lnTo>
                  <a:lnTo>
                    <a:pt x="627" y="239"/>
                  </a:lnTo>
                  <a:lnTo>
                    <a:pt x="623" y="237"/>
                  </a:lnTo>
                  <a:lnTo>
                    <a:pt x="613" y="230"/>
                  </a:lnTo>
                  <a:lnTo>
                    <a:pt x="603" y="223"/>
                  </a:lnTo>
                  <a:lnTo>
                    <a:pt x="592" y="216"/>
                  </a:lnTo>
                  <a:lnTo>
                    <a:pt x="580" y="211"/>
                  </a:lnTo>
                  <a:lnTo>
                    <a:pt x="558" y="200"/>
                  </a:lnTo>
                  <a:lnTo>
                    <a:pt x="534" y="192"/>
                  </a:lnTo>
                  <a:lnTo>
                    <a:pt x="522" y="188"/>
                  </a:lnTo>
                  <a:lnTo>
                    <a:pt x="509" y="185"/>
                  </a:lnTo>
                  <a:lnTo>
                    <a:pt x="498" y="183"/>
                  </a:lnTo>
                  <a:lnTo>
                    <a:pt x="486" y="181"/>
                  </a:lnTo>
                  <a:lnTo>
                    <a:pt x="474" y="180"/>
                  </a:lnTo>
                  <a:lnTo>
                    <a:pt x="461" y="180"/>
                  </a:lnTo>
                  <a:lnTo>
                    <a:pt x="449" y="180"/>
                  </a:lnTo>
                  <a:lnTo>
                    <a:pt x="438" y="180"/>
                  </a:lnTo>
                  <a:lnTo>
                    <a:pt x="434" y="180"/>
                  </a:lnTo>
                  <a:lnTo>
                    <a:pt x="432" y="179"/>
                  </a:lnTo>
                  <a:lnTo>
                    <a:pt x="429" y="178"/>
                  </a:lnTo>
                  <a:lnTo>
                    <a:pt x="427" y="177"/>
                  </a:lnTo>
                  <a:lnTo>
                    <a:pt x="425" y="174"/>
                  </a:lnTo>
                  <a:lnTo>
                    <a:pt x="424" y="171"/>
                  </a:lnTo>
                  <a:lnTo>
                    <a:pt x="423" y="169"/>
                  </a:lnTo>
                  <a:lnTo>
                    <a:pt x="421" y="166"/>
                  </a:lnTo>
                  <a:lnTo>
                    <a:pt x="421" y="163"/>
                  </a:lnTo>
                  <a:lnTo>
                    <a:pt x="423" y="159"/>
                  </a:lnTo>
                  <a:lnTo>
                    <a:pt x="424" y="157"/>
                  </a:lnTo>
                  <a:lnTo>
                    <a:pt x="425" y="155"/>
                  </a:lnTo>
                  <a:lnTo>
                    <a:pt x="427" y="153"/>
                  </a:lnTo>
                  <a:lnTo>
                    <a:pt x="430" y="151"/>
                  </a:lnTo>
                  <a:lnTo>
                    <a:pt x="432" y="150"/>
                  </a:lnTo>
                  <a:lnTo>
                    <a:pt x="435" y="150"/>
                  </a:lnTo>
                  <a:lnTo>
                    <a:pt x="448" y="150"/>
                  </a:lnTo>
                  <a:lnTo>
                    <a:pt x="462" y="150"/>
                  </a:lnTo>
                  <a:lnTo>
                    <a:pt x="475" y="150"/>
                  </a:lnTo>
                  <a:lnTo>
                    <a:pt x="489" y="152"/>
                  </a:lnTo>
                  <a:lnTo>
                    <a:pt x="502" y="153"/>
                  </a:lnTo>
                  <a:lnTo>
                    <a:pt x="516" y="156"/>
                  </a:lnTo>
                  <a:lnTo>
                    <a:pt x="529" y="159"/>
                  </a:lnTo>
                  <a:lnTo>
                    <a:pt x="543" y="163"/>
                  </a:lnTo>
                  <a:lnTo>
                    <a:pt x="556" y="167"/>
                  </a:lnTo>
                  <a:lnTo>
                    <a:pt x="568" y="172"/>
                  </a:lnTo>
                  <a:lnTo>
                    <a:pt x="581" y="178"/>
                  </a:lnTo>
                  <a:lnTo>
                    <a:pt x="594" y="184"/>
                  </a:lnTo>
                  <a:lnTo>
                    <a:pt x="606" y="191"/>
                  </a:lnTo>
                  <a:lnTo>
                    <a:pt x="619" y="197"/>
                  </a:lnTo>
                  <a:lnTo>
                    <a:pt x="630" y="204"/>
                  </a:lnTo>
                  <a:lnTo>
                    <a:pt x="641" y="213"/>
                  </a:lnTo>
                  <a:lnTo>
                    <a:pt x="644" y="215"/>
                  </a:lnTo>
                  <a:lnTo>
                    <a:pt x="646" y="217"/>
                  </a:lnTo>
                  <a:lnTo>
                    <a:pt x="647" y="221"/>
                  </a:lnTo>
                  <a:lnTo>
                    <a:pt x="647" y="223"/>
                  </a:lnTo>
                  <a:lnTo>
                    <a:pt x="648" y="226"/>
                  </a:lnTo>
                  <a:lnTo>
                    <a:pt x="647" y="229"/>
                  </a:lnTo>
                  <a:lnTo>
                    <a:pt x="646" y="231"/>
                  </a:lnTo>
                  <a:lnTo>
                    <a:pt x="645" y="235"/>
                  </a:lnTo>
                  <a:close/>
                  <a:moveTo>
                    <a:pt x="241" y="360"/>
                  </a:moveTo>
                  <a:lnTo>
                    <a:pt x="232" y="360"/>
                  </a:lnTo>
                  <a:lnTo>
                    <a:pt x="223" y="357"/>
                  </a:lnTo>
                  <a:lnTo>
                    <a:pt x="216" y="353"/>
                  </a:lnTo>
                  <a:lnTo>
                    <a:pt x="209" y="347"/>
                  </a:lnTo>
                  <a:lnTo>
                    <a:pt x="204" y="341"/>
                  </a:lnTo>
                  <a:lnTo>
                    <a:pt x="199" y="333"/>
                  </a:lnTo>
                  <a:lnTo>
                    <a:pt x="196" y="325"/>
                  </a:lnTo>
                  <a:lnTo>
                    <a:pt x="195" y="315"/>
                  </a:lnTo>
                  <a:lnTo>
                    <a:pt x="196" y="306"/>
                  </a:lnTo>
                  <a:lnTo>
                    <a:pt x="199" y="298"/>
                  </a:lnTo>
                  <a:lnTo>
                    <a:pt x="204" y="290"/>
                  </a:lnTo>
                  <a:lnTo>
                    <a:pt x="209" y="284"/>
                  </a:lnTo>
                  <a:lnTo>
                    <a:pt x="216" y="277"/>
                  </a:lnTo>
                  <a:lnTo>
                    <a:pt x="223" y="274"/>
                  </a:lnTo>
                  <a:lnTo>
                    <a:pt x="232" y="271"/>
                  </a:lnTo>
                  <a:lnTo>
                    <a:pt x="241" y="270"/>
                  </a:lnTo>
                  <a:lnTo>
                    <a:pt x="250" y="271"/>
                  </a:lnTo>
                  <a:lnTo>
                    <a:pt x="258" y="274"/>
                  </a:lnTo>
                  <a:lnTo>
                    <a:pt x="266" y="277"/>
                  </a:lnTo>
                  <a:lnTo>
                    <a:pt x="272" y="284"/>
                  </a:lnTo>
                  <a:lnTo>
                    <a:pt x="278" y="290"/>
                  </a:lnTo>
                  <a:lnTo>
                    <a:pt x="282" y="298"/>
                  </a:lnTo>
                  <a:lnTo>
                    <a:pt x="285" y="306"/>
                  </a:lnTo>
                  <a:lnTo>
                    <a:pt x="286" y="315"/>
                  </a:lnTo>
                  <a:lnTo>
                    <a:pt x="285" y="325"/>
                  </a:lnTo>
                  <a:lnTo>
                    <a:pt x="282" y="333"/>
                  </a:lnTo>
                  <a:lnTo>
                    <a:pt x="278" y="341"/>
                  </a:lnTo>
                  <a:lnTo>
                    <a:pt x="272" y="347"/>
                  </a:lnTo>
                  <a:lnTo>
                    <a:pt x="266" y="353"/>
                  </a:lnTo>
                  <a:lnTo>
                    <a:pt x="258" y="357"/>
                  </a:lnTo>
                  <a:lnTo>
                    <a:pt x="250" y="360"/>
                  </a:lnTo>
                  <a:lnTo>
                    <a:pt x="241" y="360"/>
                  </a:lnTo>
                  <a:lnTo>
                    <a:pt x="241" y="360"/>
                  </a:lnTo>
                  <a:close/>
                  <a:moveTo>
                    <a:pt x="888" y="285"/>
                  </a:moveTo>
                  <a:lnTo>
                    <a:pt x="885" y="286"/>
                  </a:lnTo>
                  <a:lnTo>
                    <a:pt x="883" y="286"/>
                  </a:lnTo>
                  <a:lnTo>
                    <a:pt x="879" y="288"/>
                  </a:lnTo>
                  <a:lnTo>
                    <a:pt x="877" y="289"/>
                  </a:lnTo>
                  <a:lnTo>
                    <a:pt x="875" y="291"/>
                  </a:lnTo>
                  <a:lnTo>
                    <a:pt x="874" y="295"/>
                  </a:lnTo>
                  <a:lnTo>
                    <a:pt x="873" y="297"/>
                  </a:lnTo>
                  <a:lnTo>
                    <a:pt x="873" y="300"/>
                  </a:lnTo>
                  <a:lnTo>
                    <a:pt x="872" y="311"/>
                  </a:lnTo>
                  <a:lnTo>
                    <a:pt x="870" y="320"/>
                  </a:lnTo>
                  <a:lnTo>
                    <a:pt x="866" y="330"/>
                  </a:lnTo>
                  <a:lnTo>
                    <a:pt x="860" y="339"/>
                  </a:lnTo>
                  <a:lnTo>
                    <a:pt x="853" y="345"/>
                  </a:lnTo>
                  <a:lnTo>
                    <a:pt x="845" y="351"/>
                  </a:lnTo>
                  <a:lnTo>
                    <a:pt x="837" y="356"/>
                  </a:lnTo>
                  <a:lnTo>
                    <a:pt x="827" y="359"/>
                  </a:lnTo>
                  <a:lnTo>
                    <a:pt x="826" y="343"/>
                  </a:lnTo>
                  <a:lnTo>
                    <a:pt x="823" y="328"/>
                  </a:lnTo>
                  <a:lnTo>
                    <a:pt x="820" y="313"/>
                  </a:lnTo>
                  <a:lnTo>
                    <a:pt x="816" y="298"/>
                  </a:lnTo>
                  <a:lnTo>
                    <a:pt x="811" y="284"/>
                  </a:lnTo>
                  <a:lnTo>
                    <a:pt x="805" y="269"/>
                  </a:lnTo>
                  <a:lnTo>
                    <a:pt x="799" y="255"/>
                  </a:lnTo>
                  <a:lnTo>
                    <a:pt x="793" y="242"/>
                  </a:lnTo>
                  <a:lnTo>
                    <a:pt x="784" y="228"/>
                  </a:lnTo>
                  <a:lnTo>
                    <a:pt x="775" y="215"/>
                  </a:lnTo>
                  <a:lnTo>
                    <a:pt x="767" y="203"/>
                  </a:lnTo>
                  <a:lnTo>
                    <a:pt x="757" y="191"/>
                  </a:lnTo>
                  <a:lnTo>
                    <a:pt x="746" y="179"/>
                  </a:lnTo>
                  <a:lnTo>
                    <a:pt x="735" y="168"/>
                  </a:lnTo>
                  <a:lnTo>
                    <a:pt x="723" y="157"/>
                  </a:lnTo>
                  <a:lnTo>
                    <a:pt x="711" y="147"/>
                  </a:lnTo>
                  <a:lnTo>
                    <a:pt x="698" y="137"/>
                  </a:lnTo>
                  <a:lnTo>
                    <a:pt x="684" y="127"/>
                  </a:lnTo>
                  <a:lnTo>
                    <a:pt x="670" y="119"/>
                  </a:lnTo>
                  <a:lnTo>
                    <a:pt x="656" y="110"/>
                  </a:lnTo>
                  <a:lnTo>
                    <a:pt x="641" y="103"/>
                  </a:lnTo>
                  <a:lnTo>
                    <a:pt x="625" y="95"/>
                  </a:lnTo>
                  <a:lnTo>
                    <a:pt x="610" y="89"/>
                  </a:lnTo>
                  <a:lnTo>
                    <a:pt x="594" y="83"/>
                  </a:lnTo>
                  <a:lnTo>
                    <a:pt x="577" y="78"/>
                  </a:lnTo>
                  <a:lnTo>
                    <a:pt x="560" y="73"/>
                  </a:lnTo>
                  <a:lnTo>
                    <a:pt x="543" y="68"/>
                  </a:lnTo>
                  <a:lnTo>
                    <a:pt x="526" y="65"/>
                  </a:lnTo>
                  <a:lnTo>
                    <a:pt x="507" y="63"/>
                  </a:lnTo>
                  <a:lnTo>
                    <a:pt x="489" y="61"/>
                  </a:lnTo>
                  <a:lnTo>
                    <a:pt x="471" y="60"/>
                  </a:lnTo>
                  <a:lnTo>
                    <a:pt x="452" y="60"/>
                  </a:lnTo>
                  <a:lnTo>
                    <a:pt x="430" y="60"/>
                  </a:lnTo>
                  <a:lnTo>
                    <a:pt x="409" y="61"/>
                  </a:lnTo>
                  <a:lnTo>
                    <a:pt x="387" y="62"/>
                  </a:lnTo>
                  <a:lnTo>
                    <a:pt x="366" y="65"/>
                  </a:lnTo>
                  <a:lnTo>
                    <a:pt x="360" y="58"/>
                  </a:lnTo>
                  <a:lnTo>
                    <a:pt x="355" y="50"/>
                  </a:lnTo>
                  <a:lnTo>
                    <a:pt x="349" y="44"/>
                  </a:lnTo>
                  <a:lnTo>
                    <a:pt x="342" y="37"/>
                  </a:lnTo>
                  <a:lnTo>
                    <a:pt x="335" y="32"/>
                  </a:lnTo>
                  <a:lnTo>
                    <a:pt x="328" y="26"/>
                  </a:lnTo>
                  <a:lnTo>
                    <a:pt x="321" y="21"/>
                  </a:lnTo>
                  <a:lnTo>
                    <a:pt x="312" y="17"/>
                  </a:lnTo>
                  <a:lnTo>
                    <a:pt x="305" y="12"/>
                  </a:lnTo>
                  <a:lnTo>
                    <a:pt x="296" y="9"/>
                  </a:lnTo>
                  <a:lnTo>
                    <a:pt x="287" y="6"/>
                  </a:lnTo>
                  <a:lnTo>
                    <a:pt x="279" y="4"/>
                  </a:lnTo>
                  <a:lnTo>
                    <a:pt x="270" y="2"/>
                  </a:lnTo>
                  <a:lnTo>
                    <a:pt x="262" y="1"/>
                  </a:lnTo>
                  <a:lnTo>
                    <a:pt x="252" y="0"/>
                  </a:lnTo>
                  <a:lnTo>
                    <a:pt x="242" y="0"/>
                  </a:lnTo>
                  <a:lnTo>
                    <a:pt x="233" y="0"/>
                  </a:lnTo>
                  <a:lnTo>
                    <a:pt x="223" y="1"/>
                  </a:lnTo>
                  <a:lnTo>
                    <a:pt x="215" y="2"/>
                  </a:lnTo>
                  <a:lnTo>
                    <a:pt x="205" y="4"/>
                  </a:lnTo>
                  <a:lnTo>
                    <a:pt x="195" y="7"/>
                  </a:lnTo>
                  <a:lnTo>
                    <a:pt x="187" y="10"/>
                  </a:lnTo>
                  <a:lnTo>
                    <a:pt x="177" y="15"/>
                  </a:lnTo>
                  <a:lnTo>
                    <a:pt x="169" y="19"/>
                  </a:lnTo>
                  <a:lnTo>
                    <a:pt x="166" y="21"/>
                  </a:lnTo>
                  <a:lnTo>
                    <a:pt x="163" y="24"/>
                  </a:lnTo>
                  <a:lnTo>
                    <a:pt x="162" y="29"/>
                  </a:lnTo>
                  <a:lnTo>
                    <a:pt x="161" y="32"/>
                  </a:lnTo>
                  <a:lnTo>
                    <a:pt x="162" y="36"/>
                  </a:lnTo>
                  <a:lnTo>
                    <a:pt x="163" y="39"/>
                  </a:lnTo>
                  <a:lnTo>
                    <a:pt x="166" y="42"/>
                  </a:lnTo>
                  <a:lnTo>
                    <a:pt x="169" y="46"/>
                  </a:lnTo>
                  <a:lnTo>
                    <a:pt x="179" y="52"/>
                  </a:lnTo>
                  <a:lnTo>
                    <a:pt x="189" y="60"/>
                  </a:lnTo>
                  <a:lnTo>
                    <a:pt x="197" y="68"/>
                  </a:lnTo>
                  <a:lnTo>
                    <a:pt x="205" y="77"/>
                  </a:lnTo>
                  <a:lnTo>
                    <a:pt x="211" y="88"/>
                  </a:lnTo>
                  <a:lnTo>
                    <a:pt x="217" y="98"/>
                  </a:lnTo>
                  <a:lnTo>
                    <a:pt x="222" y="109"/>
                  </a:lnTo>
                  <a:lnTo>
                    <a:pt x="225" y="121"/>
                  </a:lnTo>
                  <a:lnTo>
                    <a:pt x="210" y="130"/>
                  </a:lnTo>
                  <a:lnTo>
                    <a:pt x="197" y="141"/>
                  </a:lnTo>
                  <a:lnTo>
                    <a:pt x="183" y="152"/>
                  </a:lnTo>
                  <a:lnTo>
                    <a:pt x="172" y="163"/>
                  </a:lnTo>
                  <a:lnTo>
                    <a:pt x="160" y="174"/>
                  </a:lnTo>
                  <a:lnTo>
                    <a:pt x="148" y="187"/>
                  </a:lnTo>
                  <a:lnTo>
                    <a:pt x="138" y="200"/>
                  </a:lnTo>
                  <a:lnTo>
                    <a:pt x="128" y="213"/>
                  </a:lnTo>
                  <a:lnTo>
                    <a:pt x="119" y="227"/>
                  </a:lnTo>
                  <a:lnTo>
                    <a:pt x="110" y="241"/>
                  </a:lnTo>
                  <a:lnTo>
                    <a:pt x="103" y="255"/>
                  </a:lnTo>
                  <a:lnTo>
                    <a:pt x="97" y="270"/>
                  </a:lnTo>
                  <a:lnTo>
                    <a:pt x="90" y="285"/>
                  </a:lnTo>
                  <a:lnTo>
                    <a:pt x="85" y="300"/>
                  </a:lnTo>
                  <a:lnTo>
                    <a:pt x="80" y="315"/>
                  </a:lnTo>
                  <a:lnTo>
                    <a:pt x="77" y="330"/>
                  </a:lnTo>
                  <a:lnTo>
                    <a:pt x="15" y="330"/>
                  </a:lnTo>
                  <a:lnTo>
                    <a:pt x="12" y="331"/>
                  </a:lnTo>
                  <a:lnTo>
                    <a:pt x="10" y="331"/>
                  </a:lnTo>
                  <a:lnTo>
                    <a:pt x="6" y="333"/>
                  </a:lnTo>
                  <a:lnTo>
                    <a:pt x="4" y="334"/>
                  </a:lnTo>
                  <a:lnTo>
                    <a:pt x="2" y="337"/>
                  </a:lnTo>
                  <a:lnTo>
                    <a:pt x="1" y="340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496"/>
                  </a:lnTo>
                  <a:lnTo>
                    <a:pt x="0" y="499"/>
                  </a:lnTo>
                  <a:lnTo>
                    <a:pt x="1" y="502"/>
                  </a:lnTo>
                  <a:lnTo>
                    <a:pt x="2" y="505"/>
                  </a:lnTo>
                  <a:lnTo>
                    <a:pt x="4" y="507"/>
                  </a:lnTo>
                  <a:lnTo>
                    <a:pt x="6" y="508"/>
                  </a:lnTo>
                  <a:lnTo>
                    <a:pt x="10" y="510"/>
                  </a:lnTo>
                  <a:lnTo>
                    <a:pt x="12" y="511"/>
                  </a:lnTo>
                  <a:lnTo>
                    <a:pt x="15" y="511"/>
                  </a:lnTo>
                  <a:lnTo>
                    <a:pt x="110" y="511"/>
                  </a:lnTo>
                  <a:lnTo>
                    <a:pt x="118" y="525"/>
                  </a:lnTo>
                  <a:lnTo>
                    <a:pt x="125" y="538"/>
                  </a:lnTo>
                  <a:lnTo>
                    <a:pt x="134" y="551"/>
                  </a:lnTo>
                  <a:lnTo>
                    <a:pt x="144" y="564"/>
                  </a:lnTo>
                  <a:lnTo>
                    <a:pt x="153" y="576"/>
                  </a:lnTo>
                  <a:lnTo>
                    <a:pt x="164" y="587"/>
                  </a:lnTo>
                  <a:lnTo>
                    <a:pt x="175" y="598"/>
                  </a:lnTo>
                  <a:lnTo>
                    <a:pt x="187" y="608"/>
                  </a:lnTo>
                  <a:lnTo>
                    <a:pt x="199" y="617"/>
                  </a:lnTo>
                  <a:lnTo>
                    <a:pt x="212" y="627"/>
                  </a:lnTo>
                  <a:lnTo>
                    <a:pt x="225" y="636"/>
                  </a:lnTo>
                  <a:lnTo>
                    <a:pt x="240" y="643"/>
                  </a:lnTo>
                  <a:lnTo>
                    <a:pt x="254" y="651"/>
                  </a:lnTo>
                  <a:lnTo>
                    <a:pt x="269" y="657"/>
                  </a:lnTo>
                  <a:lnTo>
                    <a:pt x="285" y="664"/>
                  </a:lnTo>
                  <a:lnTo>
                    <a:pt x="301" y="669"/>
                  </a:lnTo>
                  <a:lnTo>
                    <a:pt x="301" y="767"/>
                  </a:lnTo>
                  <a:lnTo>
                    <a:pt x="301" y="770"/>
                  </a:lnTo>
                  <a:lnTo>
                    <a:pt x="302" y="773"/>
                  </a:lnTo>
                  <a:lnTo>
                    <a:pt x="304" y="775"/>
                  </a:lnTo>
                  <a:lnTo>
                    <a:pt x="306" y="777"/>
                  </a:lnTo>
                  <a:lnTo>
                    <a:pt x="308" y="779"/>
                  </a:lnTo>
                  <a:lnTo>
                    <a:pt x="310" y="780"/>
                  </a:lnTo>
                  <a:lnTo>
                    <a:pt x="313" y="782"/>
                  </a:lnTo>
                  <a:lnTo>
                    <a:pt x="316" y="782"/>
                  </a:lnTo>
                  <a:lnTo>
                    <a:pt x="320" y="782"/>
                  </a:lnTo>
                  <a:lnTo>
                    <a:pt x="322" y="780"/>
                  </a:lnTo>
                  <a:lnTo>
                    <a:pt x="325" y="779"/>
                  </a:lnTo>
                  <a:lnTo>
                    <a:pt x="327" y="777"/>
                  </a:lnTo>
                  <a:lnTo>
                    <a:pt x="328" y="775"/>
                  </a:lnTo>
                  <a:lnTo>
                    <a:pt x="330" y="773"/>
                  </a:lnTo>
                  <a:lnTo>
                    <a:pt x="331" y="770"/>
                  </a:lnTo>
                  <a:lnTo>
                    <a:pt x="331" y="767"/>
                  </a:lnTo>
                  <a:lnTo>
                    <a:pt x="331" y="678"/>
                  </a:lnTo>
                  <a:lnTo>
                    <a:pt x="359" y="684"/>
                  </a:lnTo>
                  <a:lnTo>
                    <a:pt x="389" y="688"/>
                  </a:lnTo>
                  <a:lnTo>
                    <a:pt x="419" y="690"/>
                  </a:lnTo>
                  <a:lnTo>
                    <a:pt x="452" y="691"/>
                  </a:lnTo>
                  <a:lnTo>
                    <a:pt x="468" y="691"/>
                  </a:lnTo>
                  <a:lnTo>
                    <a:pt x="483" y="690"/>
                  </a:lnTo>
                  <a:lnTo>
                    <a:pt x="499" y="689"/>
                  </a:lnTo>
                  <a:lnTo>
                    <a:pt x="514" y="687"/>
                  </a:lnTo>
                  <a:lnTo>
                    <a:pt x="543" y="682"/>
                  </a:lnTo>
                  <a:lnTo>
                    <a:pt x="572" y="675"/>
                  </a:lnTo>
                  <a:lnTo>
                    <a:pt x="572" y="767"/>
                  </a:lnTo>
                  <a:lnTo>
                    <a:pt x="573" y="770"/>
                  </a:lnTo>
                  <a:lnTo>
                    <a:pt x="573" y="773"/>
                  </a:lnTo>
                  <a:lnTo>
                    <a:pt x="575" y="775"/>
                  </a:lnTo>
                  <a:lnTo>
                    <a:pt x="576" y="777"/>
                  </a:lnTo>
                  <a:lnTo>
                    <a:pt x="579" y="779"/>
                  </a:lnTo>
                  <a:lnTo>
                    <a:pt x="581" y="780"/>
                  </a:lnTo>
                  <a:lnTo>
                    <a:pt x="585" y="782"/>
                  </a:lnTo>
                  <a:lnTo>
                    <a:pt x="587" y="782"/>
                  </a:lnTo>
                  <a:lnTo>
                    <a:pt x="590" y="782"/>
                  </a:lnTo>
                  <a:lnTo>
                    <a:pt x="593" y="780"/>
                  </a:lnTo>
                  <a:lnTo>
                    <a:pt x="595" y="779"/>
                  </a:lnTo>
                  <a:lnTo>
                    <a:pt x="597" y="777"/>
                  </a:lnTo>
                  <a:lnTo>
                    <a:pt x="600" y="775"/>
                  </a:lnTo>
                  <a:lnTo>
                    <a:pt x="601" y="773"/>
                  </a:lnTo>
                  <a:lnTo>
                    <a:pt x="602" y="770"/>
                  </a:lnTo>
                  <a:lnTo>
                    <a:pt x="602" y="767"/>
                  </a:lnTo>
                  <a:lnTo>
                    <a:pt x="602" y="665"/>
                  </a:lnTo>
                  <a:lnTo>
                    <a:pt x="625" y="655"/>
                  </a:lnTo>
                  <a:lnTo>
                    <a:pt x="648" y="644"/>
                  </a:lnTo>
                  <a:lnTo>
                    <a:pt x="669" y="632"/>
                  </a:lnTo>
                  <a:lnTo>
                    <a:pt x="690" y="620"/>
                  </a:lnTo>
                  <a:lnTo>
                    <a:pt x="709" y="605"/>
                  </a:lnTo>
                  <a:lnTo>
                    <a:pt x="727" y="590"/>
                  </a:lnTo>
                  <a:lnTo>
                    <a:pt x="744" y="573"/>
                  </a:lnTo>
                  <a:lnTo>
                    <a:pt x="759" y="555"/>
                  </a:lnTo>
                  <a:lnTo>
                    <a:pt x="773" y="537"/>
                  </a:lnTo>
                  <a:lnTo>
                    <a:pt x="786" y="519"/>
                  </a:lnTo>
                  <a:lnTo>
                    <a:pt x="797" y="498"/>
                  </a:lnTo>
                  <a:lnTo>
                    <a:pt x="807" y="478"/>
                  </a:lnTo>
                  <a:lnTo>
                    <a:pt x="814" y="457"/>
                  </a:lnTo>
                  <a:lnTo>
                    <a:pt x="820" y="435"/>
                  </a:lnTo>
                  <a:lnTo>
                    <a:pt x="825" y="413"/>
                  </a:lnTo>
                  <a:lnTo>
                    <a:pt x="827" y="389"/>
                  </a:lnTo>
                  <a:lnTo>
                    <a:pt x="834" y="388"/>
                  </a:lnTo>
                  <a:lnTo>
                    <a:pt x="843" y="386"/>
                  </a:lnTo>
                  <a:lnTo>
                    <a:pt x="850" y="383"/>
                  </a:lnTo>
                  <a:lnTo>
                    <a:pt x="857" y="379"/>
                  </a:lnTo>
                  <a:lnTo>
                    <a:pt x="864" y="375"/>
                  </a:lnTo>
                  <a:lnTo>
                    <a:pt x="870" y="371"/>
                  </a:lnTo>
                  <a:lnTo>
                    <a:pt x="876" y="365"/>
                  </a:lnTo>
                  <a:lnTo>
                    <a:pt x="882" y="360"/>
                  </a:lnTo>
                  <a:lnTo>
                    <a:pt x="886" y="354"/>
                  </a:lnTo>
                  <a:lnTo>
                    <a:pt x="890" y="347"/>
                  </a:lnTo>
                  <a:lnTo>
                    <a:pt x="894" y="340"/>
                  </a:lnTo>
                  <a:lnTo>
                    <a:pt x="898" y="333"/>
                  </a:lnTo>
                  <a:lnTo>
                    <a:pt x="900" y="325"/>
                  </a:lnTo>
                  <a:lnTo>
                    <a:pt x="902" y="317"/>
                  </a:lnTo>
                  <a:lnTo>
                    <a:pt x="903" y="309"/>
                  </a:lnTo>
                  <a:lnTo>
                    <a:pt x="903" y="300"/>
                  </a:lnTo>
                  <a:lnTo>
                    <a:pt x="903" y="297"/>
                  </a:lnTo>
                  <a:lnTo>
                    <a:pt x="902" y="295"/>
                  </a:lnTo>
                  <a:lnTo>
                    <a:pt x="901" y="291"/>
                  </a:lnTo>
                  <a:lnTo>
                    <a:pt x="899" y="289"/>
                  </a:lnTo>
                  <a:lnTo>
                    <a:pt x="897" y="288"/>
                  </a:lnTo>
                  <a:lnTo>
                    <a:pt x="894" y="286"/>
                  </a:lnTo>
                  <a:lnTo>
                    <a:pt x="891" y="286"/>
                  </a:lnTo>
                  <a:lnTo>
                    <a:pt x="888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</p:grp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E279CFC0-764D-481D-ACE2-8D9333D36D7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699649" y="5699886"/>
            <a:ext cx="3225057" cy="523220"/>
          </a:xfrm>
          <a:prstGeom prst="rect">
            <a:avLst/>
          </a:prstGeom>
        </p:spPr>
        <p:txBody>
          <a:bodyPr wrap="square" rtlCol="0" anchor="ctr">
            <a:spAutoFit/>
          </a:bodyPr>
          <a:lstStyle>
            <a:defPPr>
              <a:defRPr lang="ru-RU"/>
            </a:defPPr>
          </a:lstStyle>
          <a:p>
            <a:pPr rtl="0"/>
            <a:r>
              <a:rPr lang="ru-RU" sz="1400" dirty="0"/>
              <a:t>Тренд показывает стабильный рост налоговых доходов за 5 лет</a:t>
            </a:r>
          </a:p>
        </p:txBody>
      </p:sp>
      <p:sp>
        <p:nvSpPr>
          <p:cNvPr id="201" name="Овал 200">
            <a:extLst>
              <a:ext uri="{FF2B5EF4-FFF2-40B4-BE49-F238E27FC236}">
                <a16:creationId xmlns:a16="http://schemas.microsoft.com/office/drawing/2014/main" xmlns="" id="{7A3606D1-B6B8-4F5C-AC8B-ECE2ABC418C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6224397" y="5515511"/>
            <a:ext cx="889299" cy="88929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grpSp>
        <p:nvGrpSpPr>
          <p:cNvPr id="202" name="Группа 201" descr="Это изображение содержит значок календаря. ">
            <a:extLst>
              <a:ext uri="{FF2B5EF4-FFF2-40B4-BE49-F238E27FC236}">
                <a16:creationId xmlns:a16="http://schemas.microsoft.com/office/drawing/2014/main" xmlns="" id="{9819DAAD-B642-49C5-9475-AC9CE17972E4}"/>
              </a:ext>
            </a:extLst>
          </p:cNvPr>
          <p:cNvGrpSpPr/>
          <p:nvPr/>
        </p:nvGrpSpPr>
        <p:grpSpPr>
          <a:xfrm>
            <a:off x="6526964" y="5818079"/>
            <a:ext cx="284163" cy="284163"/>
            <a:chOff x="2613272" y="4772729"/>
            <a:chExt cx="284163" cy="284163"/>
          </a:xfrm>
          <a:solidFill>
            <a:schemeClr val="bg1"/>
          </a:solidFill>
        </p:grpSpPr>
        <p:sp>
          <p:nvSpPr>
            <p:cNvPr id="203" name="Прямоугольник 4405">
              <a:extLst>
                <a:ext uri="{FF2B5EF4-FFF2-40B4-BE49-F238E27FC236}">
                  <a16:creationId xmlns:a16="http://schemas.microsoft.com/office/drawing/2014/main" xmlns="" id="{59B5FA85-58BE-47FC-9D41-04969B8618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6147" y="4963229"/>
              <a:ext cx="5715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204" name="Прямоугольник 4406">
              <a:extLst>
                <a:ext uri="{FF2B5EF4-FFF2-40B4-BE49-F238E27FC236}">
                  <a16:creationId xmlns:a16="http://schemas.microsoft.com/office/drawing/2014/main" xmlns="" id="{152301EC-7857-45F8-BB75-6D4842A903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9472" y="4963229"/>
              <a:ext cx="5715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205" name="Прямоугольник 4407">
              <a:extLst>
                <a:ext uri="{FF2B5EF4-FFF2-40B4-BE49-F238E27FC236}">
                  <a16:creationId xmlns:a16="http://schemas.microsoft.com/office/drawing/2014/main" xmlns="" id="{4FCA5E14-196A-4365-B18B-FB9F67A80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9472" y="4915604"/>
              <a:ext cx="5715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206" name="Прямоугольник 4408">
              <a:extLst>
                <a:ext uri="{FF2B5EF4-FFF2-40B4-BE49-F238E27FC236}">
                  <a16:creationId xmlns:a16="http://schemas.microsoft.com/office/drawing/2014/main" xmlns="" id="{3DF1DC26-A650-4CA1-B924-B121C971B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6147" y="4915604"/>
              <a:ext cx="5715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207" name="Полилиния 4409">
              <a:extLst>
                <a:ext uri="{FF2B5EF4-FFF2-40B4-BE49-F238E27FC236}">
                  <a16:creationId xmlns:a16="http://schemas.microsoft.com/office/drawing/2014/main" xmlns="" id="{421E2E9B-25AB-4781-B163-238C59DFD2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3272" y="4772729"/>
              <a:ext cx="284163" cy="85725"/>
            </a:xfrm>
            <a:custGeom>
              <a:avLst/>
              <a:gdLst>
                <a:gd name="T0" fmla="*/ 628 w 897"/>
                <a:gd name="T1" fmla="*/ 149 h 269"/>
                <a:gd name="T2" fmla="*/ 717 w 897"/>
                <a:gd name="T3" fmla="*/ 30 h 269"/>
                <a:gd name="T4" fmla="*/ 269 w 897"/>
                <a:gd name="T5" fmla="*/ 149 h 269"/>
                <a:gd name="T6" fmla="*/ 179 w 897"/>
                <a:gd name="T7" fmla="*/ 30 h 269"/>
                <a:gd name="T8" fmla="*/ 269 w 897"/>
                <a:gd name="T9" fmla="*/ 149 h 269"/>
                <a:gd name="T10" fmla="*/ 747 w 897"/>
                <a:gd name="T11" fmla="*/ 60 h 269"/>
                <a:gd name="T12" fmla="*/ 747 w 897"/>
                <a:gd name="T13" fmla="*/ 12 h 269"/>
                <a:gd name="T14" fmla="*/ 745 w 897"/>
                <a:gd name="T15" fmla="*/ 6 h 269"/>
                <a:gd name="T16" fmla="*/ 741 w 897"/>
                <a:gd name="T17" fmla="*/ 2 h 269"/>
                <a:gd name="T18" fmla="*/ 735 w 897"/>
                <a:gd name="T19" fmla="*/ 0 h 269"/>
                <a:gd name="T20" fmla="*/ 613 w 897"/>
                <a:gd name="T21" fmla="*/ 0 h 269"/>
                <a:gd name="T22" fmla="*/ 607 w 897"/>
                <a:gd name="T23" fmla="*/ 1 h 269"/>
                <a:gd name="T24" fmla="*/ 603 w 897"/>
                <a:gd name="T25" fmla="*/ 4 h 269"/>
                <a:gd name="T26" fmla="*/ 600 w 897"/>
                <a:gd name="T27" fmla="*/ 10 h 269"/>
                <a:gd name="T28" fmla="*/ 598 w 897"/>
                <a:gd name="T29" fmla="*/ 15 h 269"/>
                <a:gd name="T30" fmla="*/ 299 w 897"/>
                <a:gd name="T31" fmla="*/ 60 h 269"/>
                <a:gd name="T32" fmla="*/ 299 w 897"/>
                <a:gd name="T33" fmla="*/ 12 h 269"/>
                <a:gd name="T34" fmla="*/ 297 w 897"/>
                <a:gd name="T35" fmla="*/ 6 h 269"/>
                <a:gd name="T36" fmla="*/ 292 w 897"/>
                <a:gd name="T37" fmla="*/ 2 h 269"/>
                <a:gd name="T38" fmla="*/ 287 w 897"/>
                <a:gd name="T39" fmla="*/ 0 h 269"/>
                <a:gd name="T40" fmla="*/ 164 w 897"/>
                <a:gd name="T41" fmla="*/ 0 h 269"/>
                <a:gd name="T42" fmla="*/ 159 w 897"/>
                <a:gd name="T43" fmla="*/ 1 h 269"/>
                <a:gd name="T44" fmla="*/ 153 w 897"/>
                <a:gd name="T45" fmla="*/ 4 h 269"/>
                <a:gd name="T46" fmla="*/ 150 w 897"/>
                <a:gd name="T47" fmla="*/ 10 h 269"/>
                <a:gd name="T48" fmla="*/ 149 w 897"/>
                <a:gd name="T49" fmla="*/ 15 h 269"/>
                <a:gd name="T50" fmla="*/ 15 w 897"/>
                <a:gd name="T51" fmla="*/ 60 h 269"/>
                <a:gd name="T52" fmla="*/ 9 w 897"/>
                <a:gd name="T53" fmla="*/ 61 h 269"/>
                <a:gd name="T54" fmla="*/ 5 w 897"/>
                <a:gd name="T55" fmla="*/ 64 h 269"/>
                <a:gd name="T56" fmla="*/ 1 w 897"/>
                <a:gd name="T57" fmla="*/ 68 h 269"/>
                <a:gd name="T58" fmla="*/ 0 w 897"/>
                <a:gd name="T59" fmla="*/ 75 h 269"/>
                <a:gd name="T60" fmla="*/ 897 w 897"/>
                <a:gd name="T61" fmla="*/ 269 h 269"/>
                <a:gd name="T62" fmla="*/ 897 w 897"/>
                <a:gd name="T63" fmla="*/ 72 h 269"/>
                <a:gd name="T64" fmla="*/ 895 w 897"/>
                <a:gd name="T65" fmla="*/ 66 h 269"/>
                <a:gd name="T66" fmla="*/ 891 w 897"/>
                <a:gd name="T67" fmla="*/ 62 h 269"/>
                <a:gd name="T68" fmla="*/ 885 w 897"/>
                <a:gd name="T69" fmla="*/ 6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97" h="269">
                  <a:moveTo>
                    <a:pt x="717" y="149"/>
                  </a:moveTo>
                  <a:lnTo>
                    <a:pt x="628" y="149"/>
                  </a:lnTo>
                  <a:lnTo>
                    <a:pt x="628" y="30"/>
                  </a:lnTo>
                  <a:lnTo>
                    <a:pt x="717" y="30"/>
                  </a:lnTo>
                  <a:lnTo>
                    <a:pt x="717" y="149"/>
                  </a:lnTo>
                  <a:close/>
                  <a:moveTo>
                    <a:pt x="269" y="149"/>
                  </a:moveTo>
                  <a:lnTo>
                    <a:pt x="179" y="149"/>
                  </a:lnTo>
                  <a:lnTo>
                    <a:pt x="179" y="30"/>
                  </a:lnTo>
                  <a:lnTo>
                    <a:pt x="269" y="30"/>
                  </a:lnTo>
                  <a:lnTo>
                    <a:pt x="269" y="149"/>
                  </a:lnTo>
                  <a:close/>
                  <a:moveTo>
                    <a:pt x="882" y="60"/>
                  </a:moveTo>
                  <a:lnTo>
                    <a:pt x="747" y="60"/>
                  </a:lnTo>
                  <a:lnTo>
                    <a:pt x="747" y="15"/>
                  </a:lnTo>
                  <a:lnTo>
                    <a:pt x="747" y="12"/>
                  </a:lnTo>
                  <a:lnTo>
                    <a:pt x="746" y="10"/>
                  </a:lnTo>
                  <a:lnTo>
                    <a:pt x="745" y="6"/>
                  </a:lnTo>
                  <a:lnTo>
                    <a:pt x="743" y="4"/>
                  </a:lnTo>
                  <a:lnTo>
                    <a:pt x="741" y="2"/>
                  </a:lnTo>
                  <a:lnTo>
                    <a:pt x="739" y="1"/>
                  </a:lnTo>
                  <a:lnTo>
                    <a:pt x="735" y="0"/>
                  </a:lnTo>
                  <a:lnTo>
                    <a:pt x="732" y="0"/>
                  </a:lnTo>
                  <a:lnTo>
                    <a:pt x="613" y="0"/>
                  </a:lnTo>
                  <a:lnTo>
                    <a:pt x="610" y="0"/>
                  </a:lnTo>
                  <a:lnTo>
                    <a:pt x="607" y="1"/>
                  </a:lnTo>
                  <a:lnTo>
                    <a:pt x="605" y="2"/>
                  </a:lnTo>
                  <a:lnTo>
                    <a:pt x="603" y="4"/>
                  </a:lnTo>
                  <a:lnTo>
                    <a:pt x="601" y="6"/>
                  </a:lnTo>
                  <a:lnTo>
                    <a:pt x="600" y="10"/>
                  </a:lnTo>
                  <a:lnTo>
                    <a:pt x="598" y="12"/>
                  </a:lnTo>
                  <a:lnTo>
                    <a:pt x="598" y="15"/>
                  </a:lnTo>
                  <a:lnTo>
                    <a:pt x="598" y="60"/>
                  </a:lnTo>
                  <a:lnTo>
                    <a:pt x="299" y="60"/>
                  </a:lnTo>
                  <a:lnTo>
                    <a:pt x="299" y="15"/>
                  </a:lnTo>
                  <a:lnTo>
                    <a:pt x="299" y="12"/>
                  </a:lnTo>
                  <a:lnTo>
                    <a:pt x="298" y="10"/>
                  </a:lnTo>
                  <a:lnTo>
                    <a:pt x="297" y="6"/>
                  </a:lnTo>
                  <a:lnTo>
                    <a:pt x="295" y="4"/>
                  </a:lnTo>
                  <a:lnTo>
                    <a:pt x="292" y="2"/>
                  </a:lnTo>
                  <a:lnTo>
                    <a:pt x="290" y="1"/>
                  </a:lnTo>
                  <a:lnTo>
                    <a:pt x="287" y="0"/>
                  </a:lnTo>
                  <a:lnTo>
                    <a:pt x="284" y="0"/>
                  </a:lnTo>
                  <a:lnTo>
                    <a:pt x="164" y="0"/>
                  </a:lnTo>
                  <a:lnTo>
                    <a:pt x="161" y="0"/>
                  </a:lnTo>
                  <a:lnTo>
                    <a:pt x="159" y="1"/>
                  </a:lnTo>
                  <a:lnTo>
                    <a:pt x="155" y="2"/>
                  </a:lnTo>
                  <a:lnTo>
                    <a:pt x="153" y="4"/>
                  </a:lnTo>
                  <a:lnTo>
                    <a:pt x="152" y="6"/>
                  </a:lnTo>
                  <a:lnTo>
                    <a:pt x="150" y="10"/>
                  </a:lnTo>
                  <a:lnTo>
                    <a:pt x="150" y="12"/>
                  </a:lnTo>
                  <a:lnTo>
                    <a:pt x="149" y="15"/>
                  </a:lnTo>
                  <a:lnTo>
                    <a:pt x="149" y="60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9" y="61"/>
                  </a:lnTo>
                  <a:lnTo>
                    <a:pt x="7" y="62"/>
                  </a:lnTo>
                  <a:lnTo>
                    <a:pt x="5" y="64"/>
                  </a:lnTo>
                  <a:lnTo>
                    <a:pt x="2" y="66"/>
                  </a:lnTo>
                  <a:lnTo>
                    <a:pt x="1" y="68"/>
                  </a:lnTo>
                  <a:lnTo>
                    <a:pt x="0" y="72"/>
                  </a:lnTo>
                  <a:lnTo>
                    <a:pt x="0" y="75"/>
                  </a:lnTo>
                  <a:lnTo>
                    <a:pt x="0" y="269"/>
                  </a:lnTo>
                  <a:lnTo>
                    <a:pt x="897" y="269"/>
                  </a:lnTo>
                  <a:lnTo>
                    <a:pt x="897" y="75"/>
                  </a:lnTo>
                  <a:lnTo>
                    <a:pt x="897" y="72"/>
                  </a:lnTo>
                  <a:lnTo>
                    <a:pt x="896" y="68"/>
                  </a:lnTo>
                  <a:lnTo>
                    <a:pt x="895" y="66"/>
                  </a:lnTo>
                  <a:lnTo>
                    <a:pt x="893" y="64"/>
                  </a:lnTo>
                  <a:lnTo>
                    <a:pt x="891" y="62"/>
                  </a:lnTo>
                  <a:lnTo>
                    <a:pt x="888" y="61"/>
                  </a:lnTo>
                  <a:lnTo>
                    <a:pt x="885" y="60"/>
                  </a:lnTo>
                  <a:lnTo>
                    <a:pt x="88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  <p:sp>
          <p:nvSpPr>
            <p:cNvPr id="208" name="Полилиния 4410">
              <a:extLst>
                <a:ext uri="{FF2B5EF4-FFF2-40B4-BE49-F238E27FC236}">
                  <a16:creationId xmlns:a16="http://schemas.microsoft.com/office/drawing/2014/main" xmlns="" id="{E672689E-8BB5-4FC8-8EED-1F31B5024C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3272" y="4867979"/>
              <a:ext cx="284163" cy="188913"/>
            </a:xfrm>
            <a:custGeom>
              <a:avLst/>
              <a:gdLst>
                <a:gd name="T0" fmla="*/ 82 w 897"/>
                <a:gd name="T1" fmla="*/ 298 h 599"/>
                <a:gd name="T2" fmla="*/ 75 w 897"/>
                <a:gd name="T3" fmla="*/ 288 h 599"/>
                <a:gd name="T4" fmla="*/ 77 w 897"/>
                <a:gd name="T5" fmla="*/ 276 h 599"/>
                <a:gd name="T6" fmla="*/ 87 w 897"/>
                <a:gd name="T7" fmla="*/ 270 h 599"/>
                <a:gd name="T8" fmla="*/ 90 w 897"/>
                <a:gd name="T9" fmla="*/ 150 h 599"/>
                <a:gd name="T10" fmla="*/ 80 w 897"/>
                <a:gd name="T11" fmla="*/ 146 h 599"/>
                <a:gd name="T12" fmla="*/ 75 w 897"/>
                <a:gd name="T13" fmla="*/ 135 h 599"/>
                <a:gd name="T14" fmla="*/ 80 w 897"/>
                <a:gd name="T15" fmla="*/ 125 h 599"/>
                <a:gd name="T16" fmla="*/ 90 w 897"/>
                <a:gd name="T17" fmla="*/ 120 h 599"/>
                <a:gd name="T18" fmla="*/ 210 w 897"/>
                <a:gd name="T19" fmla="*/ 51 h 599"/>
                <a:gd name="T20" fmla="*/ 219 w 897"/>
                <a:gd name="T21" fmla="*/ 42 h 599"/>
                <a:gd name="T22" fmla="*/ 230 w 897"/>
                <a:gd name="T23" fmla="*/ 42 h 599"/>
                <a:gd name="T24" fmla="*/ 238 w 897"/>
                <a:gd name="T25" fmla="*/ 51 h 599"/>
                <a:gd name="T26" fmla="*/ 419 w 897"/>
                <a:gd name="T27" fmla="*/ 120 h 599"/>
                <a:gd name="T28" fmla="*/ 421 w 897"/>
                <a:gd name="T29" fmla="*/ 48 h 599"/>
                <a:gd name="T30" fmla="*/ 430 w 897"/>
                <a:gd name="T31" fmla="*/ 41 h 599"/>
                <a:gd name="T32" fmla="*/ 442 w 897"/>
                <a:gd name="T33" fmla="*/ 44 h 599"/>
                <a:gd name="T34" fmla="*/ 449 w 897"/>
                <a:gd name="T35" fmla="*/ 53 h 599"/>
                <a:gd name="T36" fmla="*/ 628 w 897"/>
                <a:gd name="T37" fmla="*/ 56 h 599"/>
                <a:gd name="T38" fmla="*/ 633 w 897"/>
                <a:gd name="T39" fmla="*/ 45 h 599"/>
                <a:gd name="T40" fmla="*/ 643 w 897"/>
                <a:gd name="T41" fmla="*/ 41 h 599"/>
                <a:gd name="T42" fmla="*/ 653 w 897"/>
                <a:gd name="T43" fmla="*/ 45 h 599"/>
                <a:gd name="T44" fmla="*/ 658 w 897"/>
                <a:gd name="T45" fmla="*/ 56 h 599"/>
                <a:gd name="T46" fmla="*/ 812 w 897"/>
                <a:gd name="T47" fmla="*/ 121 h 599"/>
                <a:gd name="T48" fmla="*/ 821 w 897"/>
                <a:gd name="T49" fmla="*/ 130 h 599"/>
                <a:gd name="T50" fmla="*/ 821 w 897"/>
                <a:gd name="T51" fmla="*/ 142 h 599"/>
                <a:gd name="T52" fmla="*/ 812 w 897"/>
                <a:gd name="T53" fmla="*/ 149 h 599"/>
                <a:gd name="T54" fmla="*/ 658 w 897"/>
                <a:gd name="T55" fmla="*/ 270 h 599"/>
                <a:gd name="T56" fmla="*/ 815 w 897"/>
                <a:gd name="T57" fmla="*/ 272 h 599"/>
                <a:gd name="T58" fmla="*/ 821 w 897"/>
                <a:gd name="T59" fmla="*/ 282 h 599"/>
                <a:gd name="T60" fmla="*/ 819 w 897"/>
                <a:gd name="T61" fmla="*/ 294 h 599"/>
                <a:gd name="T62" fmla="*/ 809 w 897"/>
                <a:gd name="T63" fmla="*/ 300 h 599"/>
                <a:gd name="T64" fmla="*/ 807 w 897"/>
                <a:gd name="T65" fmla="*/ 420 h 599"/>
                <a:gd name="T66" fmla="*/ 818 w 897"/>
                <a:gd name="T67" fmla="*/ 424 h 599"/>
                <a:gd name="T68" fmla="*/ 822 w 897"/>
                <a:gd name="T69" fmla="*/ 435 h 599"/>
                <a:gd name="T70" fmla="*/ 818 w 897"/>
                <a:gd name="T71" fmla="*/ 446 h 599"/>
                <a:gd name="T72" fmla="*/ 807 w 897"/>
                <a:gd name="T73" fmla="*/ 450 h 599"/>
                <a:gd name="T74" fmla="*/ 656 w 897"/>
                <a:gd name="T75" fmla="*/ 515 h 599"/>
                <a:gd name="T76" fmla="*/ 649 w 897"/>
                <a:gd name="T77" fmla="*/ 523 h 599"/>
                <a:gd name="T78" fmla="*/ 637 w 897"/>
                <a:gd name="T79" fmla="*/ 523 h 599"/>
                <a:gd name="T80" fmla="*/ 629 w 897"/>
                <a:gd name="T81" fmla="*/ 515 h 599"/>
                <a:gd name="T82" fmla="*/ 449 w 897"/>
                <a:gd name="T83" fmla="*/ 450 h 599"/>
                <a:gd name="T84" fmla="*/ 445 w 897"/>
                <a:gd name="T85" fmla="*/ 517 h 599"/>
                <a:gd name="T86" fmla="*/ 437 w 897"/>
                <a:gd name="T87" fmla="*/ 524 h 599"/>
                <a:gd name="T88" fmla="*/ 425 w 897"/>
                <a:gd name="T89" fmla="*/ 521 h 599"/>
                <a:gd name="T90" fmla="*/ 419 w 897"/>
                <a:gd name="T91" fmla="*/ 512 h 599"/>
                <a:gd name="T92" fmla="*/ 239 w 897"/>
                <a:gd name="T93" fmla="*/ 509 h 599"/>
                <a:gd name="T94" fmla="*/ 235 w 897"/>
                <a:gd name="T95" fmla="*/ 519 h 599"/>
                <a:gd name="T96" fmla="*/ 224 w 897"/>
                <a:gd name="T97" fmla="*/ 524 h 599"/>
                <a:gd name="T98" fmla="*/ 213 w 897"/>
                <a:gd name="T99" fmla="*/ 519 h 599"/>
                <a:gd name="T100" fmla="*/ 209 w 897"/>
                <a:gd name="T101" fmla="*/ 509 h 599"/>
                <a:gd name="T102" fmla="*/ 85 w 897"/>
                <a:gd name="T103" fmla="*/ 449 h 599"/>
                <a:gd name="T104" fmla="*/ 76 w 897"/>
                <a:gd name="T105" fmla="*/ 440 h 599"/>
                <a:gd name="T106" fmla="*/ 76 w 897"/>
                <a:gd name="T107" fmla="*/ 428 h 599"/>
                <a:gd name="T108" fmla="*/ 85 w 897"/>
                <a:gd name="T109" fmla="*/ 421 h 599"/>
                <a:gd name="T110" fmla="*/ 209 w 897"/>
                <a:gd name="T111" fmla="*/ 300 h 599"/>
                <a:gd name="T112" fmla="*/ 1 w 897"/>
                <a:gd name="T113" fmla="*/ 590 h 599"/>
                <a:gd name="T114" fmla="*/ 9 w 897"/>
                <a:gd name="T115" fmla="*/ 597 h 599"/>
                <a:gd name="T116" fmla="*/ 885 w 897"/>
                <a:gd name="T117" fmla="*/ 599 h 599"/>
                <a:gd name="T118" fmla="*/ 895 w 897"/>
                <a:gd name="T119" fmla="*/ 592 h 599"/>
                <a:gd name="T120" fmla="*/ 897 w 897"/>
                <a:gd name="T121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7" h="599">
                  <a:moveTo>
                    <a:pt x="90" y="300"/>
                  </a:moveTo>
                  <a:lnTo>
                    <a:pt x="87" y="300"/>
                  </a:lnTo>
                  <a:lnTo>
                    <a:pt x="85" y="299"/>
                  </a:lnTo>
                  <a:lnTo>
                    <a:pt x="82" y="298"/>
                  </a:lnTo>
                  <a:lnTo>
                    <a:pt x="80" y="296"/>
                  </a:lnTo>
                  <a:lnTo>
                    <a:pt x="77" y="294"/>
                  </a:lnTo>
                  <a:lnTo>
                    <a:pt x="76" y="291"/>
                  </a:lnTo>
                  <a:lnTo>
                    <a:pt x="75" y="288"/>
                  </a:lnTo>
                  <a:lnTo>
                    <a:pt x="75" y="285"/>
                  </a:lnTo>
                  <a:lnTo>
                    <a:pt x="75" y="282"/>
                  </a:lnTo>
                  <a:lnTo>
                    <a:pt x="76" y="280"/>
                  </a:lnTo>
                  <a:lnTo>
                    <a:pt x="77" y="276"/>
                  </a:lnTo>
                  <a:lnTo>
                    <a:pt x="80" y="274"/>
                  </a:lnTo>
                  <a:lnTo>
                    <a:pt x="82" y="272"/>
                  </a:lnTo>
                  <a:lnTo>
                    <a:pt x="85" y="271"/>
                  </a:lnTo>
                  <a:lnTo>
                    <a:pt x="87" y="270"/>
                  </a:lnTo>
                  <a:lnTo>
                    <a:pt x="90" y="270"/>
                  </a:lnTo>
                  <a:lnTo>
                    <a:pt x="209" y="270"/>
                  </a:lnTo>
                  <a:lnTo>
                    <a:pt x="209" y="150"/>
                  </a:lnTo>
                  <a:lnTo>
                    <a:pt x="90" y="150"/>
                  </a:lnTo>
                  <a:lnTo>
                    <a:pt x="87" y="150"/>
                  </a:lnTo>
                  <a:lnTo>
                    <a:pt x="85" y="149"/>
                  </a:lnTo>
                  <a:lnTo>
                    <a:pt x="82" y="148"/>
                  </a:lnTo>
                  <a:lnTo>
                    <a:pt x="80" y="146"/>
                  </a:lnTo>
                  <a:lnTo>
                    <a:pt x="77" y="144"/>
                  </a:lnTo>
                  <a:lnTo>
                    <a:pt x="76" y="142"/>
                  </a:lnTo>
                  <a:lnTo>
                    <a:pt x="75" y="138"/>
                  </a:lnTo>
                  <a:lnTo>
                    <a:pt x="75" y="135"/>
                  </a:lnTo>
                  <a:lnTo>
                    <a:pt x="75" y="132"/>
                  </a:lnTo>
                  <a:lnTo>
                    <a:pt x="76" y="130"/>
                  </a:lnTo>
                  <a:lnTo>
                    <a:pt x="77" y="128"/>
                  </a:lnTo>
                  <a:lnTo>
                    <a:pt x="80" y="125"/>
                  </a:lnTo>
                  <a:lnTo>
                    <a:pt x="82" y="123"/>
                  </a:lnTo>
                  <a:lnTo>
                    <a:pt x="85" y="121"/>
                  </a:lnTo>
                  <a:lnTo>
                    <a:pt x="87" y="120"/>
                  </a:lnTo>
                  <a:lnTo>
                    <a:pt x="90" y="120"/>
                  </a:lnTo>
                  <a:lnTo>
                    <a:pt x="209" y="120"/>
                  </a:lnTo>
                  <a:lnTo>
                    <a:pt x="209" y="56"/>
                  </a:lnTo>
                  <a:lnTo>
                    <a:pt x="210" y="53"/>
                  </a:lnTo>
                  <a:lnTo>
                    <a:pt x="210" y="51"/>
                  </a:lnTo>
                  <a:lnTo>
                    <a:pt x="212" y="48"/>
                  </a:lnTo>
                  <a:lnTo>
                    <a:pt x="213" y="45"/>
                  </a:lnTo>
                  <a:lnTo>
                    <a:pt x="215" y="44"/>
                  </a:lnTo>
                  <a:lnTo>
                    <a:pt x="219" y="42"/>
                  </a:lnTo>
                  <a:lnTo>
                    <a:pt x="221" y="41"/>
                  </a:lnTo>
                  <a:lnTo>
                    <a:pt x="224" y="41"/>
                  </a:lnTo>
                  <a:lnTo>
                    <a:pt x="227" y="41"/>
                  </a:lnTo>
                  <a:lnTo>
                    <a:pt x="230" y="42"/>
                  </a:lnTo>
                  <a:lnTo>
                    <a:pt x="233" y="44"/>
                  </a:lnTo>
                  <a:lnTo>
                    <a:pt x="235" y="45"/>
                  </a:lnTo>
                  <a:lnTo>
                    <a:pt x="237" y="48"/>
                  </a:lnTo>
                  <a:lnTo>
                    <a:pt x="238" y="51"/>
                  </a:lnTo>
                  <a:lnTo>
                    <a:pt x="239" y="53"/>
                  </a:lnTo>
                  <a:lnTo>
                    <a:pt x="239" y="56"/>
                  </a:lnTo>
                  <a:lnTo>
                    <a:pt x="239" y="120"/>
                  </a:lnTo>
                  <a:lnTo>
                    <a:pt x="419" y="120"/>
                  </a:lnTo>
                  <a:lnTo>
                    <a:pt x="419" y="56"/>
                  </a:lnTo>
                  <a:lnTo>
                    <a:pt x="419" y="53"/>
                  </a:lnTo>
                  <a:lnTo>
                    <a:pt x="420" y="51"/>
                  </a:lnTo>
                  <a:lnTo>
                    <a:pt x="421" y="48"/>
                  </a:lnTo>
                  <a:lnTo>
                    <a:pt x="423" y="45"/>
                  </a:lnTo>
                  <a:lnTo>
                    <a:pt x="425" y="44"/>
                  </a:lnTo>
                  <a:lnTo>
                    <a:pt x="427" y="42"/>
                  </a:lnTo>
                  <a:lnTo>
                    <a:pt x="430" y="41"/>
                  </a:lnTo>
                  <a:lnTo>
                    <a:pt x="434" y="41"/>
                  </a:lnTo>
                  <a:lnTo>
                    <a:pt x="437" y="41"/>
                  </a:lnTo>
                  <a:lnTo>
                    <a:pt x="439" y="42"/>
                  </a:lnTo>
                  <a:lnTo>
                    <a:pt x="442" y="44"/>
                  </a:lnTo>
                  <a:lnTo>
                    <a:pt x="444" y="45"/>
                  </a:lnTo>
                  <a:lnTo>
                    <a:pt x="445" y="48"/>
                  </a:lnTo>
                  <a:lnTo>
                    <a:pt x="448" y="51"/>
                  </a:lnTo>
                  <a:lnTo>
                    <a:pt x="449" y="53"/>
                  </a:lnTo>
                  <a:lnTo>
                    <a:pt x="449" y="56"/>
                  </a:lnTo>
                  <a:lnTo>
                    <a:pt x="449" y="120"/>
                  </a:lnTo>
                  <a:lnTo>
                    <a:pt x="628" y="120"/>
                  </a:lnTo>
                  <a:lnTo>
                    <a:pt x="628" y="56"/>
                  </a:lnTo>
                  <a:lnTo>
                    <a:pt x="628" y="53"/>
                  </a:lnTo>
                  <a:lnTo>
                    <a:pt x="629" y="51"/>
                  </a:lnTo>
                  <a:lnTo>
                    <a:pt x="631" y="48"/>
                  </a:lnTo>
                  <a:lnTo>
                    <a:pt x="633" y="45"/>
                  </a:lnTo>
                  <a:lnTo>
                    <a:pt x="635" y="44"/>
                  </a:lnTo>
                  <a:lnTo>
                    <a:pt x="637" y="42"/>
                  </a:lnTo>
                  <a:lnTo>
                    <a:pt x="640" y="41"/>
                  </a:lnTo>
                  <a:lnTo>
                    <a:pt x="643" y="41"/>
                  </a:lnTo>
                  <a:lnTo>
                    <a:pt x="646" y="41"/>
                  </a:lnTo>
                  <a:lnTo>
                    <a:pt x="649" y="42"/>
                  </a:lnTo>
                  <a:lnTo>
                    <a:pt x="651" y="44"/>
                  </a:lnTo>
                  <a:lnTo>
                    <a:pt x="653" y="45"/>
                  </a:lnTo>
                  <a:lnTo>
                    <a:pt x="655" y="48"/>
                  </a:lnTo>
                  <a:lnTo>
                    <a:pt x="656" y="51"/>
                  </a:lnTo>
                  <a:lnTo>
                    <a:pt x="657" y="53"/>
                  </a:lnTo>
                  <a:lnTo>
                    <a:pt x="658" y="56"/>
                  </a:lnTo>
                  <a:lnTo>
                    <a:pt x="658" y="120"/>
                  </a:lnTo>
                  <a:lnTo>
                    <a:pt x="807" y="120"/>
                  </a:lnTo>
                  <a:lnTo>
                    <a:pt x="809" y="120"/>
                  </a:lnTo>
                  <a:lnTo>
                    <a:pt x="812" y="121"/>
                  </a:lnTo>
                  <a:lnTo>
                    <a:pt x="815" y="123"/>
                  </a:lnTo>
                  <a:lnTo>
                    <a:pt x="818" y="125"/>
                  </a:lnTo>
                  <a:lnTo>
                    <a:pt x="819" y="128"/>
                  </a:lnTo>
                  <a:lnTo>
                    <a:pt x="821" y="130"/>
                  </a:lnTo>
                  <a:lnTo>
                    <a:pt x="821" y="132"/>
                  </a:lnTo>
                  <a:lnTo>
                    <a:pt x="822" y="135"/>
                  </a:lnTo>
                  <a:lnTo>
                    <a:pt x="821" y="138"/>
                  </a:lnTo>
                  <a:lnTo>
                    <a:pt x="821" y="142"/>
                  </a:lnTo>
                  <a:lnTo>
                    <a:pt x="819" y="144"/>
                  </a:lnTo>
                  <a:lnTo>
                    <a:pt x="818" y="146"/>
                  </a:lnTo>
                  <a:lnTo>
                    <a:pt x="815" y="148"/>
                  </a:lnTo>
                  <a:lnTo>
                    <a:pt x="812" y="149"/>
                  </a:lnTo>
                  <a:lnTo>
                    <a:pt x="809" y="150"/>
                  </a:lnTo>
                  <a:lnTo>
                    <a:pt x="807" y="150"/>
                  </a:lnTo>
                  <a:lnTo>
                    <a:pt x="658" y="150"/>
                  </a:lnTo>
                  <a:lnTo>
                    <a:pt x="658" y="270"/>
                  </a:lnTo>
                  <a:lnTo>
                    <a:pt x="807" y="270"/>
                  </a:lnTo>
                  <a:lnTo>
                    <a:pt x="809" y="270"/>
                  </a:lnTo>
                  <a:lnTo>
                    <a:pt x="812" y="271"/>
                  </a:lnTo>
                  <a:lnTo>
                    <a:pt x="815" y="272"/>
                  </a:lnTo>
                  <a:lnTo>
                    <a:pt x="818" y="274"/>
                  </a:lnTo>
                  <a:lnTo>
                    <a:pt x="819" y="276"/>
                  </a:lnTo>
                  <a:lnTo>
                    <a:pt x="821" y="280"/>
                  </a:lnTo>
                  <a:lnTo>
                    <a:pt x="821" y="282"/>
                  </a:lnTo>
                  <a:lnTo>
                    <a:pt x="822" y="285"/>
                  </a:lnTo>
                  <a:lnTo>
                    <a:pt x="821" y="288"/>
                  </a:lnTo>
                  <a:lnTo>
                    <a:pt x="821" y="291"/>
                  </a:lnTo>
                  <a:lnTo>
                    <a:pt x="819" y="294"/>
                  </a:lnTo>
                  <a:lnTo>
                    <a:pt x="818" y="296"/>
                  </a:lnTo>
                  <a:lnTo>
                    <a:pt x="815" y="298"/>
                  </a:lnTo>
                  <a:lnTo>
                    <a:pt x="812" y="299"/>
                  </a:lnTo>
                  <a:lnTo>
                    <a:pt x="809" y="300"/>
                  </a:lnTo>
                  <a:lnTo>
                    <a:pt x="807" y="300"/>
                  </a:lnTo>
                  <a:lnTo>
                    <a:pt x="658" y="300"/>
                  </a:lnTo>
                  <a:lnTo>
                    <a:pt x="658" y="420"/>
                  </a:lnTo>
                  <a:lnTo>
                    <a:pt x="807" y="420"/>
                  </a:lnTo>
                  <a:lnTo>
                    <a:pt x="809" y="420"/>
                  </a:lnTo>
                  <a:lnTo>
                    <a:pt x="812" y="421"/>
                  </a:lnTo>
                  <a:lnTo>
                    <a:pt x="815" y="422"/>
                  </a:lnTo>
                  <a:lnTo>
                    <a:pt x="818" y="424"/>
                  </a:lnTo>
                  <a:lnTo>
                    <a:pt x="819" y="426"/>
                  </a:lnTo>
                  <a:lnTo>
                    <a:pt x="821" y="428"/>
                  </a:lnTo>
                  <a:lnTo>
                    <a:pt x="821" y="432"/>
                  </a:lnTo>
                  <a:lnTo>
                    <a:pt x="822" y="435"/>
                  </a:lnTo>
                  <a:lnTo>
                    <a:pt x="821" y="438"/>
                  </a:lnTo>
                  <a:lnTo>
                    <a:pt x="821" y="440"/>
                  </a:lnTo>
                  <a:lnTo>
                    <a:pt x="819" y="443"/>
                  </a:lnTo>
                  <a:lnTo>
                    <a:pt x="818" y="446"/>
                  </a:lnTo>
                  <a:lnTo>
                    <a:pt x="815" y="447"/>
                  </a:lnTo>
                  <a:lnTo>
                    <a:pt x="812" y="449"/>
                  </a:lnTo>
                  <a:lnTo>
                    <a:pt x="809" y="449"/>
                  </a:lnTo>
                  <a:lnTo>
                    <a:pt x="807" y="450"/>
                  </a:lnTo>
                  <a:lnTo>
                    <a:pt x="658" y="450"/>
                  </a:lnTo>
                  <a:lnTo>
                    <a:pt x="658" y="509"/>
                  </a:lnTo>
                  <a:lnTo>
                    <a:pt x="657" y="512"/>
                  </a:lnTo>
                  <a:lnTo>
                    <a:pt x="656" y="515"/>
                  </a:lnTo>
                  <a:lnTo>
                    <a:pt x="655" y="517"/>
                  </a:lnTo>
                  <a:lnTo>
                    <a:pt x="653" y="519"/>
                  </a:lnTo>
                  <a:lnTo>
                    <a:pt x="651" y="521"/>
                  </a:lnTo>
                  <a:lnTo>
                    <a:pt x="649" y="523"/>
                  </a:lnTo>
                  <a:lnTo>
                    <a:pt x="646" y="524"/>
                  </a:lnTo>
                  <a:lnTo>
                    <a:pt x="643" y="524"/>
                  </a:lnTo>
                  <a:lnTo>
                    <a:pt x="640" y="524"/>
                  </a:lnTo>
                  <a:lnTo>
                    <a:pt x="637" y="523"/>
                  </a:lnTo>
                  <a:lnTo>
                    <a:pt x="635" y="521"/>
                  </a:lnTo>
                  <a:lnTo>
                    <a:pt x="633" y="519"/>
                  </a:lnTo>
                  <a:lnTo>
                    <a:pt x="631" y="517"/>
                  </a:lnTo>
                  <a:lnTo>
                    <a:pt x="629" y="515"/>
                  </a:lnTo>
                  <a:lnTo>
                    <a:pt x="628" y="512"/>
                  </a:lnTo>
                  <a:lnTo>
                    <a:pt x="628" y="509"/>
                  </a:lnTo>
                  <a:lnTo>
                    <a:pt x="628" y="450"/>
                  </a:lnTo>
                  <a:lnTo>
                    <a:pt x="449" y="450"/>
                  </a:lnTo>
                  <a:lnTo>
                    <a:pt x="449" y="509"/>
                  </a:lnTo>
                  <a:lnTo>
                    <a:pt x="449" y="512"/>
                  </a:lnTo>
                  <a:lnTo>
                    <a:pt x="448" y="515"/>
                  </a:lnTo>
                  <a:lnTo>
                    <a:pt x="445" y="517"/>
                  </a:lnTo>
                  <a:lnTo>
                    <a:pt x="444" y="519"/>
                  </a:lnTo>
                  <a:lnTo>
                    <a:pt x="442" y="521"/>
                  </a:lnTo>
                  <a:lnTo>
                    <a:pt x="439" y="523"/>
                  </a:lnTo>
                  <a:lnTo>
                    <a:pt x="437" y="524"/>
                  </a:lnTo>
                  <a:lnTo>
                    <a:pt x="434" y="524"/>
                  </a:lnTo>
                  <a:lnTo>
                    <a:pt x="430" y="524"/>
                  </a:lnTo>
                  <a:lnTo>
                    <a:pt x="427" y="523"/>
                  </a:lnTo>
                  <a:lnTo>
                    <a:pt x="425" y="521"/>
                  </a:lnTo>
                  <a:lnTo>
                    <a:pt x="423" y="519"/>
                  </a:lnTo>
                  <a:lnTo>
                    <a:pt x="421" y="517"/>
                  </a:lnTo>
                  <a:lnTo>
                    <a:pt x="420" y="515"/>
                  </a:lnTo>
                  <a:lnTo>
                    <a:pt x="419" y="512"/>
                  </a:lnTo>
                  <a:lnTo>
                    <a:pt x="419" y="509"/>
                  </a:lnTo>
                  <a:lnTo>
                    <a:pt x="419" y="450"/>
                  </a:lnTo>
                  <a:lnTo>
                    <a:pt x="239" y="450"/>
                  </a:lnTo>
                  <a:lnTo>
                    <a:pt x="239" y="509"/>
                  </a:lnTo>
                  <a:lnTo>
                    <a:pt x="239" y="512"/>
                  </a:lnTo>
                  <a:lnTo>
                    <a:pt x="238" y="515"/>
                  </a:lnTo>
                  <a:lnTo>
                    <a:pt x="237" y="517"/>
                  </a:lnTo>
                  <a:lnTo>
                    <a:pt x="235" y="519"/>
                  </a:lnTo>
                  <a:lnTo>
                    <a:pt x="233" y="521"/>
                  </a:lnTo>
                  <a:lnTo>
                    <a:pt x="230" y="523"/>
                  </a:lnTo>
                  <a:lnTo>
                    <a:pt x="227" y="524"/>
                  </a:lnTo>
                  <a:lnTo>
                    <a:pt x="224" y="524"/>
                  </a:lnTo>
                  <a:lnTo>
                    <a:pt x="221" y="524"/>
                  </a:lnTo>
                  <a:lnTo>
                    <a:pt x="219" y="523"/>
                  </a:lnTo>
                  <a:lnTo>
                    <a:pt x="215" y="521"/>
                  </a:lnTo>
                  <a:lnTo>
                    <a:pt x="213" y="519"/>
                  </a:lnTo>
                  <a:lnTo>
                    <a:pt x="212" y="517"/>
                  </a:lnTo>
                  <a:lnTo>
                    <a:pt x="210" y="515"/>
                  </a:lnTo>
                  <a:lnTo>
                    <a:pt x="210" y="512"/>
                  </a:lnTo>
                  <a:lnTo>
                    <a:pt x="209" y="509"/>
                  </a:lnTo>
                  <a:lnTo>
                    <a:pt x="209" y="450"/>
                  </a:lnTo>
                  <a:lnTo>
                    <a:pt x="90" y="450"/>
                  </a:lnTo>
                  <a:lnTo>
                    <a:pt x="87" y="449"/>
                  </a:lnTo>
                  <a:lnTo>
                    <a:pt x="85" y="449"/>
                  </a:lnTo>
                  <a:lnTo>
                    <a:pt x="82" y="447"/>
                  </a:lnTo>
                  <a:lnTo>
                    <a:pt x="80" y="446"/>
                  </a:lnTo>
                  <a:lnTo>
                    <a:pt x="77" y="443"/>
                  </a:lnTo>
                  <a:lnTo>
                    <a:pt x="76" y="440"/>
                  </a:lnTo>
                  <a:lnTo>
                    <a:pt x="75" y="438"/>
                  </a:lnTo>
                  <a:lnTo>
                    <a:pt x="75" y="435"/>
                  </a:lnTo>
                  <a:lnTo>
                    <a:pt x="75" y="432"/>
                  </a:lnTo>
                  <a:lnTo>
                    <a:pt x="76" y="428"/>
                  </a:lnTo>
                  <a:lnTo>
                    <a:pt x="77" y="426"/>
                  </a:lnTo>
                  <a:lnTo>
                    <a:pt x="80" y="424"/>
                  </a:lnTo>
                  <a:lnTo>
                    <a:pt x="82" y="422"/>
                  </a:lnTo>
                  <a:lnTo>
                    <a:pt x="85" y="421"/>
                  </a:lnTo>
                  <a:lnTo>
                    <a:pt x="87" y="420"/>
                  </a:lnTo>
                  <a:lnTo>
                    <a:pt x="90" y="420"/>
                  </a:lnTo>
                  <a:lnTo>
                    <a:pt x="209" y="420"/>
                  </a:lnTo>
                  <a:lnTo>
                    <a:pt x="209" y="300"/>
                  </a:lnTo>
                  <a:lnTo>
                    <a:pt x="90" y="300"/>
                  </a:lnTo>
                  <a:close/>
                  <a:moveTo>
                    <a:pt x="0" y="584"/>
                  </a:moveTo>
                  <a:lnTo>
                    <a:pt x="0" y="587"/>
                  </a:lnTo>
                  <a:lnTo>
                    <a:pt x="1" y="590"/>
                  </a:lnTo>
                  <a:lnTo>
                    <a:pt x="2" y="592"/>
                  </a:lnTo>
                  <a:lnTo>
                    <a:pt x="5" y="594"/>
                  </a:lnTo>
                  <a:lnTo>
                    <a:pt x="7" y="596"/>
                  </a:lnTo>
                  <a:lnTo>
                    <a:pt x="9" y="597"/>
                  </a:lnTo>
                  <a:lnTo>
                    <a:pt x="12" y="599"/>
                  </a:lnTo>
                  <a:lnTo>
                    <a:pt x="15" y="599"/>
                  </a:lnTo>
                  <a:lnTo>
                    <a:pt x="882" y="599"/>
                  </a:lnTo>
                  <a:lnTo>
                    <a:pt x="885" y="599"/>
                  </a:lnTo>
                  <a:lnTo>
                    <a:pt x="888" y="597"/>
                  </a:lnTo>
                  <a:lnTo>
                    <a:pt x="891" y="596"/>
                  </a:lnTo>
                  <a:lnTo>
                    <a:pt x="893" y="594"/>
                  </a:lnTo>
                  <a:lnTo>
                    <a:pt x="895" y="592"/>
                  </a:lnTo>
                  <a:lnTo>
                    <a:pt x="896" y="590"/>
                  </a:lnTo>
                  <a:lnTo>
                    <a:pt x="897" y="587"/>
                  </a:lnTo>
                  <a:lnTo>
                    <a:pt x="897" y="584"/>
                  </a:lnTo>
                  <a:lnTo>
                    <a:pt x="897" y="0"/>
                  </a:lnTo>
                  <a:lnTo>
                    <a:pt x="0" y="0"/>
                  </a:lnTo>
                  <a:lnTo>
                    <a:pt x="0" y="5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</a:lstStyle>
            <a:p>
              <a:pPr rtl="0"/>
              <a:endParaRPr lang="ru-RU" dirty="0"/>
            </a:p>
          </p:txBody>
        </p:sp>
      </p:grp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AD477E7D-D9A6-4D44-8C4D-C95FC3F102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341876" y="5853896"/>
            <a:ext cx="3264433" cy="307777"/>
          </a:xfrm>
          <a:prstGeom prst="rect">
            <a:avLst/>
          </a:prstGeom>
        </p:spPr>
        <p:txBody>
          <a:bodyPr wrap="square" rtlCol="0" anchor="ctr">
            <a:spAutoFit/>
          </a:bodyPr>
          <a:lstStyle>
            <a:defPPr>
              <a:defRPr lang="ru-RU"/>
            </a:defPPr>
          </a:lstStyle>
          <a:p>
            <a:pPr rtl="0"/>
            <a:r>
              <a:rPr lang="ru-RU" sz="1400" dirty="0"/>
              <a:t>Тыс. сомон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878E9E76-0170-4D84-BCC3-07E8CC1CF33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</a:lstStyle>
          <a:p>
            <a:pPr algn="ctr" rtl="0"/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defPPr>
              <a:defRPr lang="ru-RU"/>
            </a:defPPr>
          </a:lstStyle>
          <a:p>
            <a:pPr rtl="0"/>
            <a:fld id="{5A4A7955-6230-48B4-BD8B-A7C460F75945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5531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1_РетроспективаVTI">
  <a:themeElements>
    <a:clrScheme name="Custom 34">
      <a:dk1>
        <a:sysClr val="windowText" lastClr="000000"/>
      </a:dk1>
      <a:lt1>
        <a:sysClr val="window" lastClr="FFFFFF"/>
      </a:lt1>
      <a:dk2>
        <a:srgbClr val="39302A"/>
      </a:dk2>
      <a:lt2>
        <a:srgbClr val="E5DEDB"/>
      </a:lt2>
      <a:accent1>
        <a:srgbClr val="EC7016"/>
      </a:accent1>
      <a:accent2>
        <a:srgbClr val="F8931D"/>
      </a:accent2>
      <a:accent3>
        <a:srgbClr val="CE8D3E"/>
      </a:accent3>
      <a:accent4>
        <a:srgbClr val="E64823"/>
      </a:accent4>
      <a:accent5>
        <a:srgbClr val="FFCA08"/>
      </a:accent5>
      <a:accent6>
        <a:srgbClr val="9C6A6A"/>
      </a:accent6>
      <a:hlink>
        <a:srgbClr val="2998E3"/>
      </a:hlink>
      <a:folHlink>
        <a:srgbClr val="7F723D"/>
      </a:folHlink>
    </a:clrScheme>
    <a:fontScheme name="Retrospect">
      <a:majorFont>
        <a:latin typeface="Bookman Old Style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44286107_TF22712842.potx" id="{E5B2A91F-D4EA-41E8-B16C-D8A932DD01C4}" vid="{E8E5ACE0-174F-47CC-8FF4-25C683725426}"/>
    </a:ext>
  </a:extLst>
</a:theme>
</file>

<file path=ppt/theme/theme2.xml><?xml version="1.0" encoding="utf-8"?>
<a:theme xmlns:a="http://schemas.openxmlformats.org/drawingml/2006/main" name="Основа">
  <a:themeElements>
    <a:clrScheme name="Basis">
      <a:dk1>
        <a:srgbClr val="000000"/>
      </a:dk1>
      <a:lt1>
        <a:srgbClr val="FFFFFF"/>
      </a:lt1>
      <a:dk2>
        <a:srgbClr val="565349"/>
      </a:dk2>
      <a:lt2>
        <a:srgbClr val="DDDDDD"/>
      </a:lt2>
      <a:accent1>
        <a:srgbClr val="A6B727"/>
      </a:accent1>
      <a:accent2>
        <a:srgbClr val="DF5327"/>
      </a:accent2>
      <a:accent3>
        <a:srgbClr val="FE9E00"/>
      </a:accent3>
      <a:accent4>
        <a:srgbClr val="418AB3"/>
      </a:accent4>
      <a:accent5>
        <a:srgbClr val="D7D447"/>
      </a:accent5>
      <a:accent6>
        <a:srgbClr val="818183"/>
      </a:accent6>
      <a:hlink>
        <a:srgbClr val="F59E00"/>
      </a:hlink>
      <a:folHlink>
        <a:srgbClr val="B2B2B2"/>
      </a:folHlink>
    </a:clrScheme>
    <a:fontScheme name="Basis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sis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60958352_TF33828058_Win32" id="{C89F4945-F756-4906-B76D-D7B708DE8BC0}" vid="{4EE12F84-E62C-4EF4-82AD-6A46C5366718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arcel">
    <a:dk1>
      <a:srgbClr val="000000"/>
    </a:dk1>
    <a:lt1>
      <a:srgbClr val="FFFFFF"/>
    </a:lt1>
    <a:dk2>
      <a:srgbClr val="4A5356"/>
    </a:dk2>
    <a:lt2>
      <a:srgbClr val="E8E3CE"/>
    </a:lt2>
    <a:accent1>
      <a:srgbClr val="F6A21D"/>
    </a:accent1>
    <a:accent2>
      <a:srgbClr val="9BAFB5"/>
    </a:accent2>
    <a:accent3>
      <a:srgbClr val="C96731"/>
    </a:accent3>
    <a:accent4>
      <a:srgbClr val="9CA383"/>
    </a:accent4>
    <a:accent5>
      <a:srgbClr val="87795D"/>
    </a:accent5>
    <a:accent6>
      <a:srgbClr val="A0988C"/>
    </a:accent6>
    <a:hlink>
      <a:srgbClr val="00B0F0"/>
    </a:hlink>
    <a:folHlink>
      <a:srgbClr val="738F97"/>
    </a:folHlink>
  </a:clrScheme>
</a:themeOverride>
</file>

<file path=ppt/theme/themeOverride2.xml><?xml version="1.0" encoding="utf-8"?>
<a:themeOverride xmlns:a="http://schemas.openxmlformats.org/drawingml/2006/main">
  <a:clrScheme name="Parcel">
    <a:dk1>
      <a:srgbClr val="000000"/>
    </a:dk1>
    <a:lt1>
      <a:srgbClr val="FFFFFF"/>
    </a:lt1>
    <a:dk2>
      <a:srgbClr val="4A5356"/>
    </a:dk2>
    <a:lt2>
      <a:srgbClr val="E8E3CE"/>
    </a:lt2>
    <a:accent1>
      <a:srgbClr val="F6A21D"/>
    </a:accent1>
    <a:accent2>
      <a:srgbClr val="9BAFB5"/>
    </a:accent2>
    <a:accent3>
      <a:srgbClr val="C96731"/>
    </a:accent3>
    <a:accent4>
      <a:srgbClr val="9CA383"/>
    </a:accent4>
    <a:accent5>
      <a:srgbClr val="87795D"/>
    </a:accent5>
    <a:accent6>
      <a:srgbClr val="A0988C"/>
    </a:accent6>
    <a:hlink>
      <a:srgbClr val="00B0F0"/>
    </a:hlink>
    <a:folHlink>
      <a:srgbClr val="738F9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71af3243-3dd4-4a8d-8c0d-dd76da1f02a5">Not started</Status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2" ma:contentTypeDescription="Create a new document." ma:contentTypeScope="" ma:versionID="a410dd7f93c95333ffa1b60ed6adedd1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a936d9baba76aa3866493feff160faab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03EEFF0-FB57-4CB4-8BFC-DF397689E2ED}">
  <ds:schemaRefs>
    <ds:schemaRef ds:uri="http://purl.org/dc/terms/"/>
    <ds:schemaRef ds:uri="http://schemas.openxmlformats.org/package/2006/metadata/core-properties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1af3243-3dd4-4a8d-8c0d-dd76da1f02a5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A3F7EDC-E5B4-4BBC-9D2A-CBE6D46C37A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3932EF5-314F-409E-8020-FEE5FA0795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9CA131EE-7435-4FA4-918E-28E4A7DDB057}tf22712842_win32</Template>
  <TotalTime>1406</TotalTime>
  <Words>1682</Words>
  <Application>Microsoft Office PowerPoint</Application>
  <PresentationFormat>Широкоэкранный</PresentationFormat>
  <Paragraphs>312</Paragraphs>
  <Slides>20</Slides>
  <Notes>1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36" baseType="lpstr">
      <vt:lpstr>Arial</vt:lpstr>
      <vt:lpstr>Arial </vt:lpstr>
      <vt:lpstr>Arial Black</vt:lpstr>
      <vt:lpstr>Arial Narrow</vt:lpstr>
      <vt:lpstr>Bookman Old Style</vt:lpstr>
      <vt:lpstr>Calibri</vt:lpstr>
      <vt:lpstr>Cavolini</vt:lpstr>
      <vt:lpstr>Corbel</vt:lpstr>
      <vt:lpstr>Franklin Gothic Book</vt:lpstr>
      <vt:lpstr>Impact</vt:lpstr>
      <vt:lpstr>Roboto condensed</vt:lpstr>
      <vt:lpstr>Segoe UI</vt:lpstr>
      <vt:lpstr>Times New Roman</vt:lpstr>
      <vt:lpstr>Wingdings</vt:lpstr>
      <vt:lpstr>1_РетроспективаVTI</vt:lpstr>
      <vt:lpstr>Основа</vt:lpstr>
      <vt:lpstr>Развитие  парадигм цифровых  налоговых сервисов</vt:lpstr>
      <vt:lpstr>Презентация PowerPoint</vt:lpstr>
      <vt:lpstr>Объемы налогового учета и администрирования Республики Таджикистан.   Фактор роста.</vt:lpstr>
      <vt:lpstr>Слайд 3 с информацией о кадрах</vt:lpstr>
      <vt:lpstr>Слайд 2 сбалансированной системы показателей</vt:lpstr>
      <vt:lpstr>Налоговый комитет Республики Таджикистан </vt:lpstr>
      <vt:lpstr>Слайд 6 сбалансированной системы показателей</vt:lpstr>
      <vt:lpstr>Оптимизация налогового администрирования </vt:lpstr>
      <vt:lpstr>Слайд 9 сбалансированной системы показателей</vt:lpstr>
      <vt:lpstr>Этапы реформирования налогового администрирования Республики Таджикистан </vt:lpstr>
      <vt:lpstr>Эволюция понятий @налоговый сервис  и @налоговая услуга</vt:lpstr>
      <vt:lpstr>Эволюция налоговых сервисов в Эволюция  цифровых налоговых сервисов</vt:lpstr>
      <vt:lpstr>Цифровизация гражданско-правовой сделки и налогового администрирования как основа единого цифрового геоэкономического пространства</vt:lpstr>
      <vt:lpstr>Формирование цифрового суперсервиса в налоговом администрировании </vt:lpstr>
      <vt:lpstr>Коммуникация в цифровом интегрированном суперсервисе: потенциальные участники коммуникации  </vt:lpstr>
      <vt:lpstr>Информационные активы в цифровых налоговых супер-сервисах  </vt:lpstr>
      <vt:lpstr>Информационные активы цифровых налоговых сервисов – самостоятельные продукт в системе предоставления услуг субъектом налогового администрирования</vt:lpstr>
      <vt:lpstr>Информационные активы цифровых налоговых сервисов: Результаты  и ценности </vt:lpstr>
      <vt:lpstr>Информационно-технологические инструменты обеспечения функциональной эволюции налоговых сервисов: будущее для внедрения</vt:lpstr>
      <vt:lpstr>Благодарим за внимание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звитие  парадигмыцифровых  налоговых сервисов</dc:title>
  <dc:creator>Екатерина</dc:creator>
  <cp:lastModifiedBy>ASUS</cp:lastModifiedBy>
  <cp:revision>132</cp:revision>
  <dcterms:created xsi:type="dcterms:W3CDTF">2022-10-04T03:22:50Z</dcterms:created>
  <dcterms:modified xsi:type="dcterms:W3CDTF">2022-10-07T03:30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